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48" r:id="rId1"/>
  </p:sldMasterIdLst>
  <p:notesMasterIdLst>
    <p:notesMasterId r:id="rId6"/>
  </p:notesMasterIdLst>
  <p:handoutMasterIdLst>
    <p:handoutMasterId r:id="rId23"/>
  </p:handoutMasterIdLst>
  <p:sldIdLst>
    <p:sldId id="256" r:id="rId3"/>
    <p:sldId id="258" r:id="rId4"/>
    <p:sldId id="437" r:id="rId5"/>
    <p:sldId id="438" r:id="rId7"/>
    <p:sldId id="439" r:id="rId8"/>
    <p:sldId id="383" r:id="rId9"/>
    <p:sldId id="292" r:id="rId10"/>
    <p:sldId id="294" r:id="rId11"/>
    <p:sldId id="1829" r:id="rId12"/>
    <p:sldId id="1728" r:id="rId13"/>
    <p:sldId id="278" r:id="rId14"/>
    <p:sldId id="310" r:id="rId15"/>
    <p:sldId id="1826" r:id="rId16"/>
    <p:sldId id="1827" r:id="rId17"/>
    <p:sldId id="1828" r:id="rId18"/>
    <p:sldId id="1830" r:id="rId19"/>
    <p:sldId id="1831" r:id="rId20"/>
    <p:sldId id="1822" r:id="rId21"/>
    <p:sldId id="261" r:id="rId22"/>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3F3F"/>
    <a:srgbClr val="FFE0C1"/>
    <a:srgbClr val="FFE8D1"/>
    <a:srgbClr val="FFCC99"/>
    <a:srgbClr val="F55959"/>
    <a:srgbClr val="CC3300"/>
    <a:srgbClr val="11155B"/>
    <a:srgbClr val="A20000"/>
    <a:srgbClr val="A40000"/>
    <a:srgbClr val="9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2" autoAdjust="0"/>
    <p:restoredTop sz="93175" autoAdjust="0"/>
  </p:normalViewPr>
  <p:slideViewPr>
    <p:cSldViewPr snapToGrid="0">
      <p:cViewPr varScale="1">
        <p:scale>
          <a:sx n="79" d="100"/>
          <a:sy n="79" d="100"/>
        </p:scale>
        <p:origin x="64" y="36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7" Type="http://schemas.openxmlformats.org/officeDocument/2006/relationships/tags" Target="tags/tag32.xml"/><Relationship Id="rId26" Type="http://schemas.openxmlformats.org/officeDocument/2006/relationships/tableStyles" Target="tableStyles.xml"/><Relationship Id="rId25" Type="http://schemas.openxmlformats.org/officeDocument/2006/relationships/viewProps" Target="viewProps.xml"/><Relationship Id="rId24" Type="http://schemas.openxmlformats.org/officeDocument/2006/relationships/presProps" Target="presProps.xml"/><Relationship Id="rId23" Type="http://schemas.openxmlformats.org/officeDocument/2006/relationships/handoutMaster" Target="handoutMasters/handoutMaster1.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幻灯片图像占位符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24579" name="备注占位符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dirty="0"/>
          </a:p>
        </p:txBody>
      </p:sp>
      <p:sp>
        <p:nvSpPr>
          <p:cNvPr id="2458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pPr>
            <a:fld id="{F46C63BA-F3A9-4784-B083-2FF808BF6F82}" type="slidenum">
              <a:rPr lang="zh-CN" altLang="en-US">
                <a:latin typeface="Calibri" panose="020F0502020204030204" pitchFamily="34" charset="0"/>
                <a:ea typeface="宋体" panose="02010600030101010101" pitchFamily="2" charset="-122"/>
              </a:rPr>
            </a:fld>
            <a:endParaRPr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bg>
      <p:bgPr>
        <a:gradFill flip="none" rotWithShape="1">
          <a:gsLst>
            <a:gs pos="0">
              <a:schemeClr val="bg1"/>
            </a:gs>
            <a:gs pos="100000">
              <a:schemeClr val="bg2"/>
            </a:gs>
          </a:gsLst>
          <a:lin ang="5400000" scaled="0"/>
          <a:tileRect/>
        </a:gradFill>
        <a:effectLst/>
      </p:bgPr>
    </p:bg>
    <p:spTree>
      <p:nvGrpSpPr>
        <p:cNvPr id="1" name=""/>
        <p:cNvGrpSpPr/>
        <p:nvPr/>
      </p:nvGrpSpPr>
      <p:grpSpPr>
        <a:xfrm>
          <a:off x="0" y="0"/>
          <a:ext cx="0" cy="0"/>
          <a:chOff x="0" y="0"/>
          <a:chExt cx="0" cy="0"/>
        </a:xfrm>
      </p:grpSpPr>
      <p:sp>
        <p:nvSpPr>
          <p:cNvPr id="14" name="任意多边形: 形状 13"/>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blipFill>
            <a:blip r:embed="rId2"/>
            <a:srcRect/>
            <a:stretch>
              <a:fillRect t="-41106" b="-88712"/>
            </a:stretch>
          </a:bli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zh-CN" altLang="en-US"/>
          </a:p>
        </p:txBody>
      </p:sp>
      <p:sp>
        <p:nvSpPr>
          <p:cNvPr id="16" name="Freeform 13_1"/>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gradFill>
            <a:gsLst>
              <a:gs pos="0">
                <a:schemeClr val="accent1">
                  <a:alpha val="20000"/>
                </a:schemeClr>
              </a:gs>
              <a:gs pos="100000">
                <a:schemeClr val="accent1">
                  <a:alpha val="0"/>
                </a:schemeClr>
              </a:gs>
            </a:gsLst>
            <a:lin ang="16200000" scaled="1"/>
          </a:gradFill>
          <a:ln>
            <a:noFill/>
          </a:ln>
        </p:spPr>
        <p:txBody>
          <a:bodyPr vert="horz" wrap="square" lIns="91440" tIns="45720" rIns="91440" bIns="45720" numCol="1" anchor="t" anchorCtr="0" compatLnSpc="1">
            <a:noAutofit/>
          </a:bodyPr>
          <a:lstStyle/>
          <a:p>
            <a:endParaRPr lang="zh-CN" altLang="en-US"/>
          </a:p>
        </p:txBody>
      </p:sp>
      <p:sp>
        <p:nvSpPr>
          <p:cNvPr id="9801" name="副标题 2"/>
          <p:cNvSpPr>
            <a:spLocks noGrp="1"/>
          </p:cNvSpPr>
          <p:nvPr userDrawn="1">
            <p:ph type="subTitle" idx="1"/>
          </p:nvPr>
        </p:nvSpPr>
        <p:spPr>
          <a:xfrm>
            <a:off x="673099" y="4936173"/>
            <a:ext cx="10845800" cy="558799"/>
          </a:xfrm>
        </p:spPr>
        <p:txBody>
          <a:bodyPr anchor="t">
            <a:normAutofit/>
          </a:bodyPr>
          <a:lstStyle>
            <a:lvl1pPr marL="0" indent="0" algn="ctr">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73099" y="2739340"/>
            <a:ext cx="10845800" cy="2196833"/>
          </a:xfrm>
        </p:spPr>
        <p:txBody>
          <a:bodyPr anchor="b">
            <a:normAutofit/>
          </a:bodyPr>
          <a:lstStyle>
            <a:lvl1pPr algn="ctr">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5646333"/>
            <a:ext cx="10845800" cy="296271"/>
          </a:xfrm>
        </p:spPr>
        <p:txBody>
          <a:bodyPr vert="horz" anchor="ctr">
            <a:noAutofit/>
          </a:bodyPr>
          <a:lstStyle>
            <a:lvl1pPr marL="0" indent="0" algn="ctr">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673099" y="5942604"/>
            <a:ext cx="10845800" cy="296271"/>
          </a:xfrm>
        </p:spPr>
        <p:txBody>
          <a:bodyPr vert="horz" anchor="ctr">
            <a:noAutofit/>
          </a:bodyPr>
          <a:lstStyle>
            <a:lvl1pPr marL="0" indent="0" algn="ctr">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grpSp>
        <p:nvGrpSpPr>
          <p:cNvPr id="11"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2"/>
            </p:custDataLst>
          </p:nvPr>
        </p:nvGrpSpPr>
        <p:grpSpPr>
          <a:xfrm>
            <a:off x="248111" y="2603500"/>
            <a:ext cx="7526952" cy="2950992"/>
            <a:chOff x="654511" y="1531088"/>
            <a:chExt cx="10877774" cy="4264704"/>
          </a:xfrm>
          <a:solidFill>
            <a:schemeClr val="tx2">
              <a:lumMod val="20000"/>
              <a:lumOff val="80000"/>
            </a:schemeClr>
          </a:solidFill>
        </p:grpSpPr>
        <p:sp>
          <p:nvSpPr>
            <p:cNvPr id="12" name="íSlïḓè"/>
            <p:cNvSpPr/>
            <p:nvPr/>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p>
          </p:txBody>
        </p:sp>
        <p:sp>
          <p:nvSpPr>
            <p:cNvPr id="13" name="išļiḋe"/>
            <p:cNvSpPr/>
            <p:nvPr/>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p>
          </p:txBody>
        </p:sp>
        <p:sp>
          <p:nvSpPr>
            <p:cNvPr id="14" name="îslide"/>
            <p:cNvSpPr/>
            <p:nvPr/>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p>
          </p:txBody>
        </p:sp>
        <p:sp>
          <p:nvSpPr>
            <p:cNvPr id="15" name="ïśḻïḓé"/>
            <p:cNvSpPr/>
            <p:nvPr/>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p>
          </p:txBody>
        </p:sp>
        <p:sp>
          <p:nvSpPr>
            <p:cNvPr id="16" name="ïślíḓè"/>
            <p:cNvSpPr/>
            <p:nvPr/>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p>
          </p:txBody>
        </p:sp>
        <p:sp>
          <p:nvSpPr>
            <p:cNvPr id="17" name="íśļïďe"/>
            <p:cNvSpPr/>
            <p:nvPr/>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p>
          </p:txBody>
        </p:sp>
        <p:sp>
          <p:nvSpPr>
            <p:cNvPr id="18" name="ïsḷiḋe"/>
            <p:cNvSpPr/>
            <p:nvPr/>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19" name="ísḻîḋê"/>
            <p:cNvSpPr/>
            <p:nvPr/>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22" name="íşľíḍe"/>
            <p:cNvSpPr/>
            <p:nvPr/>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p>
          </p:txBody>
        </p:sp>
        <p:sp>
          <p:nvSpPr>
            <p:cNvPr id="23" name="íṩlídé"/>
            <p:cNvSpPr/>
            <p:nvPr/>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p>
          </p:txBody>
        </p:sp>
        <p:sp>
          <p:nvSpPr>
            <p:cNvPr id="24" name="ïš1íďê"/>
            <p:cNvSpPr/>
            <p:nvPr/>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p>
          </p:txBody>
        </p:sp>
        <p:sp>
          <p:nvSpPr>
            <p:cNvPr id="25" name="îṧlidê"/>
            <p:cNvSpPr/>
            <p:nvPr/>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p>
          </p:txBody>
        </p:sp>
        <p:sp>
          <p:nvSpPr>
            <p:cNvPr id="26" name="íš1ïḑé"/>
            <p:cNvSpPr/>
            <p:nvPr/>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p>
          </p:txBody>
        </p:sp>
        <p:sp>
          <p:nvSpPr>
            <p:cNvPr id="27" name="îś1íďê"/>
            <p:cNvSpPr/>
            <p:nvPr/>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28" name="ïSḷíḑè"/>
            <p:cNvSpPr/>
            <p:nvPr/>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29" name="iṩ1ídè"/>
            <p:cNvSpPr/>
            <p:nvPr/>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30" name="iSliḓè"/>
            <p:cNvSpPr/>
            <p:nvPr/>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31" name="ïṡḷîďé"/>
            <p:cNvSpPr/>
            <p:nvPr/>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32" name="iṥḻíḓê"/>
            <p:cNvSpPr/>
            <p:nvPr/>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33" name="íṣḻíḍê"/>
            <p:cNvSpPr/>
            <p:nvPr/>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p>
          </p:txBody>
        </p:sp>
        <p:sp>
          <p:nvSpPr>
            <p:cNvPr id="34" name="iś1îdé"/>
            <p:cNvSpPr/>
            <p:nvPr/>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p>
          </p:txBody>
        </p:sp>
        <p:sp>
          <p:nvSpPr>
            <p:cNvPr id="35" name="ïsḷîḓè"/>
            <p:cNvSpPr/>
            <p:nvPr/>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p>
          </p:txBody>
        </p:sp>
        <p:sp>
          <p:nvSpPr>
            <p:cNvPr id="36" name="íŝľîḑé"/>
            <p:cNvSpPr/>
            <p:nvPr/>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p>
          </p:txBody>
        </p:sp>
        <p:sp>
          <p:nvSpPr>
            <p:cNvPr id="37" name="i$1iḍe"/>
            <p:cNvSpPr/>
            <p:nvPr/>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38" name="îṥḷiďè"/>
            <p:cNvSpPr/>
            <p:nvPr/>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p>
          </p:txBody>
        </p:sp>
        <p:sp>
          <p:nvSpPr>
            <p:cNvPr id="39" name="íṧļíďé"/>
            <p:cNvSpPr/>
            <p:nvPr/>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40" name="íSliḓê"/>
            <p:cNvSpPr/>
            <p:nvPr/>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p>
          </p:txBody>
        </p:sp>
        <p:sp>
          <p:nvSpPr>
            <p:cNvPr id="41" name="ïṡḷíde"/>
            <p:cNvSpPr/>
            <p:nvPr/>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42" name="íŝ1íḋè"/>
            <p:cNvSpPr/>
            <p:nvPr/>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p>
          </p:txBody>
        </p:sp>
        <p:sp>
          <p:nvSpPr>
            <p:cNvPr id="43" name="ïşḻiḋé"/>
            <p:cNvSpPr/>
            <p:nvPr/>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44" name="ïṣlíḋê"/>
            <p:cNvSpPr/>
            <p:nvPr/>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p>
          </p:txBody>
        </p:sp>
        <p:sp>
          <p:nvSpPr>
            <p:cNvPr id="45" name="ïSḻïḍé"/>
            <p:cNvSpPr/>
            <p:nvPr/>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p>
          </p:txBody>
        </p:sp>
        <p:sp>
          <p:nvSpPr>
            <p:cNvPr id="46" name="išľiḍê"/>
            <p:cNvSpPr/>
            <p:nvPr/>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47" name="ísľîḓe"/>
            <p:cNvSpPr/>
            <p:nvPr/>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48" name="íSļíḑê"/>
            <p:cNvSpPr/>
            <p:nvPr/>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p>
          </p:txBody>
        </p:sp>
        <p:sp>
          <p:nvSpPr>
            <p:cNvPr id="49" name="î$ḻîde"/>
            <p:cNvSpPr/>
            <p:nvPr/>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p>
          </p:txBody>
        </p:sp>
        <p:sp>
          <p:nvSpPr>
            <p:cNvPr id="50" name="îṩ1ïḑê"/>
            <p:cNvSpPr/>
            <p:nvPr/>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p>
          </p:txBody>
        </p:sp>
        <p:sp>
          <p:nvSpPr>
            <p:cNvPr id="51" name="iṥlîdè"/>
            <p:cNvSpPr/>
            <p:nvPr/>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p>
          </p:txBody>
        </p:sp>
        <p:sp>
          <p:nvSpPr>
            <p:cNvPr id="52" name="ïṥļïḓe"/>
            <p:cNvSpPr/>
            <p:nvPr/>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p>
          </p:txBody>
        </p:sp>
        <p:sp>
          <p:nvSpPr>
            <p:cNvPr id="53" name="iṡḻïdè"/>
            <p:cNvSpPr/>
            <p:nvPr/>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54" name="íṥľïḋe"/>
            <p:cNvSpPr/>
            <p:nvPr/>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55" name="îṥḷíḑê"/>
            <p:cNvSpPr/>
            <p:nvPr/>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p>
          </p:txBody>
        </p:sp>
        <p:sp>
          <p:nvSpPr>
            <p:cNvPr id="56" name="ïṩļíḍè"/>
            <p:cNvSpPr/>
            <p:nvPr/>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p>
          </p:txBody>
        </p:sp>
        <p:sp>
          <p:nvSpPr>
            <p:cNvPr id="57" name="ïṧḻiḑe"/>
            <p:cNvSpPr/>
            <p:nvPr/>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58" name="íṣľïḑê"/>
            <p:cNvSpPr/>
            <p:nvPr/>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p>
          </p:txBody>
        </p:sp>
        <p:sp>
          <p:nvSpPr>
            <p:cNvPr id="59" name="iṣľïḋê"/>
            <p:cNvSpPr/>
            <p:nvPr/>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p>
          </p:txBody>
        </p:sp>
        <p:sp>
          <p:nvSpPr>
            <p:cNvPr id="60" name="î$liďé"/>
            <p:cNvSpPr/>
            <p:nvPr/>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p>
          </p:txBody>
        </p:sp>
        <p:sp>
          <p:nvSpPr>
            <p:cNvPr id="61" name="îṡḻîdè"/>
            <p:cNvSpPr/>
            <p:nvPr/>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p>
          </p:txBody>
        </p:sp>
        <p:sp>
          <p:nvSpPr>
            <p:cNvPr id="62" name="íṣḻîďe"/>
            <p:cNvSpPr/>
            <p:nvPr/>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p>
          </p:txBody>
        </p:sp>
        <p:sp>
          <p:nvSpPr>
            <p:cNvPr id="63" name="íśḻíḓé"/>
            <p:cNvSpPr/>
            <p:nvPr/>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p>
          </p:txBody>
        </p:sp>
        <p:sp>
          <p:nvSpPr>
            <p:cNvPr id="64" name="îšḻïḋê"/>
            <p:cNvSpPr/>
            <p:nvPr/>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p>
          </p:txBody>
        </p:sp>
        <p:sp>
          <p:nvSpPr>
            <p:cNvPr id="65" name="íslîďe"/>
            <p:cNvSpPr/>
            <p:nvPr/>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66" name="işḻiḑe"/>
            <p:cNvSpPr/>
            <p:nvPr/>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p>
          </p:txBody>
        </p:sp>
        <p:sp>
          <p:nvSpPr>
            <p:cNvPr id="67" name="iṥļiḋe"/>
            <p:cNvSpPr/>
            <p:nvPr/>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p>
          </p:txBody>
        </p:sp>
        <p:sp>
          <p:nvSpPr>
            <p:cNvPr id="68" name="ïṣḷíḍe"/>
            <p:cNvSpPr/>
            <p:nvPr/>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p>
          </p:txBody>
        </p:sp>
        <p:sp>
          <p:nvSpPr>
            <p:cNvPr id="69" name="ï$ļíḍe"/>
            <p:cNvSpPr/>
            <p:nvPr/>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p>
          </p:txBody>
        </p:sp>
        <p:sp>
          <p:nvSpPr>
            <p:cNvPr id="70" name="ïṣ1iḍê"/>
            <p:cNvSpPr/>
            <p:nvPr/>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p>
          </p:txBody>
        </p:sp>
        <p:sp>
          <p:nvSpPr>
            <p:cNvPr id="71" name="iṧḷïḍe"/>
            <p:cNvSpPr/>
            <p:nvPr/>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2" name="í$ļïḋe"/>
            <p:cNvSpPr/>
            <p:nvPr/>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3" name="iṥļïdé"/>
            <p:cNvSpPr/>
            <p:nvPr/>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4" name="ísḷiḓé"/>
            <p:cNvSpPr/>
            <p:nvPr/>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p>
          </p:txBody>
        </p:sp>
        <p:sp>
          <p:nvSpPr>
            <p:cNvPr id="75" name="îṣļïḍê"/>
            <p:cNvSpPr/>
            <p:nvPr/>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p>
          </p:txBody>
        </p:sp>
        <p:sp>
          <p:nvSpPr>
            <p:cNvPr id="76" name="iSlîdè"/>
            <p:cNvSpPr/>
            <p:nvPr/>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p>
          </p:txBody>
        </p:sp>
        <p:sp>
          <p:nvSpPr>
            <p:cNvPr id="77" name="íslîďe"/>
            <p:cNvSpPr/>
            <p:nvPr/>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p>
          </p:txBody>
        </p:sp>
        <p:sp>
          <p:nvSpPr>
            <p:cNvPr id="78" name="í$ḻíḍê"/>
            <p:cNvSpPr/>
            <p:nvPr/>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p>
          </p:txBody>
        </p:sp>
        <p:sp>
          <p:nvSpPr>
            <p:cNvPr id="79" name="íšļîḓe"/>
            <p:cNvSpPr/>
            <p:nvPr/>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p>
          </p:txBody>
        </p:sp>
        <p:sp>
          <p:nvSpPr>
            <p:cNvPr id="80" name="iş1idê"/>
            <p:cNvSpPr/>
            <p:nvPr/>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p>
          </p:txBody>
        </p:sp>
        <p:sp>
          <p:nvSpPr>
            <p:cNvPr id="81" name="íṩḷîḓè"/>
            <p:cNvSpPr/>
            <p:nvPr/>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p>
          </p:txBody>
        </p:sp>
        <p:sp>
          <p:nvSpPr>
            <p:cNvPr id="82" name="ïṩľiḑê"/>
            <p:cNvSpPr/>
            <p:nvPr/>
          </p:nvSpPr>
          <p:spPr bwMode="auto">
            <a:xfrm>
              <a:off x="5758578" y="1953855"/>
              <a:ext cx="106464" cy="63261"/>
            </a:xfrm>
            <a:prstGeom prst="ellipse">
              <a:avLst/>
            </a:prstGeom>
            <a:grpFill/>
            <a:ln>
              <a:noFill/>
            </a:ln>
          </p:spPr>
          <p:txBody>
            <a:bodyPr anchor="ctr"/>
            <a:lstStyle/>
            <a:p>
              <a:pPr algn="ctr"/>
            </a:p>
          </p:txBody>
        </p:sp>
        <p:sp>
          <p:nvSpPr>
            <p:cNvPr id="83" name="íṣlîḓè"/>
            <p:cNvSpPr/>
            <p:nvPr/>
          </p:nvSpPr>
          <p:spPr bwMode="auto">
            <a:xfrm>
              <a:off x="5886643" y="1953855"/>
              <a:ext cx="101834" cy="63261"/>
            </a:xfrm>
            <a:prstGeom prst="ellipse">
              <a:avLst/>
            </a:prstGeom>
            <a:grpFill/>
            <a:ln>
              <a:noFill/>
            </a:ln>
          </p:spPr>
          <p:txBody>
            <a:bodyPr anchor="ctr"/>
            <a:lstStyle/>
            <a:p>
              <a:pPr algn="ctr"/>
            </a:p>
          </p:txBody>
        </p:sp>
        <p:sp>
          <p:nvSpPr>
            <p:cNvPr id="84" name="ï$lîḍé"/>
            <p:cNvSpPr/>
            <p:nvPr/>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p>
          </p:txBody>
        </p:sp>
        <p:sp>
          <p:nvSpPr>
            <p:cNvPr id="85" name="íṩlïḑe"/>
            <p:cNvSpPr/>
            <p:nvPr/>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p>
          </p:txBody>
        </p:sp>
        <p:sp>
          <p:nvSpPr>
            <p:cNvPr id="86" name="íśḻídè"/>
            <p:cNvSpPr/>
            <p:nvPr/>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p>
          </p:txBody>
        </p:sp>
        <p:sp>
          <p:nvSpPr>
            <p:cNvPr id="87" name="íṧľîḍê"/>
            <p:cNvSpPr/>
            <p:nvPr/>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p>
          </p:txBody>
        </p:sp>
        <p:sp>
          <p:nvSpPr>
            <p:cNvPr id="88" name="íśľîḋe"/>
            <p:cNvSpPr/>
            <p:nvPr/>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p>
          </p:txBody>
        </p:sp>
        <p:sp>
          <p:nvSpPr>
            <p:cNvPr id="89" name="iṩlîḋê"/>
            <p:cNvSpPr/>
            <p:nvPr/>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p>
          </p:txBody>
        </p:sp>
        <p:sp>
          <p:nvSpPr>
            <p:cNvPr id="90" name="îŝ1iḋè"/>
            <p:cNvSpPr/>
            <p:nvPr/>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91" name="ïşḻíḓè"/>
            <p:cNvSpPr/>
            <p:nvPr/>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p>
          </p:txBody>
        </p:sp>
        <p:sp>
          <p:nvSpPr>
            <p:cNvPr id="92" name="ïšľïḋê"/>
            <p:cNvSpPr/>
            <p:nvPr/>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93" name="ïsḷíḋe"/>
            <p:cNvSpPr/>
            <p:nvPr/>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94" name="iṧ1iďe"/>
            <p:cNvSpPr/>
            <p:nvPr/>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p>
          </p:txBody>
        </p:sp>
        <p:sp>
          <p:nvSpPr>
            <p:cNvPr id="95" name="ïŝ1iďè"/>
            <p:cNvSpPr/>
            <p:nvPr/>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p>
          </p:txBody>
        </p:sp>
        <p:sp>
          <p:nvSpPr>
            <p:cNvPr id="96" name="ísļiḓè"/>
            <p:cNvSpPr/>
            <p:nvPr/>
          </p:nvSpPr>
          <p:spPr bwMode="auto">
            <a:xfrm>
              <a:off x="5886643" y="2108150"/>
              <a:ext cx="106464" cy="64804"/>
            </a:xfrm>
            <a:prstGeom prst="ellipse">
              <a:avLst/>
            </a:prstGeom>
            <a:grpFill/>
            <a:ln>
              <a:noFill/>
            </a:ln>
          </p:spPr>
          <p:txBody>
            <a:bodyPr anchor="ctr"/>
            <a:lstStyle/>
            <a:p>
              <a:pPr algn="ctr"/>
            </a:p>
          </p:txBody>
        </p:sp>
        <p:sp>
          <p:nvSpPr>
            <p:cNvPr id="97" name="ïsļiḑè"/>
            <p:cNvSpPr/>
            <p:nvPr/>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98" name="î$1íḑe"/>
            <p:cNvSpPr/>
            <p:nvPr/>
          </p:nvSpPr>
          <p:spPr bwMode="auto">
            <a:xfrm>
              <a:off x="5766293" y="2188383"/>
              <a:ext cx="109550" cy="69433"/>
            </a:xfrm>
            <a:prstGeom prst="ellipse">
              <a:avLst/>
            </a:prstGeom>
            <a:grpFill/>
            <a:ln>
              <a:noFill/>
            </a:ln>
          </p:spPr>
          <p:txBody>
            <a:bodyPr anchor="ctr"/>
            <a:lstStyle/>
            <a:p>
              <a:pPr algn="ctr"/>
            </a:p>
          </p:txBody>
        </p:sp>
        <p:sp>
          <p:nvSpPr>
            <p:cNvPr id="99" name="isľïdè"/>
            <p:cNvSpPr/>
            <p:nvPr/>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p>
          </p:txBody>
        </p:sp>
        <p:sp>
          <p:nvSpPr>
            <p:cNvPr id="100" name="iṧḻïḍe"/>
            <p:cNvSpPr/>
            <p:nvPr/>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101" name="işḻiḍe"/>
            <p:cNvSpPr/>
            <p:nvPr/>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102" name="íṧľíḍe"/>
            <p:cNvSpPr/>
            <p:nvPr/>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p>
          </p:txBody>
        </p:sp>
        <p:sp>
          <p:nvSpPr>
            <p:cNvPr id="103" name="îs1îḍê"/>
            <p:cNvSpPr/>
            <p:nvPr/>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p>
          </p:txBody>
        </p:sp>
        <p:sp>
          <p:nvSpPr>
            <p:cNvPr id="104" name="ïṩ1iďê"/>
            <p:cNvSpPr/>
            <p:nvPr/>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p>
          </p:txBody>
        </p:sp>
        <p:sp>
          <p:nvSpPr>
            <p:cNvPr id="105" name="ïṡ1idê"/>
            <p:cNvSpPr/>
            <p:nvPr/>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p>
          </p:txBody>
        </p:sp>
        <p:sp>
          <p:nvSpPr>
            <p:cNvPr id="106" name="î$ļîďé"/>
            <p:cNvSpPr/>
            <p:nvPr/>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107" name="íṣḷïďê"/>
            <p:cNvSpPr/>
            <p:nvPr/>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p>
          </p:txBody>
        </p:sp>
        <p:sp>
          <p:nvSpPr>
            <p:cNvPr id="108" name="îṧḷiḍê"/>
            <p:cNvSpPr/>
            <p:nvPr/>
          </p:nvSpPr>
          <p:spPr bwMode="auto">
            <a:xfrm>
              <a:off x="5766293" y="2271702"/>
              <a:ext cx="109550" cy="69433"/>
            </a:xfrm>
            <a:prstGeom prst="ellipse">
              <a:avLst/>
            </a:prstGeom>
            <a:grpFill/>
            <a:ln>
              <a:noFill/>
            </a:ln>
          </p:spPr>
          <p:txBody>
            <a:bodyPr anchor="ctr"/>
            <a:lstStyle/>
            <a:p>
              <a:pPr algn="ctr"/>
            </a:p>
          </p:txBody>
        </p:sp>
        <p:sp>
          <p:nvSpPr>
            <p:cNvPr id="109" name="íṩľiḓe"/>
            <p:cNvSpPr/>
            <p:nvPr/>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p>
          </p:txBody>
        </p:sp>
        <p:sp>
          <p:nvSpPr>
            <p:cNvPr id="110" name="is1ide"/>
            <p:cNvSpPr/>
            <p:nvPr/>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111" name="iśḷîḓe"/>
            <p:cNvSpPr/>
            <p:nvPr/>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112" name="îSlíḋê"/>
            <p:cNvSpPr/>
            <p:nvPr/>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p>
          </p:txBody>
        </p:sp>
        <p:sp>
          <p:nvSpPr>
            <p:cNvPr id="113" name="iSļiḍe"/>
            <p:cNvSpPr/>
            <p:nvPr/>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114" name="iṧḻiḓé"/>
            <p:cNvSpPr/>
            <p:nvPr/>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115" name="îśľîḍê"/>
            <p:cNvSpPr/>
            <p:nvPr/>
          </p:nvSpPr>
          <p:spPr bwMode="auto">
            <a:xfrm>
              <a:off x="5766293" y="2356565"/>
              <a:ext cx="109550" cy="69433"/>
            </a:xfrm>
            <a:prstGeom prst="ellipse">
              <a:avLst/>
            </a:prstGeom>
            <a:grpFill/>
            <a:ln>
              <a:noFill/>
            </a:ln>
          </p:spPr>
          <p:txBody>
            <a:bodyPr anchor="ctr"/>
            <a:lstStyle/>
            <a:p>
              <a:pPr algn="ctr"/>
            </a:p>
          </p:txBody>
        </p:sp>
        <p:sp>
          <p:nvSpPr>
            <p:cNvPr id="116" name="îśļîḓé"/>
            <p:cNvSpPr/>
            <p:nvPr/>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117" name="işḻíḑè"/>
            <p:cNvSpPr/>
            <p:nvPr/>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p>
          </p:txBody>
        </p:sp>
        <p:sp>
          <p:nvSpPr>
            <p:cNvPr id="118" name="îşlídê"/>
            <p:cNvSpPr/>
            <p:nvPr/>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p>
          </p:txBody>
        </p:sp>
        <p:sp>
          <p:nvSpPr>
            <p:cNvPr id="119" name="îšḷïdè"/>
            <p:cNvSpPr/>
            <p:nvPr/>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120" name="íSļidé"/>
            <p:cNvSpPr/>
            <p:nvPr/>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p>
          </p:txBody>
        </p:sp>
        <p:sp>
          <p:nvSpPr>
            <p:cNvPr id="121" name="ïSļíḓê"/>
            <p:cNvSpPr/>
            <p:nvPr/>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p>
          </p:txBody>
        </p:sp>
        <p:sp>
          <p:nvSpPr>
            <p:cNvPr id="122" name="íṡlïdè"/>
            <p:cNvSpPr/>
            <p:nvPr/>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123" name="iṣlíḍê"/>
            <p:cNvSpPr/>
            <p:nvPr/>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p>
          </p:txBody>
        </p:sp>
        <p:sp>
          <p:nvSpPr>
            <p:cNvPr id="124" name="íS1îdé"/>
            <p:cNvSpPr/>
            <p:nvPr/>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p>
          </p:txBody>
        </p:sp>
        <p:sp>
          <p:nvSpPr>
            <p:cNvPr id="125" name="iŝliḍê"/>
            <p:cNvSpPr/>
            <p:nvPr/>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p>
          </p:txBody>
        </p:sp>
        <p:sp>
          <p:nvSpPr>
            <p:cNvPr id="126" name="iSḻíḓé"/>
            <p:cNvSpPr/>
            <p:nvPr/>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p>
          </p:txBody>
        </p:sp>
        <p:sp>
          <p:nvSpPr>
            <p:cNvPr id="127" name="ïṡlídé"/>
            <p:cNvSpPr/>
            <p:nvPr/>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p>
          </p:txBody>
        </p:sp>
        <p:sp>
          <p:nvSpPr>
            <p:cNvPr id="128" name="îŝḻiḓè"/>
            <p:cNvSpPr/>
            <p:nvPr/>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p>
          </p:txBody>
        </p:sp>
        <p:sp>
          <p:nvSpPr>
            <p:cNvPr id="129" name="išļîďe"/>
            <p:cNvSpPr/>
            <p:nvPr/>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p>
          </p:txBody>
        </p:sp>
        <p:sp>
          <p:nvSpPr>
            <p:cNvPr id="130" name="ísḻïḋe"/>
            <p:cNvSpPr/>
            <p:nvPr/>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p>
          </p:txBody>
        </p:sp>
        <p:sp>
          <p:nvSpPr>
            <p:cNvPr id="131" name="îs1íḓê"/>
            <p:cNvSpPr/>
            <p:nvPr/>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p>
          </p:txBody>
        </p:sp>
        <p:sp>
          <p:nvSpPr>
            <p:cNvPr id="132" name="îṣḻîḑe"/>
            <p:cNvSpPr/>
            <p:nvPr/>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p>
          </p:txBody>
        </p:sp>
        <p:sp>
          <p:nvSpPr>
            <p:cNvPr id="133" name="îS1ídè"/>
            <p:cNvSpPr/>
            <p:nvPr/>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p>
          </p:txBody>
        </p:sp>
        <p:sp>
          <p:nvSpPr>
            <p:cNvPr id="134" name="ïšḻïdé"/>
            <p:cNvSpPr/>
            <p:nvPr/>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p>
          </p:txBody>
        </p:sp>
        <p:sp>
          <p:nvSpPr>
            <p:cNvPr id="135" name="iṡlïdé"/>
            <p:cNvSpPr/>
            <p:nvPr/>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p>
          </p:txBody>
        </p:sp>
        <p:sp>
          <p:nvSpPr>
            <p:cNvPr id="136" name="îS1iḑê"/>
            <p:cNvSpPr/>
            <p:nvPr/>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p>
          </p:txBody>
        </p:sp>
        <p:sp>
          <p:nvSpPr>
            <p:cNvPr id="137" name="î$ḻïḑe"/>
            <p:cNvSpPr/>
            <p:nvPr/>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p>
          </p:txBody>
        </p:sp>
        <p:sp>
          <p:nvSpPr>
            <p:cNvPr id="138" name="íṩlîdê"/>
            <p:cNvSpPr/>
            <p:nvPr/>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p>
          </p:txBody>
        </p:sp>
        <p:sp>
          <p:nvSpPr>
            <p:cNvPr id="139" name="ïş1îdè"/>
            <p:cNvSpPr/>
            <p:nvPr/>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140" name="išḻîḋè"/>
            <p:cNvSpPr/>
            <p:nvPr/>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141" name="ïŝľídè"/>
            <p:cNvSpPr/>
            <p:nvPr/>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p>
          </p:txBody>
        </p:sp>
        <p:sp>
          <p:nvSpPr>
            <p:cNvPr id="142" name="ïṥľiḓê"/>
            <p:cNvSpPr/>
            <p:nvPr/>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p>
          </p:txBody>
        </p:sp>
        <p:sp>
          <p:nvSpPr>
            <p:cNvPr id="143" name="íşlîḋé"/>
            <p:cNvSpPr/>
            <p:nvPr/>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p>
          </p:txBody>
        </p:sp>
        <p:sp>
          <p:nvSpPr>
            <p:cNvPr id="144" name="iṣľíďe"/>
            <p:cNvSpPr/>
            <p:nvPr/>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p>
          </p:txBody>
        </p:sp>
        <p:sp>
          <p:nvSpPr>
            <p:cNvPr id="145" name="íSḻîdé"/>
            <p:cNvSpPr/>
            <p:nvPr/>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p>
          </p:txBody>
        </p:sp>
        <p:sp>
          <p:nvSpPr>
            <p:cNvPr id="146" name="ïs1îdê"/>
            <p:cNvSpPr/>
            <p:nvPr/>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p>
          </p:txBody>
        </p:sp>
        <p:sp>
          <p:nvSpPr>
            <p:cNvPr id="147" name="îsľïḑé"/>
            <p:cNvSpPr/>
            <p:nvPr/>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p>
          </p:txBody>
        </p:sp>
        <p:sp>
          <p:nvSpPr>
            <p:cNvPr id="148" name="íšlíde"/>
            <p:cNvSpPr/>
            <p:nvPr/>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p>
          </p:txBody>
        </p:sp>
        <p:sp>
          <p:nvSpPr>
            <p:cNvPr id="149" name="iṡļiḍé"/>
            <p:cNvSpPr/>
            <p:nvPr/>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p>
          </p:txBody>
        </p:sp>
        <p:sp>
          <p:nvSpPr>
            <p:cNvPr id="150" name="ïṩḻíďê"/>
            <p:cNvSpPr/>
            <p:nvPr/>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p>
          </p:txBody>
        </p:sp>
        <p:sp>
          <p:nvSpPr>
            <p:cNvPr id="151" name="îśľïdé"/>
            <p:cNvSpPr/>
            <p:nvPr/>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p>
          </p:txBody>
        </p:sp>
        <p:sp>
          <p:nvSpPr>
            <p:cNvPr id="152" name="ïṧḻíde"/>
            <p:cNvSpPr/>
            <p:nvPr/>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p>
          </p:txBody>
        </p:sp>
        <p:sp>
          <p:nvSpPr>
            <p:cNvPr id="153" name="íṡḻïdê"/>
            <p:cNvSpPr/>
            <p:nvPr/>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154" name="i$ḻïḍé"/>
            <p:cNvSpPr/>
            <p:nvPr/>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p>
          </p:txBody>
        </p:sp>
        <p:sp>
          <p:nvSpPr>
            <p:cNvPr id="155" name="iŝḷíḑé"/>
            <p:cNvSpPr/>
            <p:nvPr/>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p>
          </p:txBody>
        </p:sp>
        <p:sp>
          <p:nvSpPr>
            <p:cNvPr id="156" name="iṩlíḋè"/>
            <p:cNvSpPr/>
            <p:nvPr/>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p>
          </p:txBody>
        </p:sp>
        <p:sp>
          <p:nvSpPr>
            <p:cNvPr id="157" name="iṩḷîḑè"/>
            <p:cNvSpPr/>
            <p:nvPr/>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158" name="išľíďê"/>
            <p:cNvSpPr/>
            <p:nvPr/>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p>
          </p:txBody>
        </p:sp>
        <p:sp>
          <p:nvSpPr>
            <p:cNvPr id="159" name="î$ľïḋé"/>
            <p:cNvSpPr/>
            <p:nvPr/>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160" name="iŝḻïḓè"/>
            <p:cNvSpPr/>
            <p:nvPr/>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p>
          </p:txBody>
        </p:sp>
        <p:sp>
          <p:nvSpPr>
            <p:cNvPr id="161" name="ïś1íḋé"/>
            <p:cNvSpPr/>
            <p:nvPr/>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p>
          </p:txBody>
        </p:sp>
        <p:sp>
          <p:nvSpPr>
            <p:cNvPr id="162" name="ïš1îḓé"/>
            <p:cNvSpPr/>
            <p:nvPr/>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p>
          </p:txBody>
        </p:sp>
        <p:sp>
          <p:nvSpPr>
            <p:cNvPr id="163" name="iṡļîḓé"/>
            <p:cNvSpPr/>
            <p:nvPr/>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p>
          </p:txBody>
        </p:sp>
        <p:sp>
          <p:nvSpPr>
            <p:cNvPr id="164" name="iŝḷïďè"/>
            <p:cNvSpPr/>
            <p:nvPr/>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p>
          </p:txBody>
        </p:sp>
        <p:sp>
          <p:nvSpPr>
            <p:cNvPr id="165" name="islîḋé"/>
            <p:cNvSpPr/>
            <p:nvPr/>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p>
          </p:txBody>
        </p:sp>
        <p:sp>
          <p:nvSpPr>
            <p:cNvPr id="166" name="í$ḷíḓe"/>
            <p:cNvSpPr/>
            <p:nvPr/>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p>
          </p:txBody>
        </p:sp>
        <p:sp>
          <p:nvSpPr>
            <p:cNvPr id="167" name="iŝļïḑe"/>
            <p:cNvSpPr/>
            <p:nvPr/>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p>
          </p:txBody>
        </p:sp>
        <p:sp>
          <p:nvSpPr>
            <p:cNvPr id="168" name="ïšľïḓê"/>
            <p:cNvSpPr/>
            <p:nvPr/>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169" name="iṣ1íḑe"/>
            <p:cNvSpPr/>
            <p:nvPr/>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170" name="îSľîḋe"/>
            <p:cNvSpPr/>
            <p:nvPr/>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p>
          </p:txBody>
        </p:sp>
        <p:sp>
          <p:nvSpPr>
            <p:cNvPr id="171" name="í$ļîḋé"/>
            <p:cNvSpPr/>
            <p:nvPr/>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p>
          </p:txBody>
        </p:sp>
        <p:sp>
          <p:nvSpPr>
            <p:cNvPr id="172" name="ïšļíḋê"/>
            <p:cNvSpPr/>
            <p:nvPr/>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p>
          </p:txBody>
        </p:sp>
        <p:sp>
          <p:nvSpPr>
            <p:cNvPr id="173" name="ïṡ1îďe"/>
            <p:cNvSpPr/>
            <p:nvPr/>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p>
          </p:txBody>
        </p:sp>
        <p:sp>
          <p:nvSpPr>
            <p:cNvPr id="174" name="iśľíḑé"/>
            <p:cNvSpPr/>
            <p:nvPr/>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p>
          </p:txBody>
        </p:sp>
        <p:sp>
          <p:nvSpPr>
            <p:cNvPr id="175" name="îsļîḑê"/>
            <p:cNvSpPr/>
            <p:nvPr/>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p>
          </p:txBody>
        </p:sp>
        <p:sp>
          <p:nvSpPr>
            <p:cNvPr id="176" name="ïṩľîḍè"/>
            <p:cNvSpPr/>
            <p:nvPr/>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p>
          </p:txBody>
        </p:sp>
        <p:sp>
          <p:nvSpPr>
            <p:cNvPr id="177" name="îṡļïdê"/>
            <p:cNvSpPr/>
            <p:nvPr/>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p>
          </p:txBody>
        </p:sp>
        <p:sp>
          <p:nvSpPr>
            <p:cNvPr id="178" name="íṥliḍe"/>
            <p:cNvSpPr/>
            <p:nvPr/>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p>
          </p:txBody>
        </p:sp>
        <p:sp>
          <p:nvSpPr>
            <p:cNvPr id="179" name="ïS1íḓê"/>
            <p:cNvSpPr/>
            <p:nvPr/>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p>
          </p:txBody>
        </p:sp>
        <p:sp>
          <p:nvSpPr>
            <p:cNvPr id="180" name="îSļïde"/>
            <p:cNvSpPr/>
            <p:nvPr/>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p>
          </p:txBody>
        </p:sp>
        <p:sp>
          <p:nvSpPr>
            <p:cNvPr id="181" name="ïslïḑê"/>
            <p:cNvSpPr/>
            <p:nvPr/>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p>
          </p:txBody>
        </p:sp>
        <p:sp>
          <p:nvSpPr>
            <p:cNvPr id="182" name="íśḻïdé"/>
            <p:cNvSpPr/>
            <p:nvPr/>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p>
          </p:txBody>
        </p:sp>
        <p:sp>
          <p:nvSpPr>
            <p:cNvPr id="183" name="íslîde"/>
            <p:cNvSpPr/>
            <p:nvPr/>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p>
          </p:txBody>
        </p:sp>
        <p:sp>
          <p:nvSpPr>
            <p:cNvPr id="184" name="íṩḷíḓé"/>
            <p:cNvSpPr/>
            <p:nvPr/>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p>
          </p:txBody>
        </p:sp>
        <p:sp>
          <p:nvSpPr>
            <p:cNvPr id="185" name="îṩḷíďè"/>
            <p:cNvSpPr/>
            <p:nvPr/>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p>
          </p:txBody>
        </p:sp>
        <p:sp>
          <p:nvSpPr>
            <p:cNvPr id="186" name="îŝľídê"/>
            <p:cNvSpPr/>
            <p:nvPr/>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p>
          </p:txBody>
        </p:sp>
        <p:sp>
          <p:nvSpPr>
            <p:cNvPr id="187" name="îṩḻíḑe"/>
            <p:cNvSpPr/>
            <p:nvPr/>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p>
          </p:txBody>
        </p:sp>
        <p:sp>
          <p:nvSpPr>
            <p:cNvPr id="188" name="ísḻîďé"/>
            <p:cNvSpPr/>
            <p:nvPr/>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p>
          </p:txBody>
        </p:sp>
        <p:sp>
          <p:nvSpPr>
            <p:cNvPr id="189" name="îS1îḍé"/>
            <p:cNvSpPr/>
            <p:nvPr/>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p>
          </p:txBody>
        </p:sp>
        <p:sp>
          <p:nvSpPr>
            <p:cNvPr id="190" name="íṥľîḋe"/>
            <p:cNvSpPr/>
            <p:nvPr/>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p>
          </p:txBody>
        </p:sp>
        <p:sp>
          <p:nvSpPr>
            <p:cNvPr id="191" name="iSlîdè"/>
            <p:cNvSpPr/>
            <p:nvPr/>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p>
          </p:txBody>
        </p:sp>
        <p:sp>
          <p:nvSpPr>
            <p:cNvPr id="192" name="iS1íďé"/>
            <p:cNvSpPr/>
            <p:nvPr/>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p>
          </p:txBody>
        </p:sp>
        <p:sp>
          <p:nvSpPr>
            <p:cNvPr id="193" name="iSḻîdé"/>
            <p:cNvSpPr/>
            <p:nvPr/>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p>
          </p:txBody>
        </p:sp>
        <p:sp>
          <p:nvSpPr>
            <p:cNvPr id="194" name="îşļiḓê"/>
            <p:cNvSpPr/>
            <p:nvPr/>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p>
          </p:txBody>
        </p:sp>
        <p:sp>
          <p:nvSpPr>
            <p:cNvPr id="195" name="ísľïďé"/>
            <p:cNvSpPr/>
            <p:nvPr/>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p>
          </p:txBody>
        </p:sp>
        <p:sp>
          <p:nvSpPr>
            <p:cNvPr id="196" name="íSlïḍé"/>
            <p:cNvSpPr/>
            <p:nvPr/>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p>
          </p:txBody>
        </p:sp>
        <p:sp>
          <p:nvSpPr>
            <p:cNvPr id="197" name="ïŝ1îḑê"/>
            <p:cNvSpPr/>
            <p:nvPr/>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p>
          </p:txBody>
        </p:sp>
        <p:sp>
          <p:nvSpPr>
            <p:cNvPr id="198" name="íṡ1íḑè"/>
            <p:cNvSpPr/>
            <p:nvPr/>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p>
          </p:txBody>
        </p:sp>
        <p:sp>
          <p:nvSpPr>
            <p:cNvPr id="199" name="îšľïďè"/>
            <p:cNvSpPr/>
            <p:nvPr/>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p>
          </p:txBody>
        </p:sp>
        <p:sp>
          <p:nvSpPr>
            <p:cNvPr id="200" name="íšlíḋe"/>
            <p:cNvSpPr/>
            <p:nvPr/>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p>
          </p:txBody>
        </p:sp>
        <p:sp>
          <p:nvSpPr>
            <p:cNvPr id="201" name="ïś1îďê"/>
            <p:cNvSpPr/>
            <p:nvPr/>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p>
          </p:txBody>
        </p:sp>
        <p:sp>
          <p:nvSpPr>
            <p:cNvPr id="202" name="í$ļíḓè"/>
            <p:cNvSpPr/>
            <p:nvPr/>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p>
          </p:txBody>
        </p:sp>
        <p:sp>
          <p:nvSpPr>
            <p:cNvPr id="203" name="îSľïḓè"/>
            <p:cNvSpPr/>
            <p:nvPr/>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p>
          </p:txBody>
        </p:sp>
        <p:sp>
          <p:nvSpPr>
            <p:cNvPr id="204" name="ïšļïḋe"/>
            <p:cNvSpPr/>
            <p:nvPr/>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p>
          </p:txBody>
        </p:sp>
        <p:sp>
          <p:nvSpPr>
            <p:cNvPr id="205" name="iṥ1ïḍé"/>
            <p:cNvSpPr/>
            <p:nvPr/>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p>
          </p:txBody>
        </p:sp>
        <p:sp>
          <p:nvSpPr>
            <p:cNvPr id="206" name="íṩļiḑe"/>
            <p:cNvSpPr/>
            <p:nvPr/>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07" name="îšľidè"/>
            <p:cNvSpPr/>
            <p:nvPr/>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08" name="î$1ïḍê"/>
            <p:cNvSpPr/>
            <p:nvPr/>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p>
          </p:txBody>
        </p:sp>
        <p:sp>
          <p:nvSpPr>
            <p:cNvPr id="209" name="ïṣ1ïḍè"/>
            <p:cNvSpPr/>
            <p:nvPr/>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p>
          </p:txBody>
        </p:sp>
        <p:sp>
          <p:nvSpPr>
            <p:cNvPr id="210" name="íS1ïḍè"/>
            <p:cNvSpPr/>
            <p:nvPr/>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211" name="ïṡḷidè"/>
            <p:cNvSpPr/>
            <p:nvPr/>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212" name="ïṥľidê"/>
            <p:cNvSpPr/>
            <p:nvPr/>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p>
          </p:txBody>
        </p:sp>
        <p:sp>
          <p:nvSpPr>
            <p:cNvPr id="213" name="ïšḷiḋe"/>
            <p:cNvSpPr/>
            <p:nvPr/>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p>
          </p:txBody>
        </p:sp>
        <p:sp>
          <p:nvSpPr>
            <p:cNvPr id="214" name="i$1idé"/>
            <p:cNvSpPr/>
            <p:nvPr/>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p>
          </p:txBody>
        </p:sp>
        <p:sp>
          <p:nvSpPr>
            <p:cNvPr id="215" name="íṡ1iḑé"/>
            <p:cNvSpPr/>
            <p:nvPr/>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p>
          </p:txBody>
        </p:sp>
        <p:sp>
          <p:nvSpPr>
            <p:cNvPr id="216" name="iŝľiḋê"/>
            <p:cNvSpPr/>
            <p:nvPr/>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217" name="îṣ1îdê"/>
            <p:cNvSpPr/>
            <p:nvPr/>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p>
          </p:txBody>
        </p:sp>
        <p:sp>
          <p:nvSpPr>
            <p:cNvPr id="218" name="íṥļíďé"/>
            <p:cNvSpPr/>
            <p:nvPr/>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19" name="îśḷïďè"/>
            <p:cNvSpPr/>
            <p:nvPr/>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220" name="íṣliḓé"/>
            <p:cNvSpPr/>
            <p:nvPr/>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p>
          </p:txBody>
        </p:sp>
        <p:sp>
          <p:nvSpPr>
            <p:cNvPr id="221" name="íŝḻïdè"/>
            <p:cNvSpPr/>
            <p:nvPr/>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p>
          </p:txBody>
        </p:sp>
        <p:sp>
          <p:nvSpPr>
            <p:cNvPr id="222" name="íṧļïḑé"/>
            <p:cNvSpPr/>
            <p:nvPr/>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223" name="ïṡ1iḓé"/>
            <p:cNvSpPr/>
            <p:nvPr/>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p>
          </p:txBody>
        </p:sp>
        <p:sp>
          <p:nvSpPr>
            <p:cNvPr id="224" name="isľîḑe"/>
            <p:cNvSpPr/>
            <p:nvPr/>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p>
          </p:txBody>
        </p:sp>
        <p:sp>
          <p:nvSpPr>
            <p:cNvPr id="225" name="ï$ḻiḓé"/>
            <p:cNvSpPr/>
            <p:nvPr/>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226" name="îṩḻíḍè"/>
            <p:cNvSpPr/>
            <p:nvPr/>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p>
          </p:txBody>
        </p:sp>
        <p:sp>
          <p:nvSpPr>
            <p:cNvPr id="227" name="ïṣľiďe"/>
            <p:cNvSpPr/>
            <p:nvPr/>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p>
          </p:txBody>
        </p:sp>
        <p:sp>
          <p:nvSpPr>
            <p:cNvPr id="228" name="ïŝļidé"/>
            <p:cNvSpPr/>
            <p:nvPr/>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p>
          </p:txBody>
        </p:sp>
        <p:sp>
          <p:nvSpPr>
            <p:cNvPr id="229" name="iSḻîďé"/>
            <p:cNvSpPr/>
            <p:nvPr/>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p>
          </p:txBody>
        </p:sp>
        <p:sp>
          <p:nvSpPr>
            <p:cNvPr id="230" name="iṧlîďê"/>
            <p:cNvSpPr/>
            <p:nvPr/>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p>
          </p:txBody>
        </p:sp>
        <p:sp>
          <p:nvSpPr>
            <p:cNvPr id="231" name="îś1iḍe"/>
            <p:cNvSpPr/>
            <p:nvPr/>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p>
          </p:txBody>
        </p:sp>
        <p:sp>
          <p:nvSpPr>
            <p:cNvPr id="232" name="îṩḻïḋe"/>
            <p:cNvSpPr/>
            <p:nvPr/>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p>
          </p:txBody>
        </p:sp>
        <p:sp>
          <p:nvSpPr>
            <p:cNvPr id="233" name="işlíḑê"/>
            <p:cNvSpPr/>
            <p:nvPr/>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p>
          </p:txBody>
        </p:sp>
        <p:sp>
          <p:nvSpPr>
            <p:cNvPr id="234" name="îṧ1íďé"/>
            <p:cNvSpPr/>
            <p:nvPr/>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p>
          </p:txBody>
        </p:sp>
        <p:sp>
          <p:nvSpPr>
            <p:cNvPr id="235" name="îşļíḋé"/>
            <p:cNvSpPr/>
            <p:nvPr/>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p>
          </p:txBody>
        </p:sp>
        <p:sp>
          <p:nvSpPr>
            <p:cNvPr id="236" name="i$ļîḓé"/>
            <p:cNvSpPr/>
            <p:nvPr/>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237" name="işlíḋé"/>
            <p:cNvSpPr/>
            <p:nvPr/>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p>
          </p:txBody>
        </p:sp>
        <p:sp>
          <p:nvSpPr>
            <p:cNvPr id="238" name="îṩḷîḍê"/>
            <p:cNvSpPr/>
            <p:nvPr/>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p>
          </p:txBody>
        </p:sp>
        <p:sp>
          <p:nvSpPr>
            <p:cNvPr id="239" name="íşlíde"/>
            <p:cNvSpPr/>
            <p:nvPr/>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p>
          </p:txBody>
        </p:sp>
        <p:sp>
          <p:nvSpPr>
            <p:cNvPr id="240" name="ï$ľíḋè"/>
            <p:cNvSpPr/>
            <p:nvPr/>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p>
          </p:txBody>
        </p:sp>
        <p:sp>
          <p:nvSpPr>
            <p:cNvPr id="241" name="îṡlíḑe"/>
            <p:cNvSpPr/>
            <p:nvPr/>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p>
          </p:txBody>
        </p:sp>
        <p:sp>
          <p:nvSpPr>
            <p:cNvPr id="242" name="îṥlîdé"/>
            <p:cNvSpPr/>
            <p:nvPr/>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p>
          </p:txBody>
        </p:sp>
        <p:sp>
          <p:nvSpPr>
            <p:cNvPr id="243" name="î$ļíḓè"/>
            <p:cNvSpPr/>
            <p:nvPr/>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p>
          </p:txBody>
        </p:sp>
        <p:sp>
          <p:nvSpPr>
            <p:cNvPr id="244" name="ïşľîde"/>
            <p:cNvSpPr/>
            <p:nvPr/>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p>
          </p:txBody>
        </p:sp>
        <p:sp>
          <p:nvSpPr>
            <p:cNvPr id="245" name="íŝ1íḓè"/>
            <p:cNvSpPr/>
            <p:nvPr/>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p>
          </p:txBody>
        </p:sp>
        <p:sp>
          <p:nvSpPr>
            <p:cNvPr id="246" name="išļïḓê"/>
            <p:cNvSpPr/>
            <p:nvPr/>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p>
          </p:txBody>
        </p:sp>
        <p:sp>
          <p:nvSpPr>
            <p:cNvPr id="247" name="ísḷîḋê"/>
            <p:cNvSpPr/>
            <p:nvPr/>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p>
          </p:txBody>
        </p:sp>
        <p:sp>
          <p:nvSpPr>
            <p:cNvPr id="248" name="îŝḻîḓê"/>
            <p:cNvSpPr/>
            <p:nvPr/>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p>
          </p:txBody>
        </p:sp>
        <p:sp>
          <p:nvSpPr>
            <p:cNvPr id="249" name="îśļïḋè"/>
            <p:cNvSpPr/>
            <p:nvPr/>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p>
          </p:txBody>
        </p:sp>
        <p:sp>
          <p:nvSpPr>
            <p:cNvPr id="250" name="i$ľidê"/>
            <p:cNvSpPr/>
            <p:nvPr/>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p>
          </p:txBody>
        </p:sp>
        <p:sp>
          <p:nvSpPr>
            <p:cNvPr id="251" name="iSḷïḍe"/>
            <p:cNvSpPr/>
            <p:nvPr/>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p>
          </p:txBody>
        </p:sp>
        <p:sp>
          <p:nvSpPr>
            <p:cNvPr id="252" name="iṧļîdé"/>
            <p:cNvSpPr/>
            <p:nvPr/>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p>
          </p:txBody>
        </p:sp>
        <p:sp>
          <p:nvSpPr>
            <p:cNvPr id="253" name="îśḷíďè"/>
            <p:cNvSpPr/>
            <p:nvPr/>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54" name="íŝḻiďé"/>
            <p:cNvSpPr/>
            <p:nvPr/>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55" name="ïṡļiḓè"/>
            <p:cNvSpPr/>
            <p:nvPr/>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p>
          </p:txBody>
        </p:sp>
        <p:sp>
          <p:nvSpPr>
            <p:cNvPr id="256" name="îṡ1ïḑe"/>
            <p:cNvSpPr/>
            <p:nvPr/>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p>
          </p:txBody>
        </p:sp>
        <p:sp>
          <p:nvSpPr>
            <p:cNvPr id="257" name="íšlîḑe"/>
            <p:cNvSpPr/>
            <p:nvPr/>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p>
          </p:txBody>
        </p:sp>
        <p:sp>
          <p:nvSpPr>
            <p:cNvPr id="258" name="íSlïde"/>
            <p:cNvSpPr/>
            <p:nvPr/>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p>
          </p:txBody>
        </p:sp>
        <p:sp>
          <p:nvSpPr>
            <p:cNvPr id="259" name="îṥlïḑè"/>
            <p:cNvSpPr/>
            <p:nvPr/>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p>
          </p:txBody>
        </p:sp>
        <p:sp>
          <p:nvSpPr>
            <p:cNvPr id="260" name="ïšliďe"/>
            <p:cNvSpPr/>
            <p:nvPr/>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p>
          </p:txBody>
        </p:sp>
        <p:sp>
          <p:nvSpPr>
            <p:cNvPr id="261" name="îṧḻidê"/>
            <p:cNvSpPr/>
            <p:nvPr/>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p>
          </p:txBody>
        </p:sp>
        <p:sp>
          <p:nvSpPr>
            <p:cNvPr id="262" name="íšļîḋe"/>
            <p:cNvSpPr/>
            <p:nvPr/>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p>
          </p:txBody>
        </p:sp>
        <p:sp>
          <p:nvSpPr>
            <p:cNvPr id="263" name="iṧ1ïḓê"/>
            <p:cNvSpPr/>
            <p:nvPr/>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p>
          </p:txBody>
        </p:sp>
        <p:sp>
          <p:nvSpPr>
            <p:cNvPr id="264" name="íşlîḑe"/>
            <p:cNvSpPr/>
            <p:nvPr/>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5" name="iṥḷîďé"/>
            <p:cNvSpPr/>
            <p:nvPr/>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6" name="ïsḻiďê"/>
            <p:cNvSpPr/>
            <p:nvPr/>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7" name="iś1íḑe"/>
            <p:cNvSpPr/>
            <p:nvPr/>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68" name="ísľíďê"/>
            <p:cNvSpPr/>
            <p:nvPr/>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p>
          </p:txBody>
        </p:sp>
        <p:sp>
          <p:nvSpPr>
            <p:cNvPr id="269" name="iS1íďê"/>
            <p:cNvSpPr/>
            <p:nvPr/>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p>
          </p:txBody>
        </p:sp>
        <p:sp>
          <p:nvSpPr>
            <p:cNvPr id="270" name="ïslîďè"/>
            <p:cNvSpPr/>
            <p:nvPr/>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p>
          </p:txBody>
        </p:sp>
        <p:sp>
          <p:nvSpPr>
            <p:cNvPr id="271" name="iŝ1ïḑe"/>
            <p:cNvSpPr/>
            <p:nvPr/>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p>
          </p:txBody>
        </p:sp>
        <p:sp>
          <p:nvSpPr>
            <p:cNvPr id="272" name="işḷíďè"/>
            <p:cNvSpPr/>
            <p:nvPr/>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p>
          </p:txBody>
        </p:sp>
        <p:sp>
          <p:nvSpPr>
            <p:cNvPr id="273" name="ïşľïḋè"/>
            <p:cNvSpPr/>
            <p:nvPr/>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p>
          </p:txBody>
        </p:sp>
        <p:sp>
          <p:nvSpPr>
            <p:cNvPr id="274" name="ïšḷïḑê"/>
            <p:cNvSpPr/>
            <p:nvPr/>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p>
          </p:txBody>
        </p:sp>
        <p:sp>
          <p:nvSpPr>
            <p:cNvPr id="275" name="îṣlïḍê"/>
            <p:cNvSpPr/>
            <p:nvPr/>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p>
          </p:txBody>
        </p:sp>
        <p:sp>
          <p:nvSpPr>
            <p:cNvPr id="276" name="îśľîḋê"/>
            <p:cNvSpPr/>
            <p:nvPr/>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77" name="iṩļíḋê"/>
            <p:cNvSpPr/>
            <p:nvPr/>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p>
          </p:txBody>
        </p:sp>
        <p:sp>
          <p:nvSpPr>
            <p:cNvPr id="278" name="iṧ1îḑê"/>
            <p:cNvSpPr/>
            <p:nvPr/>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p>
          </p:txBody>
        </p:sp>
        <p:sp>
          <p:nvSpPr>
            <p:cNvPr id="279" name="íšḻîďe"/>
            <p:cNvSpPr/>
            <p:nvPr/>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280" name="ï$liḋê"/>
            <p:cNvSpPr/>
            <p:nvPr/>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p>
          </p:txBody>
        </p:sp>
        <p:sp>
          <p:nvSpPr>
            <p:cNvPr id="281" name="ïsļïḓé"/>
            <p:cNvSpPr/>
            <p:nvPr/>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p>
          </p:txBody>
        </p:sp>
        <p:sp>
          <p:nvSpPr>
            <p:cNvPr id="282" name="iśļîḓê"/>
            <p:cNvSpPr/>
            <p:nvPr/>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p>
          </p:txBody>
        </p:sp>
        <p:sp>
          <p:nvSpPr>
            <p:cNvPr id="283" name="ïṥļîďé"/>
            <p:cNvSpPr/>
            <p:nvPr/>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p>
          </p:txBody>
        </p:sp>
        <p:sp>
          <p:nvSpPr>
            <p:cNvPr id="284" name="îş1íḑé"/>
            <p:cNvSpPr/>
            <p:nvPr/>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p>
          </p:txBody>
        </p:sp>
        <p:sp>
          <p:nvSpPr>
            <p:cNvPr id="285" name="ïšľíḓe"/>
            <p:cNvSpPr/>
            <p:nvPr/>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p>
          </p:txBody>
        </p:sp>
        <p:sp>
          <p:nvSpPr>
            <p:cNvPr id="286" name="îS1îḍe"/>
            <p:cNvSpPr/>
            <p:nvPr/>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p>
          </p:txBody>
        </p:sp>
        <p:sp>
          <p:nvSpPr>
            <p:cNvPr id="287" name="íS1íḑè"/>
            <p:cNvSpPr/>
            <p:nvPr/>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88" name="íṧ1iḓè"/>
            <p:cNvSpPr/>
            <p:nvPr/>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289" name="íSlíḍè"/>
            <p:cNvSpPr/>
            <p:nvPr/>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p>
          </p:txBody>
        </p:sp>
        <p:sp>
          <p:nvSpPr>
            <p:cNvPr id="290" name="ïṥļidê"/>
            <p:cNvSpPr/>
            <p:nvPr/>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p>
          </p:txBody>
        </p:sp>
        <p:sp>
          <p:nvSpPr>
            <p:cNvPr id="291" name="iŝľîdé"/>
            <p:cNvSpPr/>
            <p:nvPr/>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p>
          </p:txBody>
        </p:sp>
        <p:sp>
          <p:nvSpPr>
            <p:cNvPr id="292" name="îś1îḋê"/>
            <p:cNvSpPr/>
            <p:nvPr/>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p>
          </p:txBody>
        </p:sp>
        <p:sp>
          <p:nvSpPr>
            <p:cNvPr id="293" name="îślîdé"/>
            <p:cNvSpPr/>
            <p:nvPr/>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p>
          </p:txBody>
        </p:sp>
        <p:sp>
          <p:nvSpPr>
            <p:cNvPr id="294" name="íṧ1iďé"/>
            <p:cNvSpPr/>
            <p:nvPr/>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p>
          </p:txBody>
        </p:sp>
        <p:sp>
          <p:nvSpPr>
            <p:cNvPr id="295" name="ïsļïḓê"/>
            <p:cNvSpPr/>
            <p:nvPr/>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p>
          </p:txBody>
        </p:sp>
        <p:sp>
          <p:nvSpPr>
            <p:cNvPr id="296" name="îṡḻiḋê"/>
            <p:cNvSpPr/>
            <p:nvPr/>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p>
          </p:txBody>
        </p:sp>
        <p:sp>
          <p:nvSpPr>
            <p:cNvPr id="297" name="ïṧḷíḑé"/>
            <p:cNvSpPr/>
            <p:nvPr/>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p>
          </p:txBody>
        </p:sp>
        <p:sp>
          <p:nvSpPr>
            <p:cNvPr id="298" name="išḷíḓe"/>
            <p:cNvSpPr/>
            <p:nvPr/>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p>
          </p:txBody>
        </p:sp>
        <p:sp>
          <p:nvSpPr>
            <p:cNvPr id="299" name="iśľïḑe"/>
            <p:cNvSpPr/>
            <p:nvPr/>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p>
          </p:txBody>
        </p:sp>
        <p:sp>
          <p:nvSpPr>
            <p:cNvPr id="300" name="ïSḷïḑê"/>
            <p:cNvSpPr/>
            <p:nvPr/>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p>
          </p:txBody>
        </p:sp>
        <p:sp>
          <p:nvSpPr>
            <p:cNvPr id="301" name="išļídê"/>
            <p:cNvSpPr/>
            <p:nvPr/>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p>
          </p:txBody>
        </p:sp>
        <p:sp>
          <p:nvSpPr>
            <p:cNvPr id="302" name="ïṥḻíḓè"/>
            <p:cNvSpPr/>
            <p:nvPr/>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p>
          </p:txBody>
        </p:sp>
        <p:sp>
          <p:nvSpPr>
            <p:cNvPr id="303" name="ïslîďe"/>
            <p:cNvSpPr/>
            <p:nvPr/>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p>
          </p:txBody>
        </p:sp>
        <p:sp>
          <p:nvSpPr>
            <p:cNvPr id="304" name="iṩlíḓè"/>
            <p:cNvSpPr/>
            <p:nvPr/>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p>
          </p:txBody>
        </p:sp>
        <p:sp>
          <p:nvSpPr>
            <p:cNvPr id="305" name="íṣḻîḋe"/>
            <p:cNvSpPr/>
            <p:nvPr/>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p>
          </p:txBody>
        </p:sp>
        <p:sp>
          <p:nvSpPr>
            <p:cNvPr id="306" name="ís1îḋé"/>
            <p:cNvSpPr/>
            <p:nvPr/>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p>
          </p:txBody>
        </p:sp>
        <p:sp>
          <p:nvSpPr>
            <p:cNvPr id="307" name="ïšḷïḑe"/>
            <p:cNvSpPr/>
            <p:nvPr/>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308" name="iŝľiďè"/>
            <p:cNvSpPr/>
            <p:nvPr/>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309" name="ïś1îḓe"/>
            <p:cNvSpPr/>
            <p:nvPr/>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p>
          </p:txBody>
        </p:sp>
        <p:sp>
          <p:nvSpPr>
            <p:cNvPr id="310" name="îṣliďè"/>
            <p:cNvSpPr/>
            <p:nvPr/>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311" name="i$ľîdé"/>
            <p:cNvSpPr/>
            <p:nvPr/>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p>
          </p:txBody>
        </p:sp>
        <p:sp>
          <p:nvSpPr>
            <p:cNvPr id="312" name="iśḻîḑe"/>
            <p:cNvSpPr/>
            <p:nvPr/>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p>
          </p:txBody>
        </p:sp>
        <p:sp>
          <p:nvSpPr>
            <p:cNvPr id="313" name="í$ḻiḋê"/>
            <p:cNvSpPr/>
            <p:nvPr/>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314" name="ï$ḷíḓê"/>
            <p:cNvSpPr/>
            <p:nvPr/>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315" name="iŝľïdé"/>
            <p:cNvSpPr/>
            <p:nvPr/>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316" name="íṧ1íḓè"/>
            <p:cNvSpPr/>
            <p:nvPr/>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p>
          </p:txBody>
        </p:sp>
        <p:sp>
          <p:nvSpPr>
            <p:cNvPr id="317" name="ïṩļïďé"/>
            <p:cNvSpPr/>
            <p:nvPr/>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p>
          </p:txBody>
        </p:sp>
        <p:sp>
          <p:nvSpPr>
            <p:cNvPr id="318" name="íśḷïḋé"/>
            <p:cNvSpPr/>
            <p:nvPr/>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p>
          </p:txBody>
        </p:sp>
        <p:sp>
          <p:nvSpPr>
            <p:cNvPr id="319" name="íṣľiḋé"/>
            <p:cNvSpPr/>
            <p:nvPr/>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0" name="îṣľíḑè"/>
            <p:cNvSpPr/>
            <p:nvPr/>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1" name="íṡlíḋê"/>
            <p:cNvSpPr/>
            <p:nvPr/>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2" name="işļîḋê"/>
            <p:cNvSpPr/>
            <p:nvPr/>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323" name="íslidè"/>
            <p:cNvSpPr/>
            <p:nvPr/>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p>
          </p:txBody>
        </p:sp>
        <p:sp>
          <p:nvSpPr>
            <p:cNvPr id="324" name="i$ľïḑè"/>
            <p:cNvSpPr/>
            <p:nvPr/>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p>
          </p:txBody>
        </p:sp>
        <p:sp>
          <p:nvSpPr>
            <p:cNvPr id="325" name="iśļíḑe"/>
            <p:cNvSpPr/>
            <p:nvPr/>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6" name="ïṡḻiḍé"/>
            <p:cNvSpPr/>
            <p:nvPr/>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7" name="íS1ïďè"/>
            <p:cNvSpPr/>
            <p:nvPr/>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8" name="iṧľîďe"/>
            <p:cNvSpPr/>
            <p:nvPr/>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29" name="íŝļïḋè"/>
            <p:cNvSpPr/>
            <p:nvPr/>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30" name="ïṥḻîḋê"/>
            <p:cNvSpPr/>
            <p:nvPr/>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331" name="íŝlíḑê"/>
            <p:cNvSpPr/>
            <p:nvPr/>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p>
          </p:txBody>
        </p:sp>
        <p:sp>
          <p:nvSpPr>
            <p:cNvPr id="332" name="ïsļîḑê"/>
            <p:cNvSpPr/>
            <p:nvPr/>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p>
          </p:txBody>
        </p:sp>
        <p:sp>
          <p:nvSpPr>
            <p:cNvPr id="333" name="íśliḓé"/>
            <p:cNvSpPr/>
            <p:nvPr/>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p>
          </p:txBody>
        </p:sp>
        <p:sp>
          <p:nvSpPr>
            <p:cNvPr id="334" name="iṣľíďê"/>
            <p:cNvSpPr/>
            <p:nvPr/>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p>
          </p:txBody>
        </p:sp>
        <p:sp>
          <p:nvSpPr>
            <p:cNvPr id="335" name="íş1îḋê"/>
            <p:cNvSpPr/>
            <p:nvPr/>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p>
          </p:txBody>
        </p:sp>
        <p:sp>
          <p:nvSpPr>
            <p:cNvPr id="336" name="ïŝḷiḑe"/>
            <p:cNvSpPr/>
            <p:nvPr/>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p>
          </p:txBody>
        </p:sp>
        <p:sp>
          <p:nvSpPr>
            <p:cNvPr id="337" name="iṥlîḑé"/>
            <p:cNvSpPr/>
            <p:nvPr/>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p>
          </p:txBody>
        </p:sp>
        <p:sp>
          <p:nvSpPr>
            <p:cNvPr id="338" name="íş1îḓê"/>
            <p:cNvSpPr/>
            <p:nvPr/>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p>
          </p:txBody>
        </p:sp>
        <p:sp>
          <p:nvSpPr>
            <p:cNvPr id="339" name="išḷiḑé"/>
            <p:cNvSpPr/>
            <p:nvPr/>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p>
          </p:txBody>
        </p:sp>
        <p:sp>
          <p:nvSpPr>
            <p:cNvPr id="340" name="îşḻídé"/>
            <p:cNvSpPr/>
            <p:nvPr/>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p>
          </p:txBody>
        </p:sp>
        <p:sp>
          <p:nvSpPr>
            <p:cNvPr id="341" name="îṩḻîḓê"/>
            <p:cNvSpPr/>
            <p:nvPr/>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p>
          </p:txBody>
        </p:sp>
        <p:sp>
          <p:nvSpPr>
            <p:cNvPr id="342" name="iSḷidè"/>
            <p:cNvSpPr/>
            <p:nvPr/>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p>
          </p:txBody>
        </p:sp>
        <p:sp>
          <p:nvSpPr>
            <p:cNvPr id="343" name="îṥḻîďê"/>
            <p:cNvSpPr/>
            <p:nvPr/>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p>
          </p:txBody>
        </p:sp>
        <p:sp>
          <p:nvSpPr>
            <p:cNvPr id="344" name="ïṧliḍè"/>
            <p:cNvSpPr/>
            <p:nvPr/>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345" name="iṣ1iḓé"/>
            <p:cNvSpPr/>
            <p:nvPr/>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346" name="íṣļíḓe"/>
            <p:cNvSpPr/>
            <p:nvPr/>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p>
          </p:txBody>
        </p:sp>
        <p:sp>
          <p:nvSpPr>
            <p:cNvPr id="347" name="ïṧlíḍé"/>
            <p:cNvSpPr/>
            <p:nvPr/>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348" name="işḻíḑe"/>
            <p:cNvSpPr/>
            <p:nvPr/>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p>
          </p:txBody>
        </p:sp>
        <p:sp>
          <p:nvSpPr>
            <p:cNvPr id="349" name="îṧ1ïḑe"/>
            <p:cNvSpPr/>
            <p:nvPr/>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p>
          </p:txBody>
        </p:sp>
        <p:sp>
          <p:nvSpPr>
            <p:cNvPr id="350" name="íṣ1îḑe"/>
            <p:cNvSpPr/>
            <p:nvPr/>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351" name="î$liḓè"/>
            <p:cNvSpPr/>
            <p:nvPr/>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p>
          </p:txBody>
        </p:sp>
        <p:sp>
          <p:nvSpPr>
            <p:cNvPr id="352" name="îSḷïďe"/>
            <p:cNvSpPr/>
            <p:nvPr/>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353" name="îṩľíďè"/>
            <p:cNvSpPr/>
            <p:nvPr/>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p>
          </p:txBody>
        </p:sp>
        <p:sp>
          <p:nvSpPr>
            <p:cNvPr id="354" name="íŝ1iḍê"/>
            <p:cNvSpPr/>
            <p:nvPr/>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355" name="îś1íďe"/>
            <p:cNvSpPr/>
            <p:nvPr/>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6" name="isliḑe"/>
            <p:cNvSpPr/>
            <p:nvPr/>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7" name="ís1íḓé"/>
            <p:cNvSpPr/>
            <p:nvPr/>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8" name="íṧḻïḋe"/>
            <p:cNvSpPr/>
            <p:nvPr/>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359" name="îSḷîḋê"/>
            <p:cNvSpPr/>
            <p:nvPr/>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p>
          </p:txBody>
        </p:sp>
        <p:sp>
          <p:nvSpPr>
            <p:cNvPr id="360" name="iṣḷíḑé"/>
            <p:cNvSpPr/>
            <p:nvPr/>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361" name="íṡ1îḓê"/>
            <p:cNvSpPr/>
            <p:nvPr/>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362" name="ïṣḷidê"/>
            <p:cNvSpPr/>
            <p:nvPr/>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363" name="íşḻíḓé"/>
            <p:cNvSpPr/>
            <p:nvPr/>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364" name="iṧ1ïḑê"/>
            <p:cNvSpPr/>
            <p:nvPr/>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365" name="íṥḻíďê"/>
            <p:cNvSpPr/>
            <p:nvPr/>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366" name="íSļîdè"/>
            <p:cNvSpPr/>
            <p:nvPr/>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67" name="îṧ1iďé"/>
            <p:cNvSpPr/>
            <p:nvPr/>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68" name="íṥḻïḋè"/>
            <p:cNvSpPr/>
            <p:nvPr/>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69" name="ïŝḻiḍé"/>
            <p:cNvSpPr/>
            <p:nvPr/>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70" name="îṩḷide"/>
            <p:cNvSpPr/>
            <p:nvPr/>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p>
          </p:txBody>
        </p:sp>
        <p:sp>
          <p:nvSpPr>
            <p:cNvPr id="371" name="ïṥļïḓe"/>
            <p:cNvSpPr/>
            <p:nvPr/>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p>
          </p:txBody>
        </p:sp>
        <p:sp>
          <p:nvSpPr>
            <p:cNvPr id="372" name="iṧḷîḓê"/>
            <p:cNvSpPr/>
            <p:nvPr/>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p>
          </p:txBody>
        </p:sp>
        <p:sp>
          <p:nvSpPr>
            <p:cNvPr id="373" name="íşḻíḑe"/>
            <p:cNvSpPr/>
            <p:nvPr/>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p>
          </p:txBody>
        </p:sp>
        <p:sp>
          <p:nvSpPr>
            <p:cNvPr id="374" name="iṩľîḑè"/>
            <p:cNvSpPr/>
            <p:nvPr/>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75" name="isḷïdé"/>
            <p:cNvSpPr/>
            <p:nvPr/>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76" name="îṥḷïdè"/>
            <p:cNvSpPr/>
            <p:nvPr/>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p>
          </p:txBody>
        </p:sp>
        <p:sp>
          <p:nvSpPr>
            <p:cNvPr id="377" name="iṩḷïḓè"/>
            <p:cNvSpPr/>
            <p:nvPr/>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p>
          </p:txBody>
        </p:sp>
        <p:sp>
          <p:nvSpPr>
            <p:cNvPr id="378" name="îṡḻïḓè"/>
            <p:cNvSpPr/>
            <p:nvPr/>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p>
          </p:txBody>
        </p:sp>
        <p:sp>
          <p:nvSpPr>
            <p:cNvPr id="379" name="ïsḻîdé"/>
            <p:cNvSpPr/>
            <p:nvPr/>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p>
          </p:txBody>
        </p:sp>
        <p:sp>
          <p:nvSpPr>
            <p:cNvPr id="380" name="ïṩḻíḓé"/>
            <p:cNvSpPr/>
            <p:nvPr/>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p>
          </p:txBody>
        </p:sp>
        <p:sp>
          <p:nvSpPr>
            <p:cNvPr id="381" name="íṡļiḓe"/>
            <p:cNvSpPr/>
            <p:nvPr/>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p>
          </p:txBody>
        </p:sp>
        <p:sp>
          <p:nvSpPr>
            <p:cNvPr id="382" name="íṥḻíḋe"/>
            <p:cNvSpPr/>
            <p:nvPr/>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383" name="íSḷïde"/>
            <p:cNvSpPr/>
            <p:nvPr/>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p>
          </p:txBody>
        </p:sp>
        <p:sp>
          <p:nvSpPr>
            <p:cNvPr id="384" name="íSľíďê"/>
            <p:cNvSpPr/>
            <p:nvPr/>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385" name="îsļidé"/>
            <p:cNvSpPr/>
            <p:nvPr/>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386" name="íṣļiḑè"/>
            <p:cNvSpPr/>
            <p:nvPr/>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p>
          </p:txBody>
        </p:sp>
        <p:sp>
          <p:nvSpPr>
            <p:cNvPr id="387" name="ïṡļîḓe"/>
            <p:cNvSpPr/>
            <p:nvPr/>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p>
          </p:txBody>
        </p:sp>
        <p:sp>
          <p:nvSpPr>
            <p:cNvPr id="388" name="îṡḻïḋê"/>
            <p:cNvSpPr/>
            <p:nvPr/>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p>
          </p:txBody>
        </p:sp>
        <p:sp>
          <p:nvSpPr>
            <p:cNvPr id="389" name="ïṧľîdê"/>
            <p:cNvSpPr/>
            <p:nvPr/>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390" name="isľîḍé"/>
            <p:cNvSpPr/>
            <p:nvPr/>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p>
          </p:txBody>
        </p:sp>
        <p:sp>
          <p:nvSpPr>
            <p:cNvPr id="391" name="î$ľidé"/>
            <p:cNvSpPr/>
            <p:nvPr/>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p>
          </p:txBody>
        </p:sp>
        <p:sp>
          <p:nvSpPr>
            <p:cNvPr id="392" name="í$ľíḋé"/>
            <p:cNvSpPr/>
            <p:nvPr/>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p>
          </p:txBody>
        </p:sp>
        <p:sp>
          <p:nvSpPr>
            <p:cNvPr id="393" name="îṣľiḓé"/>
            <p:cNvSpPr/>
            <p:nvPr/>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94" name="iṧḷîḋè"/>
            <p:cNvSpPr/>
            <p:nvPr/>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p>
          </p:txBody>
        </p:sp>
        <p:sp>
          <p:nvSpPr>
            <p:cNvPr id="395" name="íŝļïďè"/>
            <p:cNvSpPr/>
            <p:nvPr/>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p>
          </p:txBody>
        </p:sp>
        <p:sp>
          <p:nvSpPr>
            <p:cNvPr id="396" name="ïSḻïďé"/>
            <p:cNvSpPr/>
            <p:nvPr/>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397" name="ïśľiḑe"/>
            <p:cNvSpPr/>
            <p:nvPr/>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p>
          </p:txBody>
        </p:sp>
        <p:sp>
          <p:nvSpPr>
            <p:cNvPr id="398" name="íṥļîdè"/>
            <p:cNvSpPr/>
            <p:nvPr/>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p>
          </p:txBody>
        </p:sp>
        <p:sp>
          <p:nvSpPr>
            <p:cNvPr id="399" name="íSľïḑé"/>
            <p:cNvSpPr/>
            <p:nvPr/>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p>
          </p:txBody>
        </p:sp>
        <p:sp>
          <p:nvSpPr>
            <p:cNvPr id="400" name="ïs1iďè"/>
            <p:cNvSpPr/>
            <p:nvPr/>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p>
          </p:txBody>
        </p:sp>
        <p:sp>
          <p:nvSpPr>
            <p:cNvPr id="401" name="iṥľïḍe"/>
            <p:cNvSpPr/>
            <p:nvPr/>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p>
          </p:txBody>
        </p:sp>
        <p:sp>
          <p:nvSpPr>
            <p:cNvPr id="402" name="îšļïḍè"/>
            <p:cNvSpPr/>
            <p:nvPr/>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p>
          </p:txBody>
        </p:sp>
        <p:sp>
          <p:nvSpPr>
            <p:cNvPr id="403" name="išlïdé"/>
            <p:cNvSpPr/>
            <p:nvPr/>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p>
          </p:txBody>
        </p:sp>
        <p:sp>
          <p:nvSpPr>
            <p:cNvPr id="404" name="îṥļiḍê"/>
            <p:cNvSpPr/>
            <p:nvPr/>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p>
          </p:txBody>
        </p:sp>
        <p:sp>
          <p:nvSpPr>
            <p:cNvPr id="405" name="iSľíďê"/>
            <p:cNvSpPr/>
            <p:nvPr/>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p>
          </p:txBody>
        </p:sp>
        <p:sp>
          <p:nvSpPr>
            <p:cNvPr id="406" name="îṣlïḋe"/>
            <p:cNvSpPr/>
            <p:nvPr/>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p>
          </p:txBody>
        </p:sp>
        <p:sp>
          <p:nvSpPr>
            <p:cNvPr id="407" name="îṩlíde"/>
            <p:cNvSpPr/>
            <p:nvPr/>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p>
          </p:txBody>
        </p:sp>
        <p:sp>
          <p:nvSpPr>
            <p:cNvPr id="408" name="ïṣļïḓê"/>
            <p:cNvSpPr/>
            <p:nvPr/>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p>
          </p:txBody>
        </p:sp>
        <p:sp>
          <p:nvSpPr>
            <p:cNvPr id="409" name="ís1íḍè"/>
            <p:cNvSpPr/>
            <p:nvPr/>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p>
          </p:txBody>
        </p:sp>
        <p:sp>
          <p:nvSpPr>
            <p:cNvPr id="410" name="îš1îḓè"/>
            <p:cNvSpPr/>
            <p:nvPr/>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p>
          </p:txBody>
        </p:sp>
        <p:sp>
          <p:nvSpPr>
            <p:cNvPr id="411" name="ïśḻïḋê"/>
            <p:cNvSpPr/>
            <p:nvPr/>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p>
          </p:txBody>
        </p:sp>
        <p:sp>
          <p:nvSpPr>
            <p:cNvPr id="412" name="i$ļídé"/>
            <p:cNvSpPr/>
            <p:nvPr/>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p>
          </p:txBody>
        </p:sp>
        <p:sp>
          <p:nvSpPr>
            <p:cNvPr id="413" name="íśľîḍê"/>
            <p:cNvSpPr/>
            <p:nvPr/>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p>
          </p:txBody>
        </p:sp>
        <p:sp>
          <p:nvSpPr>
            <p:cNvPr id="414" name="iśľîdé"/>
            <p:cNvSpPr/>
            <p:nvPr/>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p>
          </p:txBody>
        </p:sp>
        <p:sp>
          <p:nvSpPr>
            <p:cNvPr id="415" name="ïSlïḋè"/>
            <p:cNvSpPr/>
            <p:nvPr/>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p>
          </p:txBody>
        </p:sp>
        <p:sp>
          <p:nvSpPr>
            <p:cNvPr id="416" name="ïsļïḑê"/>
            <p:cNvSpPr/>
            <p:nvPr/>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p>
          </p:txBody>
        </p:sp>
        <p:sp>
          <p:nvSpPr>
            <p:cNvPr id="417" name="iSlïḓé"/>
            <p:cNvSpPr/>
            <p:nvPr/>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p>
          </p:txBody>
        </p:sp>
        <p:sp>
          <p:nvSpPr>
            <p:cNvPr id="418" name="iS1íde"/>
            <p:cNvSpPr/>
            <p:nvPr/>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p>
          </p:txBody>
        </p:sp>
        <p:sp>
          <p:nvSpPr>
            <p:cNvPr id="419" name="ï$ļiḍé"/>
            <p:cNvSpPr/>
            <p:nvPr/>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p>
          </p:txBody>
        </p:sp>
        <p:sp>
          <p:nvSpPr>
            <p:cNvPr id="420" name="ïśliďe"/>
            <p:cNvSpPr/>
            <p:nvPr/>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p>
          </p:txBody>
        </p:sp>
        <p:sp>
          <p:nvSpPr>
            <p:cNvPr id="421" name="î$ḻíḍe"/>
            <p:cNvSpPr/>
            <p:nvPr/>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p>
          </p:txBody>
        </p:sp>
        <p:sp>
          <p:nvSpPr>
            <p:cNvPr id="422" name="ïṥḷîḍè"/>
            <p:cNvSpPr/>
            <p:nvPr/>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p>
          </p:txBody>
        </p:sp>
        <p:sp>
          <p:nvSpPr>
            <p:cNvPr id="423" name="îṡľïḍê"/>
            <p:cNvSpPr/>
            <p:nvPr/>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p>
          </p:txBody>
        </p:sp>
        <p:sp>
          <p:nvSpPr>
            <p:cNvPr id="424" name="îṡ1iďe"/>
            <p:cNvSpPr/>
            <p:nvPr/>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p>
          </p:txBody>
        </p:sp>
        <p:sp>
          <p:nvSpPr>
            <p:cNvPr id="425" name="ïŝḷiďè"/>
            <p:cNvSpPr/>
            <p:nvPr/>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p>
          </p:txBody>
        </p:sp>
        <p:sp>
          <p:nvSpPr>
            <p:cNvPr id="426" name="íš1iḋé"/>
            <p:cNvSpPr/>
            <p:nvPr/>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p>
          </p:txBody>
        </p:sp>
        <p:sp>
          <p:nvSpPr>
            <p:cNvPr id="427" name="îšḷiḍè"/>
            <p:cNvSpPr/>
            <p:nvPr/>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p>
          </p:txBody>
        </p:sp>
        <p:sp>
          <p:nvSpPr>
            <p:cNvPr id="428" name="íśḷiḓê"/>
            <p:cNvSpPr/>
            <p:nvPr/>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p>
          </p:txBody>
        </p:sp>
        <p:sp>
          <p:nvSpPr>
            <p:cNvPr id="429" name="i$ḻíḑé"/>
            <p:cNvSpPr/>
            <p:nvPr/>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p>
          </p:txBody>
        </p:sp>
        <p:sp>
          <p:nvSpPr>
            <p:cNvPr id="430" name="iṥlîḍé"/>
            <p:cNvSpPr/>
            <p:nvPr/>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p>
          </p:txBody>
        </p:sp>
        <p:sp>
          <p:nvSpPr>
            <p:cNvPr id="431" name="íšḷíḋè"/>
            <p:cNvSpPr/>
            <p:nvPr/>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p>
          </p:txBody>
        </p:sp>
        <p:sp>
          <p:nvSpPr>
            <p:cNvPr id="432" name="iṩlïdè"/>
            <p:cNvSpPr/>
            <p:nvPr/>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p>
          </p:txBody>
        </p:sp>
        <p:sp>
          <p:nvSpPr>
            <p:cNvPr id="433" name="iŝḻîḑé"/>
            <p:cNvSpPr/>
            <p:nvPr/>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p>
          </p:txBody>
        </p:sp>
        <p:sp>
          <p:nvSpPr>
            <p:cNvPr id="434" name="íṣ1ïďé"/>
            <p:cNvSpPr/>
            <p:nvPr/>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p>
          </p:txBody>
        </p:sp>
        <p:sp>
          <p:nvSpPr>
            <p:cNvPr id="435" name="ísľîďé"/>
            <p:cNvSpPr/>
            <p:nvPr/>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p>
          </p:txBody>
        </p:sp>
        <p:sp>
          <p:nvSpPr>
            <p:cNvPr id="436" name="išľiḓé"/>
            <p:cNvSpPr/>
            <p:nvPr/>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p>
          </p:txBody>
        </p:sp>
        <p:sp>
          <p:nvSpPr>
            <p:cNvPr id="437" name="ïs1íde"/>
            <p:cNvSpPr/>
            <p:nvPr/>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p>
          </p:txBody>
        </p:sp>
        <p:sp>
          <p:nvSpPr>
            <p:cNvPr id="438" name="ï$1ídê"/>
            <p:cNvSpPr/>
            <p:nvPr/>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p>
          </p:txBody>
        </p:sp>
        <p:sp>
          <p:nvSpPr>
            <p:cNvPr id="439" name="îṥḻîḍê"/>
            <p:cNvSpPr/>
            <p:nvPr/>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p>
          </p:txBody>
        </p:sp>
        <p:sp>
          <p:nvSpPr>
            <p:cNvPr id="440" name="îṥḻiďe"/>
            <p:cNvSpPr/>
            <p:nvPr/>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441" name="iṣļíḓè"/>
            <p:cNvSpPr/>
            <p:nvPr/>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442" name="isḻíḓé"/>
            <p:cNvSpPr/>
            <p:nvPr/>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p>
          </p:txBody>
        </p:sp>
        <p:sp>
          <p:nvSpPr>
            <p:cNvPr id="443" name="îşļïďê"/>
            <p:cNvSpPr/>
            <p:nvPr/>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p>
          </p:txBody>
        </p:sp>
        <p:sp>
          <p:nvSpPr>
            <p:cNvPr id="444" name="îş1îďè"/>
            <p:cNvSpPr/>
            <p:nvPr/>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p>
          </p:txBody>
        </p:sp>
        <p:sp>
          <p:nvSpPr>
            <p:cNvPr id="445" name="ïṥļîḍe"/>
            <p:cNvSpPr/>
            <p:nvPr/>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p>
          </p:txBody>
        </p:sp>
        <p:sp>
          <p:nvSpPr>
            <p:cNvPr id="446" name="ïŝlïḋè"/>
            <p:cNvSpPr/>
            <p:nvPr/>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p>
          </p:txBody>
        </p:sp>
        <p:sp>
          <p:nvSpPr>
            <p:cNvPr id="447" name="îśļïḍê"/>
            <p:cNvSpPr/>
            <p:nvPr/>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p>
          </p:txBody>
        </p:sp>
        <p:sp>
          <p:nvSpPr>
            <p:cNvPr id="448" name="ïṡḷídè"/>
            <p:cNvSpPr/>
            <p:nvPr/>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p>
          </p:txBody>
        </p:sp>
        <p:sp>
          <p:nvSpPr>
            <p:cNvPr id="449" name="išļiḍê"/>
            <p:cNvSpPr/>
            <p:nvPr/>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p>
          </p:txBody>
        </p:sp>
        <p:sp>
          <p:nvSpPr>
            <p:cNvPr id="450" name="iṥḷiḓe"/>
            <p:cNvSpPr/>
            <p:nvPr/>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p>
          </p:txBody>
        </p:sp>
        <p:sp>
          <p:nvSpPr>
            <p:cNvPr id="451" name="îṩḷïḍe"/>
            <p:cNvSpPr/>
            <p:nvPr/>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p>
          </p:txBody>
        </p:sp>
        <p:sp>
          <p:nvSpPr>
            <p:cNvPr id="452" name="íṣḷidé"/>
            <p:cNvSpPr/>
            <p:nvPr/>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p>
          </p:txBody>
        </p:sp>
        <p:sp>
          <p:nvSpPr>
            <p:cNvPr id="453" name="íšļiḓé"/>
            <p:cNvSpPr/>
            <p:nvPr/>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p>
          </p:txBody>
        </p:sp>
        <p:sp>
          <p:nvSpPr>
            <p:cNvPr id="454" name="îṩľiḍé"/>
            <p:cNvSpPr/>
            <p:nvPr/>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455" name="îŝľiďê"/>
            <p:cNvSpPr/>
            <p:nvPr/>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456" name="îṩļídê"/>
            <p:cNvSpPr/>
            <p:nvPr/>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457" name="iSḻîdé"/>
            <p:cNvSpPr/>
            <p:nvPr/>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p>
          </p:txBody>
        </p:sp>
        <p:sp>
          <p:nvSpPr>
            <p:cNvPr id="458" name="îşḷïḓé"/>
            <p:cNvSpPr/>
            <p:nvPr/>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p>
          </p:txBody>
        </p:sp>
        <p:sp>
          <p:nvSpPr>
            <p:cNvPr id="459" name="íšḷiḓe"/>
            <p:cNvSpPr/>
            <p:nvPr/>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p>
          </p:txBody>
        </p:sp>
        <p:sp>
          <p:nvSpPr>
            <p:cNvPr id="460" name="îṣ1iḋê"/>
            <p:cNvSpPr/>
            <p:nvPr/>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p>
          </p:txBody>
        </p:sp>
        <p:sp>
          <p:nvSpPr>
            <p:cNvPr id="461" name="îSļïḑé"/>
            <p:cNvSpPr/>
            <p:nvPr/>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p>
          </p:txBody>
        </p:sp>
        <p:sp>
          <p:nvSpPr>
            <p:cNvPr id="462" name="išḷîďé"/>
            <p:cNvSpPr/>
            <p:nvPr/>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p>
          </p:txBody>
        </p:sp>
        <p:sp>
          <p:nvSpPr>
            <p:cNvPr id="463" name="îšľïḍè"/>
            <p:cNvSpPr/>
            <p:nvPr/>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p>
          </p:txBody>
        </p:sp>
        <p:sp>
          <p:nvSpPr>
            <p:cNvPr id="464" name="ïṧḻïḓe"/>
            <p:cNvSpPr/>
            <p:nvPr/>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p>
          </p:txBody>
        </p:sp>
        <p:sp>
          <p:nvSpPr>
            <p:cNvPr id="465" name="ïṥḷíḓè"/>
            <p:cNvSpPr/>
            <p:nvPr/>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p>
          </p:txBody>
        </p:sp>
        <p:sp>
          <p:nvSpPr>
            <p:cNvPr id="466" name="ï$ḻiďe"/>
            <p:cNvSpPr/>
            <p:nvPr/>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p>
          </p:txBody>
        </p:sp>
        <p:sp>
          <p:nvSpPr>
            <p:cNvPr id="467" name="ïṧľiḓê"/>
            <p:cNvSpPr/>
            <p:nvPr/>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p>
          </p:txBody>
        </p:sp>
        <p:sp>
          <p:nvSpPr>
            <p:cNvPr id="468" name="îşḻiḑê"/>
            <p:cNvSpPr/>
            <p:nvPr/>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p>
          </p:txBody>
        </p:sp>
        <p:sp>
          <p:nvSpPr>
            <p:cNvPr id="469" name="ïŝlîdè"/>
            <p:cNvSpPr/>
            <p:nvPr/>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p>
          </p:txBody>
        </p:sp>
        <p:sp>
          <p:nvSpPr>
            <p:cNvPr id="470" name="ïšlíďê"/>
            <p:cNvSpPr/>
            <p:nvPr/>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p>
          </p:txBody>
        </p:sp>
        <p:sp>
          <p:nvSpPr>
            <p:cNvPr id="471" name="ïṧ1íḑé"/>
            <p:cNvSpPr/>
            <p:nvPr/>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p>
          </p:txBody>
        </p:sp>
        <p:sp>
          <p:nvSpPr>
            <p:cNvPr id="472" name="ïṩḻídé"/>
            <p:cNvSpPr/>
            <p:nvPr/>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p>
          </p:txBody>
        </p:sp>
        <p:sp>
          <p:nvSpPr>
            <p:cNvPr id="473" name="ïṧ1idê"/>
            <p:cNvSpPr/>
            <p:nvPr/>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p>
          </p:txBody>
        </p:sp>
        <p:sp>
          <p:nvSpPr>
            <p:cNvPr id="474" name="iš1ïḑe"/>
            <p:cNvSpPr/>
            <p:nvPr/>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p>
          </p:txBody>
        </p:sp>
        <p:sp>
          <p:nvSpPr>
            <p:cNvPr id="475" name="iṡ1íḋe"/>
            <p:cNvSpPr/>
            <p:nvPr/>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p>
          </p:txBody>
        </p:sp>
        <p:sp>
          <p:nvSpPr>
            <p:cNvPr id="476" name="îṡḻîdê"/>
            <p:cNvSpPr/>
            <p:nvPr/>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477" name="îśľiḋe"/>
            <p:cNvSpPr/>
            <p:nvPr/>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p>
          </p:txBody>
        </p:sp>
        <p:sp>
          <p:nvSpPr>
            <p:cNvPr id="478" name="ïṩļîḑè"/>
            <p:cNvSpPr/>
            <p:nvPr/>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p>
          </p:txBody>
        </p:sp>
        <p:sp>
          <p:nvSpPr>
            <p:cNvPr id="479" name="íṧḷíḋe"/>
            <p:cNvSpPr/>
            <p:nvPr/>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0" name="ïşliḋe"/>
            <p:cNvSpPr/>
            <p:nvPr/>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1" name="îṡlïḑé"/>
            <p:cNvSpPr/>
            <p:nvPr/>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2" name="îṩḷiḍê"/>
            <p:cNvSpPr/>
            <p:nvPr/>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p>
          </p:txBody>
        </p:sp>
        <p:sp>
          <p:nvSpPr>
            <p:cNvPr id="483" name="íSļide"/>
            <p:cNvSpPr/>
            <p:nvPr/>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p>
          </p:txBody>
        </p:sp>
        <p:sp>
          <p:nvSpPr>
            <p:cNvPr id="484" name="íṩḷîḋé"/>
            <p:cNvSpPr/>
            <p:nvPr/>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p>
          </p:txBody>
        </p:sp>
        <p:sp>
          <p:nvSpPr>
            <p:cNvPr id="485" name="í$1ïḑe"/>
            <p:cNvSpPr/>
            <p:nvPr/>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486" name="îṣḻiḍê"/>
            <p:cNvSpPr/>
            <p:nvPr/>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p>
          </p:txBody>
        </p:sp>
        <p:sp>
          <p:nvSpPr>
            <p:cNvPr id="487" name="ïşḷïďe"/>
            <p:cNvSpPr/>
            <p:nvPr/>
          </p:nvSpPr>
          <p:spPr bwMode="auto">
            <a:xfrm>
              <a:off x="5763207" y="2810191"/>
              <a:ext cx="115721" cy="80233"/>
            </a:xfrm>
            <a:prstGeom prst="ellipse">
              <a:avLst/>
            </a:prstGeom>
            <a:grpFill/>
            <a:ln>
              <a:noFill/>
            </a:ln>
          </p:spPr>
          <p:txBody>
            <a:bodyPr anchor="ctr"/>
            <a:lstStyle/>
            <a:p>
              <a:pPr algn="ctr"/>
            </a:p>
          </p:txBody>
        </p:sp>
        <p:sp>
          <p:nvSpPr>
            <p:cNvPr id="488" name="îsľïďe"/>
            <p:cNvSpPr/>
            <p:nvPr/>
          </p:nvSpPr>
          <p:spPr bwMode="auto">
            <a:xfrm>
              <a:off x="5905159" y="2810191"/>
              <a:ext cx="115721" cy="80233"/>
            </a:xfrm>
            <a:prstGeom prst="ellipse">
              <a:avLst/>
            </a:prstGeom>
            <a:grpFill/>
            <a:ln>
              <a:noFill/>
            </a:ln>
          </p:spPr>
          <p:txBody>
            <a:bodyPr anchor="ctr"/>
            <a:lstStyle/>
            <a:p>
              <a:pPr algn="ctr"/>
            </a:p>
          </p:txBody>
        </p:sp>
        <p:sp>
          <p:nvSpPr>
            <p:cNvPr id="489" name="íšḻiḓê"/>
            <p:cNvSpPr/>
            <p:nvPr/>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p>
          </p:txBody>
        </p:sp>
        <p:sp>
          <p:nvSpPr>
            <p:cNvPr id="490" name="íSlîḑè"/>
            <p:cNvSpPr/>
            <p:nvPr/>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491" name="îṧḷîḍé"/>
            <p:cNvSpPr/>
            <p:nvPr/>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492" name="ïśļïḋe"/>
            <p:cNvSpPr/>
            <p:nvPr/>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p>
          </p:txBody>
        </p:sp>
        <p:sp>
          <p:nvSpPr>
            <p:cNvPr id="493" name="iṩľîde"/>
            <p:cNvSpPr/>
            <p:nvPr/>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494" name="iślïḑê"/>
            <p:cNvSpPr/>
            <p:nvPr/>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495" name="íṩḻiḓè"/>
            <p:cNvSpPr/>
            <p:nvPr/>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496" name="î$líḍe"/>
            <p:cNvSpPr/>
            <p:nvPr/>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p>
          </p:txBody>
        </p:sp>
        <p:sp>
          <p:nvSpPr>
            <p:cNvPr id="497" name="íSļîdé"/>
            <p:cNvSpPr/>
            <p:nvPr/>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p>
          </p:txBody>
        </p:sp>
        <p:sp>
          <p:nvSpPr>
            <p:cNvPr id="498" name="îṥļîdè"/>
            <p:cNvSpPr/>
            <p:nvPr/>
          </p:nvSpPr>
          <p:spPr bwMode="auto">
            <a:xfrm>
              <a:off x="5616628" y="2907397"/>
              <a:ext cx="117264" cy="84863"/>
            </a:xfrm>
            <a:prstGeom prst="ellipse">
              <a:avLst/>
            </a:prstGeom>
            <a:grpFill/>
            <a:ln>
              <a:noFill/>
            </a:ln>
          </p:spPr>
          <p:txBody>
            <a:bodyPr anchor="ctr"/>
            <a:lstStyle/>
            <a:p>
              <a:pPr algn="ctr"/>
            </a:p>
          </p:txBody>
        </p:sp>
        <p:sp>
          <p:nvSpPr>
            <p:cNvPr id="499" name="íšḻiḍè"/>
            <p:cNvSpPr/>
            <p:nvPr/>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00" name="iŝlïḋe"/>
            <p:cNvSpPr/>
            <p:nvPr/>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01" name="îŝļidê"/>
            <p:cNvSpPr/>
            <p:nvPr/>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p>
          </p:txBody>
        </p:sp>
        <p:sp>
          <p:nvSpPr>
            <p:cNvPr id="502" name="ïṧḻíde"/>
            <p:cNvSpPr/>
            <p:nvPr/>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p>
          </p:txBody>
        </p:sp>
        <p:sp>
          <p:nvSpPr>
            <p:cNvPr id="503" name="íṩlîḋê"/>
            <p:cNvSpPr/>
            <p:nvPr/>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p>
          </p:txBody>
        </p:sp>
        <p:sp>
          <p:nvSpPr>
            <p:cNvPr id="504" name="iṥľîḓê"/>
            <p:cNvSpPr/>
            <p:nvPr/>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p>
          </p:txBody>
        </p:sp>
        <p:sp>
          <p:nvSpPr>
            <p:cNvPr id="505" name="îṥḷïḋê"/>
            <p:cNvSpPr/>
            <p:nvPr/>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506" name="ïṩḷîďè"/>
            <p:cNvSpPr/>
            <p:nvPr/>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507" name="iṥľîḓè"/>
            <p:cNvSpPr/>
            <p:nvPr/>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508" name="íSḷïḑe"/>
            <p:cNvSpPr/>
            <p:nvPr/>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509" name="iṣľíḓé"/>
            <p:cNvSpPr/>
            <p:nvPr/>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p>
          </p:txBody>
        </p:sp>
        <p:sp>
          <p:nvSpPr>
            <p:cNvPr id="510" name="îSḻîḑé"/>
            <p:cNvSpPr/>
            <p:nvPr/>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511" name="íşļiḍé"/>
            <p:cNvSpPr/>
            <p:nvPr/>
          </p:nvSpPr>
          <p:spPr bwMode="auto">
            <a:xfrm>
              <a:off x="5758579" y="3010774"/>
              <a:ext cx="120350" cy="83319"/>
            </a:xfrm>
            <a:prstGeom prst="ellipse">
              <a:avLst/>
            </a:prstGeom>
            <a:grpFill/>
            <a:ln>
              <a:noFill/>
            </a:ln>
          </p:spPr>
          <p:txBody>
            <a:bodyPr anchor="ctr"/>
            <a:lstStyle/>
            <a:p>
              <a:pPr algn="ctr"/>
            </a:p>
          </p:txBody>
        </p:sp>
        <p:sp>
          <p:nvSpPr>
            <p:cNvPr id="512" name="íšľïḋé"/>
            <p:cNvSpPr/>
            <p:nvPr/>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p>
          </p:txBody>
        </p:sp>
        <p:sp>
          <p:nvSpPr>
            <p:cNvPr id="513" name="îṥḷiḍé"/>
            <p:cNvSpPr/>
            <p:nvPr/>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14" name="iṣḻîďé"/>
            <p:cNvSpPr/>
            <p:nvPr/>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515" name="íṥļïďê"/>
            <p:cNvSpPr/>
            <p:nvPr/>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516" name="íṩḻïḍê"/>
            <p:cNvSpPr/>
            <p:nvPr/>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517" name="ïsḷiḑê"/>
            <p:cNvSpPr/>
            <p:nvPr/>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18" name="îsľîḓè"/>
            <p:cNvSpPr/>
            <p:nvPr/>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19" name="ïṣļiḓe"/>
            <p:cNvSpPr/>
            <p:nvPr/>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20" name="îṣ1ïďê"/>
            <p:cNvSpPr/>
            <p:nvPr/>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521" name="ïṡḻîḍê"/>
            <p:cNvSpPr/>
            <p:nvPr/>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p>
          </p:txBody>
        </p:sp>
        <p:sp>
          <p:nvSpPr>
            <p:cNvPr id="522" name="ïŝ1ïḋè"/>
            <p:cNvSpPr/>
            <p:nvPr/>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523" name="iš1idé"/>
            <p:cNvSpPr/>
            <p:nvPr/>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524" name="iṥḷídè"/>
            <p:cNvSpPr/>
            <p:nvPr/>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525" name="í$ḷïḋê"/>
            <p:cNvSpPr/>
            <p:nvPr/>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526" name="îṧlïḋe"/>
            <p:cNvSpPr/>
            <p:nvPr/>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527" name="ïSḷîďe"/>
            <p:cNvSpPr/>
            <p:nvPr/>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528" name="işlíḋê"/>
            <p:cNvSpPr/>
            <p:nvPr/>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p>
          </p:txBody>
        </p:sp>
        <p:sp>
          <p:nvSpPr>
            <p:cNvPr id="529" name="ïṥļíḓè"/>
            <p:cNvSpPr/>
            <p:nvPr/>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530" name="iṣlîḋè"/>
            <p:cNvSpPr/>
            <p:nvPr/>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p>
          </p:txBody>
        </p:sp>
        <p:sp>
          <p:nvSpPr>
            <p:cNvPr id="531" name="işľíḋè"/>
            <p:cNvSpPr/>
            <p:nvPr/>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p>
          </p:txBody>
        </p:sp>
        <p:sp>
          <p:nvSpPr>
            <p:cNvPr id="532" name="i$ḷïḋê"/>
            <p:cNvSpPr/>
            <p:nvPr/>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p>
          </p:txBody>
        </p:sp>
        <p:sp>
          <p:nvSpPr>
            <p:cNvPr id="533" name="iŝḷîḋe"/>
            <p:cNvSpPr/>
            <p:nvPr/>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p>
          </p:txBody>
        </p:sp>
        <p:sp>
          <p:nvSpPr>
            <p:cNvPr id="534" name="işḻïďé"/>
            <p:cNvSpPr/>
            <p:nvPr/>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p>
          </p:txBody>
        </p:sp>
        <p:sp>
          <p:nvSpPr>
            <p:cNvPr id="535" name="íṡ1iḓé"/>
            <p:cNvSpPr/>
            <p:nvPr/>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p>
          </p:txBody>
        </p:sp>
        <p:sp>
          <p:nvSpPr>
            <p:cNvPr id="536" name="ï$ḻíḑê"/>
            <p:cNvSpPr/>
            <p:nvPr/>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p>
          </p:txBody>
        </p:sp>
        <p:sp>
          <p:nvSpPr>
            <p:cNvPr id="537" name="îšḷïḍê"/>
            <p:cNvSpPr/>
            <p:nvPr/>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p>
          </p:txBody>
        </p:sp>
        <p:sp>
          <p:nvSpPr>
            <p:cNvPr id="538" name="iSlîḍe"/>
            <p:cNvSpPr/>
            <p:nvPr/>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p>
          </p:txBody>
        </p:sp>
        <p:sp>
          <p:nvSpPr>
            <p:cNvPr id="539" name="îṩľíḑè"/>
            <p:cNvSpPr/>
            <p:nvPr/>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p>
          </p:txBody>
        </p:sp>
        <p:sp>
          <p:nvSpPr>
            <p:cNvPr id="540" name="íS1ïdê"/>
            <p:cNvSpPr/>
            <p:nvPr/>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p>
          </p:txBody>
        </p:sp>
        <p:sp>
          <p:nvSpPr>
            <p:cNvPr id="541" name="íSļiďe"/>
            <p:cNvSpPr/>
            <p:nvPr/>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p>
          </p:txBody>
        </p:sp>
        <p:sp>
          <p:nvSpPr>
            <p:cNvPr id="542" name="iṣ1ïďè"/>
            <p:cNvSpPr/>
            <p:nvPr/>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p>
          </p:txBody>
        </p:sp>
        <p:sp>
          <p:nvSpPr>
            <p:cNvPr id="543" name="í$ļïďê"/>
            <p:cNvSpPr/>
            <p:nvPr/>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p>
          </p:txBody>
        </p:sp>
        <p:sp>
          <p:nvSpPr>
            <p:cNvPr id="544" name="îŝ1ïḍe"/>
            <p:cNvSpPr/>
            <p:nvPr/>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p>
          </p:txBody>
        </p:sp>
        <p:sp>
          <p:nvSpPr>
            <p:cNvPr id="545" name="iṣļîdè"/>
            <p:cNvSpPr/>
            <p:nvPr/>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p>
          </p:txBody>
        </p:sp>
        <p:sp>
          <p:nvSpPr>
            <p:cNvPr id="546" name="ïšḻïḍè"/>
            <p:cNvSpPr/>
            <p:nvPr/>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p>
          </p:txBody>
        </p:sp>
        <p:sp>
          <p:nvSpPr>
            <p:cNvPr id="547" name="íS1iḍé"/>
            <p:cNvSpPr/>
            <p:nvPr/>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p>
          </p:txBody>
        </p:sp>
        <p:sp>
          <p:nvSpPr>
            <p:cNvPr id="548" name="ïṧļiďè"/>
            <p:cNvSpPr/>
            <p:nvPr/>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p>
          </p:txBody>
        </p:sp>
        <p:sp>
          <p:nvSpPr>
            <p:cNvPr id="549" name="îṡliḋè"/>
            <p:cNvSpPr/>
            <p:nvPr/>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p>
          </p:txBody>
        </p:sp>
        <p:sp>
          <p:nvSpPr>
            <p:cNvPr id="550" name="ïṩļíďè"/>
            <p:cNvSpPr/>
            <p:nvPr/>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p>
          </p:txBody>
        </p:sp>
        <p:sp>
          <p:nvSpPr>
            <p:cNvPr id="551" name="îṣļîďe"/>
            <p:cNvSpPr/>
            <p:nvPr/>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p>
          </p:txBody>
        </p:sp>
        <p:sp>
          <p:nvSpPr>
            <p:cNvPr id="552" name="íṩḷiḑê"/>
            <p:cNvSpPr/>
            <p:nvPr/>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p>
          </p:txBody>
        </p:sp>
        <p:sp>
          <p:nvSpPr>
            <p:cNvPr id="553" name="ïṩlídé"/>
            <p:cNvSpPr/>
            <p:nvPr/>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p>
          </p:txBody>
        </p:sp>
        <p:sp>
          <p:nvSpPr>
            <p:cNvPr id="554" name="îşļiḓé"/>
            <p:cNvSpPr/>
            <p:nvPr/>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p>
          </p:txBody>
        </p:sp>
        <p:sp>
          <p:nvSpPr>
            <p:cNvPr id="555" name="íṧļîdê"/>
            <p:cNvSpPr/>
            <p:nvPr/>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p>
          </p:txBody>
        </p:sp>
        <p:sp>
          <p:nvSpPr>
            <p:cNvPr id="556" name="î$1îḑê"/>
            <p:cNvSpPr/>
            <p:nvPr/>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p>
          </p:txBody>
        </p:sp>
        <p:sp>
          <p:nvSpPr>
            <p:cNvPr id="557" name="i$ḻíḓé"/>
            <p:cNvSpPr/>
            <p:nvPr/>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p>
          </p:txBody>
        </p:sp>
        <p:sp>
          <p:nvSpPr>
            <p:cNvPr id="558" name="îṥḷíḋê"/>
            <p:cNvSpPr/>
            <p:nvPr/>
          </p:nvSpPr>
          <p:spPr bwMode="auto">
            <a:xfrm>
              <a:off x="5755493" y="3445885"/>
              <a:ext cx="128065" cy="94120"/>
            </a:xfrm>
            <a:prstGeom prst="ellipse">
              <a:avLst/>
            </a:prstGeom>
            <a:grpFill/>
            <a:ln>
              <a:noFill/>
            </a:ln>
          </p:spPr>
          <p:txBody>
            <a:bodyPr anchor="ctr"/>
            <a:lstStyle/>
            <a:p>
              <a:pPr algn="ctr"/>
            </a:p>
          </p:txBody>
        </p:sp>
        <p:sp>
          <p:nvSpPr>
            <p:cNvPr id="559" name="ïṩľiḑe"/>
            <p:cNvSpPr/>
            <p:nvPr/>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p>
          </p:txBody>
        </p:sp>
        <p:sp>
          <p:nvSpPr>
            <p:cNvPr id="560" name="ïśḻïḍe"/>
            <p:cNvSpPr/>
            <p:nvPr/>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p>
          </p:txBody>
        </p:sp>
        <p:sp>
          <p:nvSpPr>
            <p:cNvPr id="561" name="íŝľïḍè"/>
            <p:cNvSpPr/>
            <p:nvPr/>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p>
          </p:txBody>
        </p:sp>
        <p:sp>
          <p:nvSpPr>
            <p:cNvPr id="562" name="ï$ḻîḋê"/>
            <p:cNvSpPr/>
            <p:nvPr/>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p>
          </p:txBody>
        </p:sp>
        <p:sp>
          <p:nvSpPr>
            <p:cNvPr id="563" name="î$1iḑè"/>
            <p:cNvSpPr/>
            <p:nvPr/>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p>
          </p:txBody>
        </p:sp>
        <p:sp>
          <p:nvSpPr>
            <p:cNvPr id="564" name="ïšļïḓé"/>
            <p:cNvSpPr/>
            <p:nvPr/>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p>
          </p:txBody>
        </p:sp>
        <p:sp>
          <p:nvSpPr>
            <p:cNvPr id="565" name="íŝļïďe"/>
            <p:cNvSpPr/>
            <p:nvPr/>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p>
          </p:txBody>
        </p:sp>
        <p:sp>
          <p:nvSpPr>
            <p:cNvPr id="566" name="ïsḷïde"/>
            <p:cNvSpPr/>
            <p:nvPr/>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p>
          </p:txBody>
        </p:sp>
        <p:sp>
          <p:nvSpPr>
            <p:cNvPr id="567" name="iŝ1íḑê"/>
            <p:cNvSpPr/>
            <p:nvPr/>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p>
          </p:txBody>
        </p:sp>
        <p:sp>
          <p:nvSpPr>
            <p:cNvPr id="568" name="ïṡlîḍè"/>
            <p:cNvSpPr/>
            <p:nvPr/>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p>
          </p:txBody>
        </p:sp>
        <p:sp>
          <p:nvSpPr>
            <p:cNvPr id="569" name="ïŝḷîdé"/>
            <p:cNvSpPr/>
            <p:nvPr/>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p>
          </p:txBody>
        </p:sp>
        <p:sp>
          <p:nvSpPr>
            <p:cNvPr id="570" name="îṥ1ïḍê"/>
            <p:cNvSpPr/>
            <p:nvPr/>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p>
          </p:txBody>
        </p:sp>
        <p:sp>
          <p:nvSpPr>
            <p:cNvPr id="571" name="îṧľîḑe"/>
            <p:cNvSpPr/>
            <p:nvPr/>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p>
          </p:txBody>
        </p:sp>
        <p:sp>
          <p:nvSpPr>
            <p:cNvPr id="572" name="iṧ1iďê"/>
            <p:cNvSpPr/>
            <p:nvPr/>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p>
          </p:txBody>
        </p:sp>
        <p:sp>
          <p:nvSpPr>
            <p:cNvPr id="573" name="iṡlîďè"/>
            <p:cNvSpPr/>
            <p:nvPr/>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p>
          </p:txBody>
        </p:sp>
        <p:sp>
          <p:nvSpPr>
            <p:cNvPr id="574" name="íṧľíde"/>
            <p:cNvSpPr/>
            <p:nvPr/>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p>
          </p:txBody>
        </p:sp>
        <p:sp>
          <p:nvSpPr>
            <p:cNvPr id="575" name="íṡ1íḋé"/>
            <p:cNvSpPr/>
            <p:nvPr/>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p>
          </p:txBody>
        </p:sp>
        <p:sp>
          <p:nvSpPr>
            <p:cNvPr id="576" name="i$líḓê"/>
            <p:cNvSpPr/>
            <p:nvPr/>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p>
          </p:txBody>
        </p:sp>
        <p:sp>
          <p:nvSpPr>
            <p:cNvPr id="577" name="î$ḷïḑé"/>
            <p:cNvSpPr/>
            <p:nvPr/>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p>
          </p:txBody>
        </p:sp>
        <p:sp>
          <p:nvSpPr>
            <p:cNvPr id="578" name="išḷïḍé"/>
            <p:cNvSpPr/>
            <p:nvPr/>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p>
          </p:txBody>
        </p:sp>
        <p:sp>
          <p:nvSpPr>
            <p:cNvPr id="579" name="işļîḑé"/>
            <p:cNvSpPr/>
            <p:nvPr/>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p>
          </p:txBody>
        </p:sp>
        <p:sp>
          <p:nvSpPr>
            <p:cNvPr id="580" name="íṡḷiḋè"/>
            <p:cNvSpPr/>
            <p:nvPr/>
          </p:nvSpPr>
          <p:spPr bwMode="auto">
            <a:xfrm>
              <a:off x="5915960" y="3803849"/>
              <a:ext cx="131151" cy="101834"/>
            </a:xfrm>
            <a:prstGeom prst="ellipse">
              <a:avLst/>
            </a:prstGeom>
            <a:grpFill/>
            <a:ln>
              <a:noFill/>
            </a:ln>
          </p:spPr>
          <p:txBody>
            <a:bodyPr anchor="ctr"/>
            <a:lstStyle/>
            <a:p>
              <a:pPr algn="ctr"/>
            </a:p>
          </p:txBody>
        </p:sp>
        <p:sp>
          <p:nvSpPr>
            <p:cNvPr id="581" name="iŝļîďé"/>
            <p:cNvSpPr/>
            <p:nvPr/>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p>
          </p:txBody>
        </p:sp>
        <p:sp>
          <p:nvSpPr>
            <p:cNvPr id="582" name="îşļîďê"/>
            <p:cNvSpPr/>
            <p:nvPr/>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p>
          </p:txBody>
        </p:sp>
        <p:sp>
          <p:nvSpPr>
            <p:cNvPr id="583" name="îṡlïde"/>
            <p:cNvSpPr/>
            <p:nvPr/>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p>
          </p:txBody>
        </p:sp>
        <p:sp>
          <p:nvSpPr>
            <p:cNvPr id="584" name="íṣ1ídè"/>
            <p:cNvSpPr/>
            <p:nvPr/>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p>
          </p:txBody>
        </p:sp>
        <p:sp>
          <p:nvSpPr>
            <p:cNvPr id="585" name="iśḷîďè"/>
            <p:cNvSpPr/>
            <p:nvPr/>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p>
          </p:txBody>
        </p:sp>
        <p:sp>
          <p:nvSpPr>
            <p:cNvPr id="586" name="iṩ1íďê"/>
            <p:cNvSpPr/>
            <p:nvPr/>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p>
          </p:txBody>
        </p:sp>
        <p:sp>
          <p:nvSpPr>
            <p:cNvPr id="587" name="iŝḻiḋè"/>
            <p:cNvSpPr/>
            <p:nvPr/>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p>
          </p:txBody>
        </p:sp>
        <p:sp>
          <p:nvSpPr>
            <p:cNvPr id="588" name="iŝḻïḋe"/>
            <p:cNvSpPr/>
            <p:nvPr/>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p>
          </p:txBody>
        </p:sp>
        <p:sp>
          <p:nvSpPr>
            <p:cNvPr id="589" name="íṣlîḓé"/>
            <p:cNvSpPr/>
            <p:nvPr/>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p>
          </p:txBody>
        </p:sp>
        <p:sp>
          <p:nvSpPr>
            <p:cNvPr id="590" name="íṥḷiḍé"/>
            <p:cNvSpPr/>
            <p:nvPr/>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p>
          </p:txBody>
        </p:sp>
        <p:sp>
          <p:nvSpPr>
            <p:cNvPr id="591" name="is1iḑè"/>
            <p:cNvSpPr/>
            <p:nvPr/>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p>
          </p:txBody>
        </p:sp>
        <p:sp>
          <p:nvSpPr>
            <p:cNvPr id="592" name="ïSľíḓè"/>
            <p:cNvSpPr/>
            <p:nvPr/>
          </p:nvSpPr>
          <p:spPr bwMode="auto">
            <a:xfrm>
              <a:off x="5750864" y="4063064"/>
              <a:ext cx="135779" cy="109550"/>
            </a:xfrm>
            <a:prstGeom prst="ellipse">
              <a:avLst/>
            </a:prstGeom>
            <a:grpFill/>
            <a:ln>
              <a:noFill/>
            </a:ln>
          </p:spPr>
          <p:txBody>
            <a:bodyPr anchor="ctr"/>
            <a:lstStyle/>
            <a:p>
              <a:pPr algn="ctr"/>
            </a:p>
          </p:txBody>
        </p:sp>
        <p:sp>
          <p:nvSpPr>
            <p:cNvPr id="593" name="íṩľîḍè"/>
            <p:cNvSpPr/>
            <p:nvPr/>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p>
          </p:txBody>
        </p:sp>
        <p:sp>
          <p:nvSpPr>
            <p:cNvPr id="594" name="íś1ídè"/>
            <p:cNvSpPr/>
            <p:nvPr/>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p>
          </p:txBody>
        </p:sp>
        <p:sp>
          <p:nvSpPr>
            <p:cNvPr id="595" name="iṩḷíḋè"/>
            <p:cNvSpPr/>
            <p:nvPr/>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p>
          </p:txBody>
        </p:sp>
        <p:sp>
          <p:nvSpPr>
            <p:cNvPr id="596" name="išlíde"/>
            <p:cNvSpPr/>
            <p:nvPr/>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p>
          </p:txBody>
        </p:sp>
        <p:sp>
          <p:nvSpPr>
            <p:cNvPr id="597" name="išlíde"/>
            <p:cNvSpPr/>
            <p:nvPr/>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p>
          </p:txBody>
        </p:sp>
        <p:sp>
          <p:nvSpPr>
            <p:cNvPr id="598" name="ïsḻïḋe"/>
            <p:cNvSpPr/>
            <p:nvPr/>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p>
          </p:txBody>
        </p:sp>
        <p:sp>
          <p:nvSpPr>
            <p:cNvPr id="599" name="iṣ1íďe"/>
            <p:cNvSpPr/>
            <p:nvPr/>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p>
          </p:txBody>
        </p:sp>
        <p:sp>
          <p:nvSpPr>
            <p:cNvPr id="600" name="îṥḻïde"/>
            <p:cNvSpPr/>
            <p:nvPr/>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p>
          </p:txBody>
        </p:sp>
        <p:sp>
          <p:nvSpPr>
            <p:cNvPr id="601" name="îṡḻiḋê"/>
            <p:cNvSpPr/>
            <p:nvPr/>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p>
          </p:txBody>
        </p:sp>
        <p:sp>
          <p:nvSpPr>
            <p:cNvPr id="602" name="iSľíḍé"/>
            <p:cNvSpPr/>
            <p:nvPr/>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p>
          </p:txBody>
        </p:sp>
        <p:sp>
          <p:nvSpPr>
            <p:cNvPr id="603" name="iṧlïḓe"/>
            <p:cNvSpPr/>
            <p:nvPr/>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p>
          </p:txBody>
        </p:sp>
        <p:sp>
          <p:nvSpPr>
            <p:cNvPr id="604" name="ís1îḋé"/>
            <p:cNvSpPr/>
            <p:nvPr/>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p>
          </p:txBody>
        </p:sp>
        <p:sp>
          <p:nvSpPr>
            <p:cNvPr id="605" name="iŝḻiḓè"/>
            <p:cNvSpPr/>
            <p:nvPr/>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p>
          </p:txBody>
        </p:sp>
        <p:sp>
          <p:nvSpPr>
            <p:cNvPr id="606" name="iśḷiḓé"/>
            <p:cNvSpPr/>
            <p:nvPr/>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p>
          </p:txBody>
        </p:sp>
        <p:sp>
          <p:nvSpPr>
            <p:cNvPr id="607" name="íŝḻïḓe"/>
            <p:cNvSpPr/>
            <p:nvPr/>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p>
          </p:txBody>
        </p:sp>
        <p:sp>
          <p:nvSpPr>
            <p:cNvPr id="608" name="ïṧlîḍe"/>
            <p:cNvSpPr/>
            <p:nvPr/>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p>
          </p:txBody>
        </p:sp>
        <p:sp>
          <p:nvSpPr>
            <p:cNvPr id="609" name="ïṣḷïḍê"/>
            <p:cNvSpPr/>
            <p:nvPr/>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p>
          </p:txBody>
        </p:sp>
        <p:sp>
          <p:nvSpPr>
            <p:cNvPr id="610" name="ïslíďé"/>
            <p:cNvSpPr/>
            <p:nvPr/>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p>
          </p:txBody>
        </p:sp>
        <p:sp>
          <p:nvSpPr>
            <p:cNvPr id="611" name="ïslïḋe"/>
            <p:cNvSpPr/>
            <p:nvPr/>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p>
          </p:txBody>
        </p:sp>
        <p:sp>
          <p:nvSpPr>
            <p:cNvPr id="612" name="ïş1îḑe"/>
            <p:cNvSpPr/>
            <p:nvPr/>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p>
          </p:txBody>
        </p:sp>
        <p:sp>
          <p:nvSpPr>
            <p:cNvPr id="613" name="iṩľïḓè"/>
            <p:cNvSpPr/>
            <p:nvPr/>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p>
          </p:txBody>
        </p:sp>
        <p:sp>
          <p:nvSpPr>
            <p:cNvPr id="614" name="íŝlïde"/>
            <p:cNvSpPr/>
            <p:nvPr/>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p>
          </p:txBody>
        </p:sp>
        <p:sp>
          <p:nvSpPr>
            <p:cNvPr id="615" name="îsḻïḋé"/>
            <p:cNvSpPr/>
            <p:nvPr/>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p>
          </p:txBody>
        </p:sp>
        <p:sp>
          <p:nvSpPr>
            <p:cNvPr id="616" name="íşḻíďé"/>
            <p:cNvSpPr/>
            <p:nvPr/>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p>
          </p:txBody>
        </p:sp>
        <p:sp>
          <p:nvSpPr>
            <p:cNvPr id="617" name="ïšļiḓè"/>
            <p:cNvSpPr/>
            <p:nvPr/>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p>
          </p:txBody>
        </p:sp>
        <p:sp>
          <p:nvSpPr>
            <p:cNvPr id="618" name="iśḻïḓê"/>
            <p:cNvSpPr/>
            <p:nvPr/>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p>
          </p:txBody>
        </p:sp>
        <p:sp>
          <p:nvSpPr>
            <p:cNvPr id="619" name="îşlïďe"/>
            <p:cNvSpPr/>
            <p:nvPr/>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p>
          </p:txBody>
        </p:sp>
        <p:sp>
          <p:nvSpPr>
            <p:cNvPr id="620" name="iS1iḋe"/>
            <p:cNvSpPr/>
            <p:nvPr/>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p>
          </p:txBody>
        </p:sp>
        <p:sp>
          <p:nvSpPr>
            <p:cNvPr id="621" name="íşḷídé"/>
            <p:cNvSpPr/>
            <p:nvPr/>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p>
          </p:txBody>
        </p:sp>
        <p:sp>
          <p:nvSpPr>
            <p:cNvPr id="622" name="iṧļîďê"/>
            <p:cNvSpPr/>
            <p:nvPr/>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p>
          </p:txBody>
        </p:sp>
        <p:sp>
          <p:nvSpPr>
            <p:cNvPr id="623" name="ïśḻïďê"/>
            <p:cNvSpPr/>
            <p:nvPr/>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p>
          </p:txBody>
        </p:sp>
        <p:sp>
          <p:nvSpPr>
            <p:cNvPr id="624" name="išlïḋe"/>
            <p:cNvSpPr/>
            <p:nvPr/>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p>
          </p:txBody>
        </p:sp>
        <p:sp>
          <p:nvSpPr>
            <p:cNvPr id="625" name="íṣḻîdê"/>
            <p:cNvSpPr/>
            <p:nvPr/>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p>
          </p:txBody>
        </p:sp>
        <p:sp>
          <p:nvSpPr>
            <p:cNvPr id="626" name="îŝļíḓê"/>
            <p:cNvSpPr/>
            <p:nvPr/>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p>
          </p:txBody>
        </p:sp>
        <p:sp>
          <p:nvSpPr>
            <p:cNvPr id="627" name="îŝliḑê"/>
            <p:cNvSpPr/>
            <p:nvPr/>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p>
          </p:txBody>
        </p:sp>
        <p:sp>
          <p:nvSpPr>
            <p:cNvPr id="628" name="íš1íďé"/>
            <p:cNvSpPr/>
            <p:nvPr/>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p>
          </p:txBody>
        </p:sp>
        <p:sp>
          <p:nvSpPr>
            <p:cNvPr id="629" name="iślídè"/>
            <p:cNvSpPr/>
            <p:nvPr/>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p>
          </p:txBody>
        </p:sp>
        <p:sp>
          <p:nvSpPr>
            <p:cNvPr id="630" name="ïṡļíďè"/>
            <p:cNvSpPr/>
            <p:nvPr/>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p>
          </p:txBody>
        </p:sp>
        <p:sp>
          <p:nvSpPr>
            <p:cNvPr id="631" name="îṩḷîdè"/>
            <p:cNvSpPr/>
            <p:nvPr/>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p>
          </p:txBody>
        </p:sp>
        <p:sp>
          <p:nvSpPr>
            <p:cNvPr id="632" name="íṩľiḋe"/>
            <p:cNvSpPr/>
            <p:nvPr/>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p>
          </p:txBody>
        </p:sp>
        <p:sp>
          <p:nvSpPr>
            <p:cNvPr id="633" name="îşlíḍè"/>
            <p:cNvSpPr/>
            <p:nvPr/>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p>
          </p:txBody>
        </p:sp>
        <p:sp>
          <p:nvSpPr>
            <p:cNvPr id="634" name="iSḷíḍê"/>
            <p:cNvSpPr/>
            <p:nvPr/>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p>
          </p:txBody>
        </p:sp>
        <p:sp>
          <p:nvSpPr>
            <p:cNvPr id="635" name="îśḷiḍè"/>
            <p:cNvSpPr/>
            <p:nvPr/>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p>
          </p:txBody>
        </p:sp>
        <p:sp>
          <p:nvSpPr>
            <p:cNvPr id="636" name="i$ḷîḑe"/>
            <p:cNvSpPr/>
            <p:nvPr/>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p>
          </p:txBody>
        </p:sp>
        <p:sp>
          <p:nvSpPr>
            <p:cNvPr id="637" name="íṧḷîďè"/>
            <p:cNvSpPr/>
            <p:nvPr/>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p>
          </p:txBody>
        </p:sp>
        <p:sp>
          <p:nvSpPr>
            <p:cNvPr id="638" name="iS1iḓe"/>
            <p:cNvSpPr/>
            <p:nvPr/>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p>
          </p:txBody>
        </p:sp>
        <p:sp>
          <p:nvSpPr>
            <p:cNvPr id="639" name="íṣḻíḋê"/>
            <p:cNvSpPr/>
            <p:nvPr/>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p>
          </p:txBody>
        </p:sp>
        <p:sp>
          <p:nvSpPr>
            <p:cNvPr id="640" name="ïṡḻïďê"/>
            <p:cNvSpPr/>
            <p:nvPr/>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p>
          </p:txBody>
        </p:sp>
        <p:sp>
          <p:nvSpPr>
            <p:cNvPr id="641" name="îś1ide"/>
            <p:cNvSpPr/>
            <p:nvPr/>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p>
          </p:txBody>
        </p:sp>
        <p:sp>
          <p:nvSpPr>
            <p:cNvPr id="642" name="íṧľïďé"/>
            <p:cNvSpPr/>
            <p:nvPr/>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p>
          </p:txBody>
        </p:sp>
        <p:sp>
          <p:nvSpPr>
            <p:cNvPr id="643" name="îṩ1iḋè"/>
            <p:cNvSpPr/>
            <p:nvPr/>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p>
          </p:txBody>
        </p:sp>
        <p:sp>
          <p:nvSpPr>
            <p:cNvPr id="644" name="ïŝļîḓê"/>
            <p:cNvSpPr/>
            <p:nvPr/>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p>
          </p:txBody>
        </p:sp>
        <p:sp>
          <p:nvSpPr>
            <p:cNvPr id="645" name="îšḻïďe"/>
            <p:cNvSpPr/>
            <p:nvPr/>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p>
          </p:txBody>
        </p:sp>
        <p:sp>
          <p:nvSpPr>
            <p:cNvPr id="646" name="iṩḻïḋé"/>
            <p:cNvSpPr/>
            <p:nvPr/>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p>
          </p:txBody>
        </p:sp>
        <p:sp>
          <p:nvSpPr>
            <p:cNvPr id="647" name="ísḻiḑê"/>
            <p:cNvSpPr/>
            <p:nvPr/>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p>
          </p:txBody>
        </p:sp>
        <p:sp>
          <p:nvSpPr>
            <p:cNvPr id="648" name="îśļíḑê"/>
            <p:cNvSpPr/>
            <p:nvPr/>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p>
          </p:txBody>
        </p:sp>
        <p:sp>
          <p:nvSpPr>
            <p:cNvPr id="649" name="ïṣlíde"/>
            <p:cNvSpPr/>
            <p:nvPr/>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p>
          </p:txBody>
        </p:sp>
        <p:sp>
          <p:nvSpPr>
            <p:cNvPr id="650" name="íšļiḍe"/>
            <p:cNvSpPr/>
            <p:nvPr/>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p>
          </p:txBody>
        </p:sp>
        <p:sp>
          <p:nvSpPr>
            <p:cNvPr id="651" name="iṥḻíḓè"/>
            <p:cNvSpPr/>
            <p:nvPr/>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p>
          </p:txBody>
        </p:sp>
        <p:sp>
          <p:nvSpPr>
            <p:cNvPr id="652" name="îṧlíḓe"/>
            <p:cNvSpPr/>
            <p:nvPr/>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p>
          </p:txBody>
        </p:sp>
        <p:sp>
          <p:nvSpPr>
            <p:cNvPr id="653" name="íṧ1îďé"/>
            <p:cNvSpPr/>
            <p:nvPr/>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p>
          </p:txBody>
        </p:sp>
        <p:sp>
          <p:nvSpPr>
            <p:cNvPr id="654" name="i$liďè"/>
            <p:cNvSpPr/>
            <p:nvPr/>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p>
          </p:txBody>
        </p:sp>
        <p:sp>
          <p:nvSpPr>
            <p:cNvPr id="655" name="ïṧľïḑè"/>
            <p:cNvSpPr/>
            <p:nvPr/>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p>
          </p:txBody>
        </p:sp>
        <p:sp>
          <p:nvSpPr>
            <p:cNvPr id="656" name="i$ļïďe"/>
            <p:cNvSpPr/>
            <p:nvPr/>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p>
          </p:txBody>
        </p:sp>
        <p:sp>
          <p:nvSpPr>
            <p:cNvPr id="657" name="iṡļiḑê"/>
            <p:cNvSpPr/>
            <p:nvPr/>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p>
          </p:txBody>
        </p:sp>
        <p:sp>
          <p:nvSpPr>
            <p:cNvPr id="658" name="íṡḻidè"/>
            <p:cNvSpPr/>
            <p:nvPr/>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p>
          </p:txBody>
        </p:sp>
        <p:sp>
          <p:nvSpPr>
            <p:cNvPr id="659" name="iŝḻïde"/>
            <p:cNvSpPr/>
            <p:nvPr/>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p>
          </p:txBody>
        </p:sp>
        <p:sp>
          <p:nvSpPr>
            <p:cNvPr id="660" name="ïşļîḋê"/>
            <p:cNvSpPr/>
            <p:nvPr/>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p>
          </p:txBody>
        </p:sp>
        <p:sp>
          <p:nvSpPr>
            <p:cNvPr id="661" name="iṧ1iḍé"/>
            <p:cNvSpPr/>
            <p:nvPr/>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p>
          </p:txBody>
        </p:sp>
        <p:sp>
          <p:nvSpPr>
            <p:cNvPr id="662" name="íŝḻiḑé"/>
            <p:cNvSpPr/>
            <p:nvPr/>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p>
          </p:txBody>
        </p:sp>
        <p:sp>
          <p:nvSpPr>
            <p:cNvPr id="663" name="ïSļíḓé"/>
            <p:cNvSpPr/>
            <p:nvPr/>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p>
          </p:txBody>
        </p:sp>
        <p:sp>
          <p:nvSpPr>
            <p:cNvPr id="664" name="îṧḷiḓê"/>
            <p:cNvSpPr/>
            <p:nvPr/>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p>
          </p:txBody>
        </p:sp>
        <p:sp>
          <p:nvSpPr>
            <p:cNvPr id="665" name="íslíďê"/>
            <p:cNvSpPr/>
            <p:nvPr/>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p>
          </p:txBody>
        </p:sp>
        <p:sp>
          <p:nvSpPr>
            <p:cNvPr id="666" name="íṥ1îdê"/>
            <p:cNvSpPr/>
            <p:nvPr/>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p>
          </p:txBody>
        </p:sp>
        <p:sp>
          <p:nvSpPr>
            <p:cNvPr id="667" name="îṩḻíḓè"/>
            <p:cNvSpPr/>
            <p:nvPr/>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p>
          </p:txBody>
        </p:sp>
        <p:sp>
          <p:nvSpPr>
            <p:cNvPr id="668" name="íş1ídê"/>
            <p:cNvSpPr/>
            <p:nvPr/>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p>
          </p:txBody>
        </p:sp>
        <p:sp>
          <p:nvSpPr>
            <p:cNvPr id="669" name="îṩlïdè"/>
            <p:cNvSpPr/>
            <p:nvPr/>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p>
          </p:txBody>
        </p:sp>
        <p:sp>
          <p:nvSpPr>
            <p:cNvPr id="670" name="iş1iḑè"/>
            <p:cNvSpPr/>
            <p:nvPr/>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p>
          </p:txBody>
        </p:sp>
        <p:sp>
          <p:nvSpPr>
            <p:cNvPr id="671" name="íşḷïḑe"/>
            <p:cNvSpPr/>
            <p:nvPr/>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p>
          </p:txBody>
        </p:sp>
        <p:sp>
          <p:nvSpPr>
            <p:cNvPr id="672" name="îṡ1ïḓe"/>
            <p:cNvSpPr/>
            <p:nvPr/>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p>
          </p:txBody>
        </p:sp>
        <p:sp>
          <p:nvSpPr>
            <p:cNvPr id="673" name="î$ḻíḑê"/>
            <p:cNvSpPr/>
            <p:nvPr/>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p>
          </p:txBody>
        </p:sp>
        <p:sp>
          <p:nvSpPr>
            <p:cNvPr id="674" name="ïS1iḓè"/>
            <p:cNvSpPr/>
            <p:nvPr/>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p>
          </p:txBody>
        </p:sp>
        <p:sp>
          <p:nvSpPr>
            <p:cNvPr id="675" name="îṥľîḍe"/>
            <p:cNvSpPr/>
            <p:nvPr/>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p>
          </p:txBody>
        </p:sp>
        <p:sp>
          <p:nvSpPr>
            <p:cNvPr id="676" name="ïṩḻîďê"/>
            <p:cNvSpPr/>
            <p:nvPr/>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p>
          </p:txBody>
        </p:sp>
        <p:sp>
          <p:nvSpPr>
            <p:cNvPr id="677" name="íṣľiḓé"/>
            <p:cNvSpPr/>
            <p:nvPr/>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p>
          </p:txBody>
        </p:sp>
        <p:sp>
          <p:nvSpPr>
            <p:cNvPr id="678" name="ïšḷiḍê"/>
            <p:cNvSpPr/>
            <p:nvPr/>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p>
          </p:txBody>
        </p:sp>
        <p:sp>
          <p:nvSpPr>
            <p:cNvPr id="679" name="îṧľiḍé"/>
            <p:cNvSpPr/>
            <p:nvPr/>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p>
          </p:txBody>
        </p:sp>
        <p:sp>
          <p:nvSpPr>
            <p:cNvPr id="680" name="is1íḋe"/>
            <p:cNvSpPr/>
            <p:nvPr/>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p>
          </p:txBody>
        </p:sp>
        <p:sp>
          <p:nvSpPr>
            <p:cNvPr id="681" name="îşḻïďè"/>
            <p:cNvSpPr/>
            <p:nvPr/>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p>
          </p:txBody>
        </p:sp>
        <p:sp>
          <p:nvSpPr>
            <p:cNvPr id="682" name="íšliďe"/>
            <p:cNvSpPr/>
            <p:nvPr/>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p>
          </p:txBody>
        </p:sp>
        <p:sp>
          <p:nvSpPr>
            <p:cNvPr id="683" name="íŝlíḋê"/>
            <p:cNvSpPr/>
            <p:nvPr/>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p>
          </p:txBody>
        </p:sp>
        <p:sp>
          <p:nvSpPr>
            <p:cNvPr id="684" name="îṣlîdé"/>
            <p:cNvSpPr/>
            <p:nvPr/>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p>
          </p:txBody>
        </p:sp>
        <p:sp>
          <p:nvSpPr>
            <p:cNvPr id="685" name="îṥḻíḍê"/>
            <p:cNvSpPr/>
            <p:nvPr/>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p>
          </p:txBody>
        </p:sp>
        <p:sp>
          <p:nvSpPr>
            <p:cNvPr id="686" name="îsľíḑê"/>
            <p:cNvSpPr/>
            <p:nvPr/>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p>
          </p:txBody>
        </p:sp>
        <p:sp>
          <p:nvSpPr>
            <p:cNvPr id="687" name="îSḻíḓè"/>
            <p:cNvSpPr/>
            <p:nvPr/>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p>
          </p:txBody>
        </p:sp>
        <p:sp>
          <p:nvSpPr>
            <p:cNvPr id="688" name="îṡḷíḓê"/>
            <p:cNvSpPr/>
            <p:nvPr/>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p>
          </p:txBody>
        </p:sp>
        <p:sp>
          <p:nvSpPr>
            <p:cNvPr id="689" name="íšḻiḓé"/>
            <p:cNvSpPr/>
            <p:nvPr/>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p>
          </p:txBody>
        </p:sp>
        <p:sp>
          <p:nvSpPr>
            <p:cNvPr id="690" name="ïşḻíḋè"/>
            <p:cNvSpPr/>
            <p:nvPr/>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p>
          </p:txBody>
        </p:sp>
        <p:sp>
          <p:nvSpPr>
            <p:cNvPr id="691" name="ísľíḍê"/>
            <p:cNvSpPr/>
            <p:nvPr/>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p>
          </p:txBody>
        </p:sp>
        <p:sp>
          <p:nvSpPr>
            <p:cNvPr id="692" name="îS1íḑè"/>
            <p:cNvSpPr/>
            <p:nvPr/>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693" name="iśḻîdé"/>
            <p:cNvSpPr/>
            <p:nvPr/>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p>
          </p:txBody>
        </p:sp>
        <p:sp>
          <p:nvSpPr>
            <p:cNvPr id="694" name="ïṡḷiďé"/>
            <p:cNvSpPr/>
            <p:nvPr/>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p>
          </p:txBody>
        </p:sp>
        <p:sp>
          <p:nvSpPr>
            <p:cNvPr id="695" name="ïṩľïḑé"/>
            <p:cNvSpPr/>
            <p:nvPr/>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696" name="iśḷídé"/>
            <p:cNvSpPr/>
            <p:nvPr/>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697" name="i$ḻïḓê"/>
            <p:cNvSpPr/>
            <p:nvPr/>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698" name="îšlîdè"/>
            <p:cNvSpPr/>
            <p:nvPr/>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p>
          </p:txBody>
        </p:sp>
        <p:sp>
          <p:nvSpPr>
            <p:cNvPr id="699" name="îsḻiḑê"/>
            <p:cNvSpPr/>
            <p:nvPr/>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00" name="îs1ïḍê"/>
            <p:cNvSpPr/>
            <p:nvPr/>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p>
          </p:txBody>
        </p:sp>
        <p:sp>
          <p:nvSpPr>
            <p:cNvPr id="701" name="íṣľîḍè"/>
            <p:cNvSpPr/>
            <p:nvPr/>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p>
          </p:txBody>
        </p:sp>
        <p:sp>
          <p:nvSpPr>
            <p:cNvPr id="702" name="îṣlíḓê"/>
            <p:cNvSpPr/>
            <p:nvPr/>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03" name="ïšļiḑe"/>
            <p:cNvSpPr/>
            <p:nvPr/>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p>
          </p:txBody>
        </p:sp>
        <p:sp>
          <p:nvSpPr>
            <p:cNvPr id="704" name="íṡlïḍè"/>
            <p:cNvSpPr/>
            <p:nvPr/>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p>
          </p:txBody>
        </p:sp>
        <p:sp>
          <p:nvSpPr>
            <p:cNvPr id="705" name="îšḷïḓê"/>
            <p:cNvSpPr/>
            <p:nvPr/>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p>
          </p:txBody>
        </p:sp>
        <p:sp>
          <p:nvSpPr>
            <p:cNvPr id="706" name="í$ḷïḍe"/>
            <p:cNvSpPr/>
            <p:nvPr/>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p>
          </p:txBody>
        </p:sp>
        <p:sp>
          <p:nvSpPr>
            <p:cNvPr id="707" name="íSļïdé"/>
            <p:cNvSpPr/>
            <p:nvPr/>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p>
          </p:txBody>
        </p:sp>
        <p:sp>
          <p:nvSpPr>
            <p:cNvPr id="708" name="isľiḋê"/>
            <p:cNvSpPr/>
            <p:nvPr/>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09" name="íṣļiḍê"/>
            <p:cNvSpPr/>
            <p:nvPr/>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p>
          </p:txBody>
        </p:sp>
        <p:sp>
          <p:nvSpPr>
            <p:cNvPr id="710" name="îṩliďè"/>
            <p:cNvSpPr/>
            <p:nvPr/>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p>
          </p:txBody>
        </p:sp>
        <p:sp>
          <p:nvSpPr>
            <p:cNvPr id="711" name="îṣḷiďè"/>
            <p:cNvSpPr/>
            <p:nvPr/>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p>
          </p:txBody>
        </p:sp>
        <p:sp>
          <p:nvSpPr>
            <p:cNvPr id="712" name="ïšľíḓè"/>
            <p:cNvSpPr/>
            <p:nvPr/>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p>
          </p:txBody>
        </p:sp>
        <p:sp>
          <p:nvSpPr>
            <p:cNvPr id="713" name="îṩlïḓè"/>
            <p:cNvSpPr/>
            <p:nvPr/>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14" name="iṩļïḑe"/>
            <p:cNvSpPr/>
            <p:nvPr/>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15" name="íṡḷïḋê"/>
            <p:cNvSpPr/>
            <p:nvPr/>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p>
          </p:txBody>
        </p:sp>
        <p:sp>
          <p:nvSpPr>
            <p:cNvPr id="716" name="ïś1iḍè"/>
            <p:cNvSpPr/>
            <p:nvPr/>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p>
          </p:txBody>
        </p:sp>
        <p:sp>
          <p:nvSpPr>
            <p:cNvPr id="717" name="îSlïdè"/>
            <p:cNvSpPr/>
            <p:nvPr/>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18" name="íšḻiḑe"/>
            <p:cNvSpPr/>
            <p:nvPr/>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719" name="îšḷiďè"/>
            <p:cNvSpPr/>
            <p:nvPr/>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p>
          </p:txBody>
        </p:sp>
        <p:sp>
          <p:nvSpPr>
            <p:cNvPr id="720" name="ïṣ1îḓé"/>
            <p:cNvSpPr/>
            <p:nvPr/>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721" name="îsļíḑè"/>
            <p:cNvSpPr/>
            <p:nvPr/>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p>
          </p:txBody>
        </p:sp>
        <p:sp>
          <p:nvSpPr>
            <p:cNvPr id="722" name="íṩ1ïdé"/>
            <p:cNvSpPr/>
            <p:nvPr/>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3" name="isliḑé"/>
            <p:cNvSpPr/>
            <p:nvPr/>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4" name="í$ḻïḋè"/>
            <p:cNvSpPr/>
            <p:nvPr/>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5" name="išlîḋé"/>
            <p:cNvSpPr/>
            <p:nvPr/>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26" name="íSlîḋe"/>
            <p:cNvSpPr/>
            <p:nvPr/>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p>
          </p:txBody>
        </p:sp>
        <p:sp>
          <p:nvSpPr>
            <p:cNvPr id="727" name="ïşlíḓe"/>
            <p:cNvSpPr/>
            <p:nvPr/>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p>
          </p:txBody>
        </p:sp>
        <p:sp>
          <p:nvSpPr>
            <p:cNvPr id="728" name="ïṧḷiďê"/>
            <p:cNvSpPr/>
            <p:nvPr/>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p>
          </p:txBody>
        </p:sp>
        <p:sp>
          <p:nvSpPr>
            <p:cNvPr id="729" name="iṧ1îḋé"/>
            <p:cNvSpPr/>
            <p:nvPr/>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p>
          </p:txBody>
        </p:sp>
        <p:sp>
          <p:nvSpPr>
            <p:cNvPr id="730" name="îşḻiḋê"/>
            <p:cNvSpPr/>
            <p:nvPr/>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p>
          </p:txBody>
        </p:sp>
        <p:sp>
          <p:nvSpPr>
            <p:cNvPr id="731" name="iŝlíḑe"/>
            <p:cNvSpPr/>
            <p:nvPr/>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732" name="íṡḻídé"/>
            <p:cNvSpPr/>
            <p:nvPr/>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p>
          </p:txBody>
        </p:sp>
        <p:sp>
          <p:nvSpPr>
            <p:cNvPr id="733" name="íšľîḓè"/>
            <p:cNvSpPr/>
            <p:nvPr/>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p>
          </p:txBody>
        </p:sp>
        <p:sp>
          <p:nvSpPr>
            <p:cNvPr id="734" name="î$ḻíḍè"/>
            <p:cNvSpPr/>
            <p:nvPr/>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p>
          </p:txBody>
        </p:sp>
        <p:sp>
          <p:nvSpPr>
            <p:cNvPr id="735" name="îŝḷîďè"/>
            <p:cNvSpPr/>
            <p:nvPr/>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736" name="iṧḷíḋe"/>
            <p:cNvSpPr/>
            <p:nvPr/>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737" name="ïṣ1ïḑé"/>
            <p:cNvSpPr/>
            <p:nvPr/>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38" name="ïšļíḋè"/>
            <p:cNvSpPr/>
            <p:nvPr/>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739" name="iş1îḑe"/>
            <p:cNvSpPr/>
            <p:nvPr/>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p>
          </p:txBody>
        </p:sp>
        <p:sp>
          <p:nvSpPr>
            <p:cNvPr id="740" name="ïṣlîḑê"/>
            <p:cNvSpPr/>
            <p:nvPr/>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p>
          </p:txBody>
        </p:sp>
        <p:sp>
          <p:nvSpPr>
            <p:cNvPr id="741" name="íšľîḋè"/>
            <p:cNvSpPr/>
            <p:nvPr/>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742" name="ïšļíḓe"/>
            <p:cNvSpPr/>
            <p:nvPr/>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43" name="íšļíḑé"/>
            <p:cNvSpPr/>
            <p:nvPr/>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p>
          </p:txBody>
        </p:sp>
        <p:sp>
          <p:nvSpPr>
            <p:cNvPr id="744" name="ï$ļíḍe"/>
            <p:cNvSpPr/>
            <p:nvPr/>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p>
          </p:txBody>
        </p:sp>
        <p:sp>
          <p:nvSpPr>
            <p:cNvPr id="745" name="iṥlîḑé"/>
            <p:cNvSpPr/>
            <p:nvPr/>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p>
          </p:txBody>
        </p:sp>
        <p:sp>
          <p:nvSpPr>
            <p:cNvPr id="746" name="ï$ḻiḑé"/>
            <p:cNvSpPr/>
            <p:nvPr/>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p>
          </p:txBody>
        </p:sp>
        <p:sp>
          <p:nvSpPr>
            <p:cNvPr id="747" name="iṡļíḑè"/>
            <p:cNvSpPr/>
            <p:nvPr/>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p>
          </p:txBody>
        </p:sp>
        <p:sp>
          <p:nvSpPr>
            <p:cNvPr id="748" name="ïš1ïḋé"/>
            <p:cNvSpPr/>
            <p:nvPr/>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p>
          </p:txBody>
        </p:sp>
        <p:sp>
          <p:nvSpPr>
            <p:cNvPr id="749" name="íṥ1îďè"/>
            <p:cNvSpPr/>
            <p:nvPr/>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750" name="íşļíḍé"/>
            <p:cNvSpPr/>
            <p:nvPr/>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751" name="islïḑé"/>
            <p:cNvSpPr/>
            <p:nvPr/>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p>
          </p:txBody>
        </p:sp>
        <p:sp>
          <p:nvSpPr>
            <p:cNvPr id="752" name="isľiḋe"/>
            <p:cNvSpPr/>
            <p:nvPr/>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p>
          </p:txBody>
        </p:sp>
        <p:sp>
          <p:nvSpPr>
            <p:cNvPr id="753" name="ïṥḷiḍè"/>
            <p:cNvSpPr/>
            <p:nvPr/>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p>
          </p:txBody>
        </p:sp>
        <p:sp>
          <p:nvSpPr>
            <p:cNvPr id="754" name="ïślîḍe"/>
            <p:cNvSpPr/>
            <p:nvPr/>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p>
          </p:txBody>
        </p:sp>
        <p:sp>
          <p:nvSpPr>
            <p:cNvPr id="755" name="îslîḓé"/>
            <p:cNvSpPr/>
            <p:nvPr/>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756" name="iṧḻïḋè"/>
            <p:cNvSpPr/>
            <p:nvPr/>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757" name="işľîḓe"/>
            <p:cNvSpPr/>
            <p:nvPr/>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p>
          </p:txBody>
        </p:sp>
        <p:sp>
          <p:nvSpPr>
            <p:cNvPr id="758" name="íśľïḓè"/>
            <p:cNvSpPr/>
            <p:nvPr/>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p>
          </p:txBody>
        </p:sp>
        <p:sp>
          <p:nvSpPr>
            <p:cNvPr id="759" name="î$ľiḍe"/>
            <p:cNvSpPr/>
            <p:nvPr/>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p>
          </p:txBody>
        </p:sp>
        <p:sp>
          <p:nvSpPr>
            <p:cNvPr id="760" name="íṡḷiḋè"/>
            <p:cNvSpPr/>
            <p:nvPr/>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p>
          </p:txBody>
        </p:sp>
        <p:sp>
          <p:nvSpPr>
            <p:cNvPr id="761" name="íṣľïďè"/>
            <p:cNvSpPr/>
            <p:nvPr/>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p>
          </p:txBody>
        </p:sp>
        <p:sp>
          <p:nvSpPr>
            <p:cNvPr id="762" name="íSľiḋé"/>
            <p:cNvSpPr/>
            <p:nvPr/>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p>
          </p:txBody>
        </p:sp>
        <p:sp>
          <p:nvSpPr>
            <p:cNvPr id="763" name="iṩľiḍe"/>
            <p:cNvSpPr/>
            <p:nvPr/>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p>
          </p:txBody>
        </p:sp>
        <p:sp>
          <p:nvSpPr>
            <p:cNvPr id="764" name="îṧľïḓé"/>
            <p:cNvSpPr/>
            <p:nvPr/>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765" name="išľïḍê"/>
            <p:cNvSpPr/>
            <p:nvPr/>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66" name="îṧļïḋe"/>
            <p:cNvSpPr/>
            <p:nvPr/>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p>
          </p:txBody>
        </p:sp>
        <p:sp>
          <p:nvSpPr>
            <p:cNvPr id="767" name="ïṥlïḑé"/>
            <p:cNvSpPr/>
            <p:nvPr/>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p>
          </p:txBody>
        </p:sp>
        <p:sp>
          <p:nvSpPr>
            <p:cNvPr id="768" name="ïṥ1ïdê"/>
            <p:cNvSpPr/>
            <p:nvPr/>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769" name="îṡ1îḑé"/>
            <p:cNvSpPr/>
            <p:nvPr/>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770" name="iṡḷîḑe"/>
            <p:cNvSpPr/>
            <p:nvPr/>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71" name="ïṡļîḑè"/>
            <p:cNvSpPr/>
            <p:nvPr/>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p>
          </p:txBody>
        </p:sp>
        <p:sp>
          <p:nvSpPr>
            <p:cNvPr id="772" name="ï$líḋê"/>
            <p:cNvSpPr/>
            <p:nvPr/>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773" name="îṧlîdè"/>
            <p:cNvSpPr/>
            <p:nvPr/>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p>
          </p:txBody>
        </p:sp>
        <p:sp>
          <p:nvSpPr>
            <p:cNvPr id="774" name="îśḻíḋe"/>
            <p:cNvSpPr/>
            <p:nvPr/>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p>
          </p:txBody>
        </p:sp>
        <p:sp>
          <p:nvSpPr>
            <p:cNvPr id="775" name="ïSliḓê"/>
            <p:cNvSpPr/>
            <p:nvPr/>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p>
          </p:txBody>
        </p:sp>
        <p:sp>
          <p:nvSpPr>
            <p:cNvPr id="776" name="íSḻíďe"/>
            <p:cNvSpPr/>
            <p:nvPr/>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p>
          </p:txBody>
        </p:sp>
        <p:sp>
          <p:nvSpPr>
            <p:cNvPr id="777" name="iṡḻîdê"/>
            <p:cNvSpPr/>
            <p:nvPr/>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778" name="îś1iďê"/>
            <p:cNvSpPr/>
            <p:nvPr/>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p>
          </p:txBody>
        </p:sp>
        <p:sp>
          <p:nvSpPr>
            <p:cNvPr id="779" name="íṡlídè"/>
            <p:cNvSpPr/>
            <p:nvPr/>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p>
          </p:txBody>
        </p:sp>
        <p:sp>
          <p:nvSpPr>
            <p:cNvPr id="780" name="iṩlîḓé"/>
            <p:cNvSpPr/>
            <p:nvPr/>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p>
          </p:txBody>
        </p:sp>
        <p:sp>
          <p:nvSpPr>
            <p:cNvPr id="781" name="iṧľíďè"/>
            <p:cNvSpPr/>
            <p:nvPr/>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782" name="ïṩḷiḓé"/>
            <p:cNvSpPr/>
            <p:nvPr/>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p>
          </p:txBody>
        </p:sp>
        <p:sp>
          <p:nvSpPr>
            <p:cNvPr id="783" name="íşlïḓê"/>
            <p:cNvSpPr/>
            <p:nvPr/>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784" name="iṣ1íďè"/>
            <p:cNvSpPr/>
            <p:nvPr/>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p>
          </p:txBody>
        </p:sp>
        <p:sp>
          <p:nvSpPr>
            <p:cNvPr id="785" name="îšḻîdè"/>
            <p:cNvSpPr/>
            <p:nvPr/>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786" name="ïṩļíḑe"/>
            <p:cNvSpPr/>
            <p:nvPr/>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787" name="îṡlïdè"/>
            <p:cNvSpPr/>
            <p:nvPr/>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p>
          </p:txBody>
        </p:sp>
        <p:sp>
          <p:nvSpPr>
            <p:cNvPr id="788" name="i$ḷîde"/>
            <p:cNvSpPr/>
            <p:nvPr/>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p>
          </p:txBody>
        </p:sp>
        <p:sp>
          <p:nvSpPr>
            <p:cNvPr id="789" name="iśḷíḑe"/>
            <p:cNvSpPr/>
            <p:nvPr/>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p>
          </p:txBody>
        </p:sp>
        <p:sp>
          <p:nvSpPr>
            <p:cNvPr id="790" name="íṣḻïḓe"/>
            <p:cNvSpPr/>
            <p:nvPr/>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p>
          </p:txBody>
        </p:sp>
        <p:sp>
          <p:nvSpPr>
            <p:cNvPr id="791" name="íṩľíde"/>
            <p:cNvSpPr/>
            <p:nvPr/>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p>
          </p:txBody>
        </p:sp>
        <p:sp>
          <p:nvSpPr>
            <p:cNvPr id="792" name="işľiḍè"/>
            <p:cNvSpPr/>
            <p:nvPr/>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p>
          </p:txBody>
        </p:sp>
        <p:sp>
          <p:nvSpPr>
            <p:cNvPr id="793" name="îśľîḍé"/>
            <p:cNvSpPr/>
            <p:nvPr/>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p>
          </p:txBody>
        </p:sp>
        <p:sp>
          <p:nvSpPr>
            <p:cNvPr id="794" name="îşḷîḍé"/>
            <p:cNvSpPr/>
            <p:nvPr/>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795" name="îŝḻíďê"/>
            <p:cNvSpPr/>
            <p:nvPr/>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796" name="íṥļiḍé"/>
            <p:cNvSpPr/>
            <p:nvPr/>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p>
          </p:txBody>
        </p:sp>
        <p:sp>
          <p:nvSpPr>
            <p:cNvPr id="797" name="iṧ1íḍe"/>
            <p:cNvSpPr/>
            <p:nvPr/>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798" name="îsḻíḓè"/>
            <p:cNvSpPr/>
            <p:nvPr/>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799" name="îš1iḋê"/>
            <p:cNvSpPr/>
            <p:nvPr/>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p>
          </p:txBody>
        </p:sp>
        <p:sp>
          <p:nvSpPr>
            <p:cNvPr id="800" name="íṣ1îḑè"/>
            <p:cNvSpPr/>
            <p:nvPr/>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p>
          </p:txBody>
        </p:sp>
        <p:sp>
          <p:nvSpPr>
            <p:cNvPr id="801" name="íš1îḑê"/>
            <p:cNvSpPr/>
            <p:nvPr/>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p>
          </p:txBody>
        </p:sp>
        <p:sp>
          <p:nvSpPr>
            <p:cNvPr id="802" name="ïṩḷïḑé"/>
            <p:cNvSpPr/>
            <p:nvPr/>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803" name="î$ļîdè"/>
            <p:cNvSpPr/>
            <p:nvPr/>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804" name="ïś1îḑe"/>
            <p:cNvSpPr/>
            <p:nvPr/>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p>
          </p:txBody>
        </p:sp>
        <p:sp>
          <p:nvSpPr>
            <p:cNvPr id="805" name="îslîḓê"/>
            <p:cNvSpPr/>
            <p:nvPr/>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806" name="îślîḋé"/>
            <p:cNvSpPr/>
            <p:nvPr/>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07" name="isľïḑè"/>
            <p:cNvSpPr/>
            <p:nvPr/>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08" name="íšlíḑe"/>
            <p:cNvSpPr/>
            <p:nvPr/>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09" name="íṧļïďe"/>
            <p:cNvSpPr/>
            <p:nvPr/>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p>
          </p:txBody>
        </p:sp>
        <p:sp>
          <p:nvSpPr>
            <p:cNvPr id="810" name="íṣliḓé"/>
            <p:cNvSpPr/>
            <p:nvPr/>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1" name="îSļiḋè"/>
            <p:cNvSpPr/>
            <p:nvPr/>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2" name="íş1ïḑê"/>
            <p:cNvSpPr/>
            <p:nvPr/>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3" name="ïšḷïḋé"/>
            <p:cNvSpPr/>
            <p:nvPr/>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814" name="ïśļiḍê"/>
            <p:cNvSpPr/>
            <p:nvPr/>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815" name="iŝľiḋé"/>
            <p:cNvSpPr/>
            <p:nvPr/>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p>
          </p:txBody>
        </p:sp>
        <p:sp>
          <p:nvSpPr>
            <p:cNvPr id="816" name="íşlïḋé"/>
            <p:cNvSpPr/>
            <p:nvPr/>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817" name="îṩļïďé"/>
            <p:cNvSpPr/>
            <p:nvPr/>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p>
          </p:txBody>
        </p:sp>
        <p:sp>
          <p:nvSpPr>
            <p:cNvPr id="818" name="iṩlïdê"/>
            <p:cNvSpPr/>
            <p:nvPr/>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819" name="îṣľîḋé"/>
            <p:cNvSpPr/>
            <p:nvPr/>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p>
          </p:txBody>
        </p:sp>
        <p:sp>
          <p:nvSpPr>
            <p:cNvPr id="820" name="iṩḷîḓé"/>
            <p:cNvSpPr/>
            <p:nvPr/>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821" name="ïṩḷíḑé"/>
            <p:cNvSpPr/>
            <p:nvPr/>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822" name="îṧļidê"/>
            <p:cNvSpPr/>
            <p:nvPr/>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823" name="iṧlïḋê"/>
            <p:cNvSpPr/>
            <p:nvPr/>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p>
          </p:txBody>
        </p:sp>
        <p:sp>
          <p:nvSpPr>
            <p:cNvPr id="824" name="îṩļíḑé"/>
            <p:cNvSpPr/>
            <p:nvPr/>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p>
          </p:txBody>
        </p:sp>
        <p:sp>
          <p:nvSpPr>
            <p:cNvPr id="825" name="iṧļïďê"/>
            <p:cNvSpPr/>
            <p:nvPr/>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p>
          </p:txBody>
        </p:sp>
        <p:sp>
          <p:nvSpPr>
            <p:cNvPr id="826" name="ïšļïdé"/>
            <p:cNvSpPr/>
            <p:nvPr/>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p>
          </p:txBody>
        </p:sp>
        <p:sp>
          <p:nvSpPr>
            <p:cNvPr id="827" name="ïṥḻîḋè"/>
            <p:cNvSpPr/>
            <p:nvPr/>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p>
          </p:txBody>
        </p:sp>
        <p:sp>
          <p:nvSpPr>
            <p:cNvPr id="828" name="íṡľîḍè"/>
            <p:cNvSpPr/>
            <p:nvPr/>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p>
          </p:txBody>
        </p:sp>
        <p:sp>
          <p:nvSpPr>
            <p:cNvPr id="829" name="i$lïdè"/>
            <p:cNvSpPr/>
            <p:nvPr/>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p>
          </p:txBody>
        </p:sp>
        <p:sp>
          <p:nvSpPr>
            <p:cNvPr id="830" name="iṩḻiḋê"/>
            <p:cNvSpPr/>
            <p:nvPr/>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831" name="ïŝḻîḋè"/>
            <p:cNvSpPr/>
            <p:nvPr/>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2" name="isḷïďé"/>
            <p:cNvSpPr/>
            <p:nvPr/>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3" name="işlíde"/>
            <p:cNvSpPr/>
            <p:nvPr/>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4" name="iṣliḑê"/>
            <p:cNvSpPr/>
            <p:nvPr/>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5" name="îSḷiďé"/>
            <p:cNvSpPr/>
            <p:nvPr/>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836" name="îṧliḓé"/>
            <p:cNvSpPr/>
            <p:nvPr/>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837" name="íŝ1iḍè"/>
            <p:cNvSpPr/>
            <p:nvPr/>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p>
          </p:txBody>
        </p:sp>
        <p:sp>
          <p:nvSpPr>
            <p:cNvPr id="838" name="îṩlîḑe"/>
            <p:cNvSpPr/>
            <p:nvPr/>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p>
          </p:txBody>
        </p:sp>
        <p:sp>
          <p:nvSpPr>
            <p:cNvPr id="839" name="iŝľïdé"/>
            <p:cNvSpPr/>
            <p:nvPr/>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p>
          </p:txBody>
        </p:sp>
        <p:sp>
          <p:nvSpPr>
            <p:cNvPr id="840" name="îṧ1ide"/>
            <p:cNvSpPr/>
            <p:nvPr/>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p>
          </p:txBody>
        </p:sp>
        <p:sp>
          <p:nvSpPr>
            <p:cNvPr id="841" name="íş1iḋe"/>
            <p:cNvSpPr/>
            <p:nvPr/>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p>
          </p:txBody>
        </p:sp>
        <p:sp>
          <p:nvSpPr>
            <p:cNvPr id="842" name="íSlîďè"/>
            <p:cNvSpPr/>
            <p:nvPr/>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p>
          </p:txBody>
        </p:sp>
        <p:sp>
          <p:nvSpPr>
            <p:cNvPr id="843" name="išlïḍe"/>
            <p:cNvSpPr/>
            <p:nvPr/>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p>
          </p:txBody>
        </p:sp>
        <p:sp>
          <p:nvSpPr>
            <p:cNvPr id="844" name="íşľîdè"/>
            <p:cNvSpPr/>
            <p:nvPr/>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845" name="išḷîḑê"/>
            <p:cNvSpPr/>
            <p:nvPr/>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846" name="íṡļïḓè"/>
            <p:cNvSpPr/>
            <p:nvPr/>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p>
          </p:txBody>
        </p:sp>
        <p:sp>
          <p:nvSpPr>
            <p:cNvPr id="847" name="íṥlíḋé"/>
            <p:cNvSpPr/>
            <p:nvPr/>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p>
          </p:txBody>
        </p:sp>
        <p:sp>
          <p:nvSpPr>
            <p:cNvPr id="848" name="ïṥḷiḑe"/>
            <p:cNvSpPr/>
            <p:nvPr/>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p>
          </p:txBody>
        </p:sp>
        <p:sp>
          <p:nvSpPr>
            <p:cNvPr id="849" name="íṥľïḑe"/>
            <p:cNvSpPr/>
            <p:nvPr/>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p>
          </p:txBody>
        </p:sp>
        <p:sp>
          <p:nvSpPr>
            <p:cNvPr id="850" name="ïṧḻïďè"/>
            <p:cNvSpPr/>
            <p:nvPr/>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p>
          </p:txBody>
        </p:sp>
        <p:sp>
          <p:nvSpPr>
            <p:cNvPr id="851" name="íṣļiḋé"/>
            <p:cNvSpPr/>
            <p:nvPr/>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p>
          </p:txBody>
        </p:sp>
        <p:sp>
          <p:nvSpPr>
            <p:cNvPr id="852" name="îślïḓê"/>
            <p:cNvSpPr/>
            <p:nvPr/>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p>
          </p:txBody>
        </p:sp>
        <p:sp>
          <p:nvSpPr>
            <p:cNvPr id="853" name="ï$ļïḓè"/>
            <p:cNvSpPr/>
            <p:nvPr/>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p>
          </p:txBody>
        </p:sp>
        <p:sp>
          <p:nvSpPr>
            <p:cNvPr id="854" name="î$lîḋê"/>
            <p:cNvSpPr/>
            <p:nvPr/>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p>
          </p:txBody>
        </p:sp>
        <p:sp>
          <p:nvSpPr>
            <p:cNvPr id="855" name="îṡḷîdê"/>
            <p:cNvSpPr/>
            <p:nvPr/>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p>
          </p:txBody>
        </p:sp>
        <p:sp>
          <p:nvSpPr>
            <p:cNvPr id="856" name="îṩļïďé"/>
            <p:cNvSpPr/>
            <p:nvPr/>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p>
          </p:txBody>
        </p:sp>
        <p:sp>
          <p:nvSpPr>
            <p:cNvPr id="857" name="iŝliḍè"/>
            <p:cNvSpPr/>
            <p:nvPr/>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p>
          </p:txBody>
        </p:sp>
        <p:sp>
          <p:nvSpPr>
            <p:cNvPr id="858" name="ïṣḻîdè"/>
            <p:cNvSpPr/>
            <p:nvPr/>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p>
          </p:txBody>
        </p:sp>
        <p:sp>
          <p:nvSpPr>
            <p:cNvPr id="859" name="íş1íḋé"/>
            <p:cNvSpPr/>
            <p:nvPr/>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p>
          </p:txBody>
        </p:sp>
        <p:sp>
          <p:nvSpPr>
            <p:cNvPr id="860" name="iṣlîḑê"/>
            <p:cNvSpPr/>
            <p:nvPr/>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p>
          </p:txBody>
        </p:sp>
        <p:sp>
          <p:nvSpPr>
            <p:cNvPr id="861" name="ïslíḋe"/>
            <p:cNvSpPr/>
            <p:nvPr/>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p>
          </p:txBody>
        </p:sp>
        <p:sp>
          <p:nvSpPr>
            <p:cNvPr id="862" name="işlïḓe"/>
            <p:cNvSpPr/>
            <p:nvPr/>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p>
          </p:txBody>
        </p:sp>
        <p:sp>
          <p:nvSpPr>
            <p:cNvPr id="863" name="iśḷïḑé"/>
            <p:cNvSpPr/>
            <p:nvPr/>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p>
          </p:txBody>
        </p:sp>
        <p:sp>
          <p:nvSpPr>
            <p:cNvPr id="864" name="iSlíde"/>
            <p:cNvSpPr/>
            <p:nvPr/>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p>
          </p:txBody>
        </p:sp>
        <p:sp>
          <p:nvSpPr>
            <p:cNvPr id="865" name="ïSlïḓè"/>
            <p:cNvSpPr/>
            <p:nvPr/>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866" name="íṩ1íḍe"/>
            <p:cNvSpPr/>
            <p:nvPr/>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867" name="iŝľîḍe"/>
            <p:cNvSpPr/>
            <p:nvPr/>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868" name="iṥ1iḋê"/>
            <p:cNvSpPr/>
            <p:nvPr/>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p>
          </p:txBody>
        </p:sp>
        <p:sp>
          <p:nvSpPr>
            <p:cNvPr id="869" name="ïś1îḑé"/>
            <p:cNvSpPr/>
            <p:nvPr/>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p>
          </p:txBody>
        </p:sp>
        <p:sp>
          <p:nvSpPr>
            <p:cNvPr id="870" name="îṩ1iḑè"/>
            <p:cNvSpPr/>
            <p:nvPr/>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871" name="iś1ïḑè"/>
            <p:cNvSpPr/>
            <p:nvPr/>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p>
          </p:txBody>
        </p:sp>
        <p:sp>
          <p:nvSpPr>
            <p:cNvPr id="872" name="ïṧḻîḓê"/>
            <p:cNvSpPr/>
            <p:nvPr/>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p>
          </p:txBody>
        </p:sp>
        <p:sp>
          <p:nvSpPr>
            <p:cNvPr id="873" name="íṩḷidé"/>
            <p:cNvSpPr/>
            <p:nvPr/>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p>
          </p:txBody>
        </p:sp>
        <p:sp>
          <p:nvSpPr>
            <p:cNvPr id="874" name="ïṣḷidé"/>
            <p:cNvSpPr/>
            <p:nvPr/>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p>
          </p:txBody>
        </p:sp>
        <p:sp>
          <p:nvSpPr>
            <p:cNvPr id="875" name="íṧḻíďê"/>
            <p:cNvSpPr/>
            <p:nvPr/>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p>
          </p:txBody>
        </p:sp>
        <p:sp>
          <p:nvSpPr>
            <p:cNvPr id="876" name="iş1iḑe"/>
            <p:cNvSpPr/>
            <p:nvPr/>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p>
          </p:txBody>
        </p:sp>
        <p:sp>
          <p:nvSpPr>
            <p:cNvPr id="877" name="ïśḻîḋé"/>
            <p:cNvSpPr/>
            <p:nvPr/>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p>
          </p:txBody>
        </p:sp>
        <p:sp>
          <p:nvSpPr>
            <p:cNvPr id="878" name="iśļiḋe"/>
            <p:cNvSpPr/>
            <p:nvPr/>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879" name="ïśľíḋê"/>
            <p:cNvSpPr/>
            <p:nvPr/>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p>
          </p:txBody>
        </p:sp>
        <p:sp>
          <p:nvSpPr>
            <p:cNvPr id="880" name="îṧlîḑé"/>
            <p:cNvSpPr/>
            <p:nvPr/>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881" name="íṩḻiḍé"/>
            <p:cNvSpPr/>
            <p:nvPr/>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p>
          </p:txBody>
        </p:sp>
        <p:sp>
          <p:nvSpPr>
            <p:cNvPr id="882" name="ïśḻîḋê"/>
            <p:cNvSpPr/>
            <p:nvPr/>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p>
          </p:txBody>
        </p:sp>
        <p:sp>
          <p:nvSpPr>
            <p:cNvPr id="883" name="î$ľiḋé"/>
            <p:cNvSpPr/>
            <p:nvPr/>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884" name="ïśļïḑé"/>
            <p:cNvSpPr/>
            <p:nvPr/>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885" name="îṧḷiḑé"/>
            <p:cNvSpPr/>
            <p:nvPr/>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886" name="ïṡḷiḋé"/>
            <p:cNvSpPr/>
            <p:nvPr/>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p>
          </p:txBody>
        </p:sp>
        <p:sp>
          <p:nvSpPr>
            <p:cNvPr id="887" name="îşḻïḋê"/>
            <p:cNvSpPr/>
            <p:nvPr/>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p>
          </p:txBody>
        </p:sp>
        <p:sp>
          <p:nvSpPr>
            <p:cNvPr id="888" name="iś1íḓê"/>
            <p:cNvSpPr/>
            <p:nvPr/>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p>
          </p:txBody>
        </p:sp>
        <p:sp>
          <p:nvSpPr>
            <p:cNvPr id="889" name="íṡļîḓè"/>
            <p:cNvSpPr/>
            <p:nvPr/>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p>
          </p:txBody>
        </p:sp>
        <p:sp>
          <p:nvSpPr>
            <p:cNvPr id="890" name="iṣḻíḑé"/>
            <p:cNvSpPr/>
            <p:nvPr/>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p>
          </p:txBody>
        </p:sp>
        <p:sp>
          <p:nvSpPr>
            <p:cNvPr id="891" name="ïṣḷiďê"/>
            <p:cNvSpPr/>
            <p:nvPr/>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p>
          </p:txBody>
        </p:sp>
        <p:sp>
          <p:nvSpPr>
            <p:cNvPr id="892" name="iṡḻïḍe"/>
            <p:cNvSpPr/>
            <p:nvPr/>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p>
          </p:txBody>
        </p:sp>
        <p:sp>
          <p:nvSpPr>
            <p:cNvPr id="893" name="îş1îḓe"/>
            <p:cNvSpPr/>
            <p:nvPr/>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p>
          </p:txBody>
        </p:sp>
        <p:sp>
          <p:nvSpPr>
            <p:cNvPr id="894" name="îs1ïḓe"/>
            <p:cNvSpPr/>
            <p:nvPr/>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p>
          </p:txBody>
        </p:sp>
        <p:sp>
          <p:nvSpPr>
            <p:cNvPr id="895" name="i$ļídé"/>
            <p:cNvSpPr/>
            <p:nvPr/>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p>
          </p:txBody>
        </p:sp>
        <p:sp>
          <p:nvSpPr>
            <p:cNvPr id="896" name="îṡľídé"/>
            <p:cNvSpPr/>
            <p:nvPr/>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p>
          </p:txBody>
        </p:sp>
        <p:sp>
          <p:nvSpPr>
            <p:cNvPr id="897" name="íSľiḋè"/>
            <p:cNvSpPr/>
            <p:nvPr/>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p>
          </p:txBody>
        </p:sp>
        <p:sp>
          <p:nvSpPr>
            <p:cNvPr id="898" name="iṣḻíďé"/>
            <p:cNvSpPr/>
            <p:nvPr/>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p>
          </p:txBody>
        </p:sp>
        <p:sp>
          <p:nvSpPr>
            <p:cNvPr id="899" name="íŝḻîḓè"/>
            <p:cNvSpPr/>
            <p:nvPr/>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p>
          </p:txBody>
        </p:sp>
        <p:sp>
          <p:nvSpPr>
            <p:cNvPr id="900" name="ísḻîdé"/>
            <p:cNvSpPr/>
            <p:nvPr/>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p>
          </p:txBody>
        </p:sp>
        <p:sp>
          <p:nvSpPr>
            <p:cNvPr id="901" name="iṧľíde"/>
            <p:cNvSpPr/>
            <p:nvPr/>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p>
          </p:txBody>
        </p:sp>
        <p:sp>
          <p:nvSpPr>
            <p:cNvPr id="902" name="ïśḻíḋé"/>
            <p:cNvSpPr/>
            <p:nvPr/>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p>
          </p:txBody>
        </p:sp>
        <p:sp>
          <p:nvSpPr>
            <p:cNvPr id="903" name="ïśḷîḓe"/>
            <p:cNvSpPr/>
            <p:nvPr/>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p>
          </p:txBody>
        </p:sp>
        <p:sp>
          <p:nvSpPr>
            <p:cNvPr id="904" name="iṧlïdè"/>
            <p:cNvSpPr/>
            <p:nvPr/>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p>
          </p:txBody>
        </p:sp>
        <p:sp>
          <p:nvSpPr>
            <p:cNvPr id="905" name="îşļiďê"/>
            <p:cNvSpPr/>
            <p:nvPr/>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p>
          </p:txBody>
        </p:sp>
        <p:sp>
          <p:nvSpPr>
            <p:cNvPr id="906" name="îŝ1ïďè"/>
            <p:cNvSpPr/>
            <p:nvPr/>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p>
          </p:txBody>
        </p:sp>
        <p:sp>
          <p:nvSpPr>
            <p:cNvPr id="907" name="ïṣļïḑé"/>
            <p:cNvSpPr/>
            <p:nvPr/>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p>
          </p:txBody>
        </p:sp>
        <p:sp>
          <p:nvSpPr>
            <p:cNvPr id="908" name="ïṧľiďè"/>
            <p:cNvSpPr/>
            <p:nvPr/>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p>
          </p:txBody>
        </p:sp>
        <p:sp>
          <p:nvSpPr>
            <p:cNvPr id="909" name="îṧľïḍè"/>
            <p:cNvSpPr/>
            <p:nvPr/>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p>
          </p:txBody>
        </p:sp>
        <p:sp>
          <p:nvSpPr>
            <p:cNvPr id="910" name="íśḷiḑe"/>
            <p:cNvSpPr/>
            <p:nvPr/>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p>
          </p:txBody>
        </p:sp>
        <p:sp>
          <p:nvSpPr>
            <p:cNvPr id="911" name="íŝliḓé"/>
            <p:cNvSpPr/>
            <p:nvPr/>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p>
          </p:txBody>
        </p:sp>
        <p:sp>
          <p:nvSpPr>
            <p:cNvPr id="912" name="îSľíḓe"/>
            <p:cNvSpPr/>
            <p:nvPr/>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3" name="îś1îdè"/>
            <p:cNvSpPr/>
            <p:nvPr/>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4" name="ïṥ1iḍe"/>
            <p:cNvSpPr/>
            <p:nvPr/>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5" name="îšlïḍé"/>
            <p:cNvSpPr/>
            <p:nvPr/>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6" name="îšḻíḍê"/>
            <p:cNvSpPr/>
            <p:nvPr/>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7" name="íŝḻïḑê"/>
            <p:cNvSpPr/>
            <p:nvPr/>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18" name="i$1iḋe"/>
            <p:cNvSpPr/>
            <p:nvPr/>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p>
          </p:txBody>
        </p:sp>
        <p:sp>
          <p:nvSpPr>
            <p:cNvPr id="919" name="iṣ1íḋe"/>
            <p:cNvSpPr/>
            <p:nvPr/>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p>
          </p:txBody>
        </p:sp>
        <p:sp>
          <p:nvSpPr>
            <p:cNvPr id="920" name="iṡliḑê"/>
            <p:cNvSpPr/>
            <p:nvPr/>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p>
          </p:txBody>
        </p:sp>
        <p:sp>
          <p:nvSpPr>
            <p:cNvPr id="921" name="işḷîḓê"/>
            <p:cNvSpPr/>
            <p:nvPr/>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p>
          </p:txBody>
        </p:sp>
        <p:sp>
          <p:nvSpPr>
            <p:cNvPr id="922" name="isḻíḍè"/>
            <p:cNvSpPr/>
            <p:nvPr/>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p>
          </p:txBody>
        </p:sp>
        <p:sp>
          <p:nvSpPr>
            <p:cNvPr id="923" name="íş1ide"/>
            <p:cNvSpPr/>
            <p:nvPr/>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p>
          </p:txBody>
        </p:sp>
        <p:sp>
          <p:nvSpPr>
            <p:cNvPr id="924" name="iśḷiḓé"/>
            <p:cNvSpPr/>
            <p:nvPr/>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925" name="î$ļïḍe"/>
            <p:cNvSpPr/>
            <p:nvPr/>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p>
          </p:txBody>
        </p:sp>
        <p:sp>
          <p:nvSpPr>
            <p:cNvPr id="926" name="î$liḑé"/>
            <p:cNvSpPr/>
            <p:nvPr/>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p>
          </p:txBody>
        </p:sp>
        <p:sp>
          <p:nvSpPr>
            <p:cNvPr id="927" name="iśļide"/>
            <p:cNvSpPr/>
            <p:nvPr/>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p>
          </p:txBody>
        </p:sp>
        <p:sp>
          <p:nvSpPr>
            <p:cNvPr id="928" name="íṧlîḋe"/>
            <p:cNvSpPr/>
            <p:nvPr/>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p>
          </p:txBody>
        </p:sp>
        <p:sp>
          <p:nvSpPr>
            <p:cNvPr id="929" name="išliďe"/>
            <p:cNvSpPr/>
            <p:nvPr/>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p>
          </p:txBody>
        </p:sp>
        <p:sp>
          <p:nvSpPr>
            <p:cNvPr id="930" name="iSlïḋè"/>
            <p:cNvSpPr/>
            <p:nvPr/>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p>
          </p:txBody>
        </p:sp>
        <p:sp>
          <p:nvSpPr>
            <p:cNvPr id="931" name="iśḷîḓe"/>
            <p:cNvSpPr/>
            <p:nvPr/>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p>
          </p:txBody>
        </p:sp>
        <p:sp>
          <p:nvSpPr>
            <p:cNvPr id="932" name="í$ľídé"/>
            <p:cNvSpPr/>
            <p:nvPr/>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p>
          </p:txBody>
        </p:sp>
        <p:sp>
          <p:nvSpPr>
            <p:cNvPr id="933" name="îşlîďê"/>
            <p:cNvSpPr/>
            <p:nvPr/>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p>
          </p:txBody>
        </p:sp>
        <p:sp>
          <p:nvSpPr>
            <p:cNvPr id="934" name="íṧ1íḓé"/>
            <p:cNvSpPr/>
            <p:nvPr/>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p>
          </p:txBody>
        </p:sp>
        <p:sp>
          <p:nvSpPr>
            <p:cNvPr id="935" name="ïṥlïďé"/>
            <p:cNvSpPr/>
            <p:nvPr/>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p>
          </p:txBody>
        </p:sp>
        <p:sp>
          <p:nvSpPr>
            <p:cNvPr id="936" name="í$1iďê"/>
            <p:cNvSpPr/>
            <p:nvPr/>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p>
          </p:txBody>
        </p:sp>
        <p:sp>
          <p:nvSpPr>
            <p:cNvPr id="937" name="íṥ1iḍê"/>
            <p:cNvSpPr/>
            <p:nvPr/>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p>
          </p:txBody>
        </p:sp>
        <p:sp>
          <p:nvSpPr>
            <p:cNvPr id="938" name="ïŝḷîḍê"/>
            <p:cNvSpPr/>
            <p:nvPr/>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p>
          </p:txBody>
        </p:sp>
        <p:sp>
          <p:nvSpPr>
            <p:cNvPr id="939" name="iṣ1íḍè"/>
            <p:cNvSpPr/>
            <p:nvPr/>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p>
          </p:txBody>
        </p:sp>
        <p:sp>
          <p:nvSpPr>
            <p:cNvPr id="940" name="íṧļiďe"/>
            <p:cNvSpPr/>
            <p:nvPr/>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p>
          </p:txBody>
        </p:sp>
        <p:sp>
          <p:nvSpPr>
            <p:cNvPr id="941" name="ïśľîdê"/>
            <p:cNvSpPr/>
            <p:nvPr/>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p>
          </p:txBody>
        </p:sp>
        <p:sp>
          <p:nvSpPr>
            <p:cNvPr id="942" name="îṥ1íḋè"/>
            <p:cNvSpPr/>
            <p:nvPr/>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p>
          </p:txBody>
        </p:sp>
        <p:sp>
          <p:nvSpPr>
            <p:cNvPr id="943" name="ïśľiḑe"/>
            <p:cNvSpPr/>
            <p:nvPr/>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p>
          </p:txBody>
        </p:sp>
        <p:sp>
          <p:nvSpPr>
            <p:cNvPr id="944" name="î$1íďè"/>
            <p:cNvSpPr/>
            <p:nvPr/>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p>
          </p:txBody>
        </p:sp>
        <p:sp>
          <p:nvSpPr>
            <p:cNvPr id="945" name="îşḷîḑe"/>
            <p:cNvSpPr/>
            <p:nvPr/>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p>
          </p:txBody>
        </p:sp>
        <p:sp>
          <p:nvSpPr>
            <p:cNvPr id="946" name="iSļïḍe"/>
            <p:cNvSpPr/>
            <p:nvPr/>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p>
          </p:txBody>
        </p:sp>
        <p:sp>
          <p:nvSpPr>
            <p:cNvPr id="947" name="î$ļïďê"/>
            <p:cNvSpPr/>
            <p:nvPr/>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p>
          </p:txBody>
        </p:sp>
        <p:sp>
          <p:nvSpPr>
            <p:cNvPr id="948" name="ïṥlîḑe"/>
            <p:cNvSpPr/>
            <p:nvPr/>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p>
          </p:txBody>
        </p:sp>
        <p:sp>
          <p:nvSpPr>
            <p:cNvPr id="949" name="ïślîḑé"/>
            <p:cNvSpPr/>
            <p:nvPr/>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p>
          </p:txBody>
        </p:sp>
        <p:sp>
          <p:nvSpPr>
            <p:cNvPr id="950" name="iṩľiḋe"/>
            <p:cNvSpPr/>
            <p:nvPr/>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p>
          </p:txBody>
        </p:sp>
        <p:sp>
          <p:nvSpPr>
            <p:cNvPr id="951" name="išḻïḋe"/>
            <p:cNvSpPr/>
            <p:nvPr/>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952" name="ïSḻíḑè"/>
            <p:cNvSpPr/>
            <p:nvPr/>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953" name="îṧliḍè"/>
            <p:cNvSpPr/>
            <p:nvPr/>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954" name="ïšľîḓè"/>
            <p:cNvSpPr/>
            <p:nvPr/>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p>
          </p:txBody>
        </p:sp>
        <p:sp>
          <p:nvSpPr>
            <p:cNvPr id="955" name="ïṣļïḑê"/>
            <p:cNvSpPr/>
            <p:nvPr/>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p>
          </p:txBody>
        </p:sp>
        <p:sp>
          <p:nvSpPr>
            <p:cNvPr id="956" name="îṩḻíďe"/>
            <p:cNvSpPr/>
            <p:nvPr/>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p>
          </p:txBody>
        </p:sp>
        <p:sp>
          <p:nvSpPr>
            <p:cNvPr id="957" name="ïşliḓé"/>
            <p:cNvSpPr/>
            <p:nvPr/>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p>
          </p:txBody>
        </p:sp>
        <p:sp>
          <p:nvSpPr>
            <p:cNvPr id="958" name="íŝḷïďê"/>
            <p:cNvSpPr/>
            <p:nvPr/>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p>
          </p:txBody>
        </p:sp>
        <p:sp>
          <p:nvSpPr>
            <p:cNvPr id="959" name="íş1ïdè"/>
            <p:cNvSpPr/>
            <p:nvPr/>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p>
          </p:txBody>
        </p:sp>
        <p:sp>
          <p:nvSpPr>
            <p:cNvPr id="960" name="ïṥlîdé"/>
            <p:cNvSpPr/>
            <p:nvPr/>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p>
          </p:txBody>
        </p:sp>
        <p:sp>
          <p:nvSpPr>
            <p:cNvPr id="961" name="îşľiḑe"/>
            <p:cNvSpPr/>
            <p:nvPr/>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p>
          </p:txBody>
        </p:sp>
        <p:sp>
          <p:nvSpPr>
            <p:cNvPr id="962" name="íśḻiḋè"/>
            <p:cNvSpPr/>
            <p:nvPr/>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p>
          </p:txBody>
        </p:sp>
        <p:sp>
          <p:nvSpPr>
            <p:cNvPr id="963" name="iš1ïḋe"/>
            <p:cNvSpPr/>
            <p:nvPr/>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p>
          </p:txBody>
        </p:sp>
        <p:sp>
          <p:nvSpPr>
            <p:cNvPr id="964" name="îşļïḍé"/>
            <p:cNvSpPr/>
            <p:nvPr/>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p>
          </p:txBody>
        </p:sp>
        <p:sp>
          <p:nvSpPr>
            <p:cNvPr id="965" name="ïŝlîḍè"/>
            <p:cNvSpPr/>
            <p:nvPr/>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p>
          </p:txBody>
        </p:sp>
        <p:sp>
          <p:nvSpPr>
            <p:cNvPr id="966" name="ïṩḻîḍê"/>
            <p:cNvSpPr/>
            <p:nvPr/>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p>
          </p:txBody>
        </p:sp>
        <p:sp>
          <p:nvSpPr>
            <p:cNvPr id="967" name="iś1îḑé"/>
            <p:cNvSpPr/>
            <p:nvPr/>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p>
          </p:txBody>
        </p:sp>
        <p:sp>
          <p:nvSpPr>
            <p:cNvPr id="968" name="ï$ḷîḓe"/>
            <p:cNvSpPr/>
            <p:nvPr/>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p>
          </p:txBody>
        </p:sp>
        <p:sp>
          <p:nvSpPr>
            <p:cNvPr id="969" name="işliďe"/>
            <p:cNvSpPr/>
            <p:nvPr/>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p>
          </p:txBody>
        </p:sp>
        <p:sp>
          <p:nvSpPr>
            <p:cNvPr id="970" name="išľîḋê"/>
            <p:cNvSpPr/>
            <p:nvPr/>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p>
          </p:txBody>
        </p:sp>
        <p:sp>
          <p:nvSpPr>
            <p:cNvPr id="971" name="ïṣḻîḍê"/>
            <p:cNvSpPr/>
            <p:nvPr/>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p>
          </p:txBody>
        </p:sp>
        <p:sp>
          <p:nvSpPr>
            <p:cNvPr id="972" name="îṣľíḓê"/>
            <p:cNvSpPr/>
            <p:nvPr/>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p>
          </p:txBody>
        </p:sp>
        <p:sp>
          <p:nvSpPr>
            <p:cNvPr id="973" name="ïşľïďe"/>
            <p:cNvSpPr/>
            <p:nvPr/>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p>
          </p:txBody>
        </p:sp>
        <p:sp>
          <p:nvSpPr>
            <p:cNvPr id="974" name="ï$ḻiḑè"/>
            <p:cNvSpPr/>
            <p:nvPr/>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p>
          </p:txBody>
        </p:sp>
        <p:sp>
          <p:nvSpPr>
            <p:cNvPr id="975" name="iṣľïḑé"/>
            <p:cNvSpPr/>
            <p:nvPr/>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p>
          </p:txBody>
        </p:sp>
        <p:sp>
          <p:nvSpPr>
            <p:cNvPr id="976" name="íṥ1iḓê"/>
            <p:cNvSpPr/>
            <p:nvPr/>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p>
          </p:txBody>
        </p:sp>
        <p:sp>
          <p:nvSpPr>
            <p:cNvPr id="977" name="ïśḻïde"/>
            <p:cNvSpPr/>
            <p:nvPr/>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p>
          </p:txBody>
        </p:sp>
        <p:sp>
          <p:nvSpPr>
            <p:cNvPr id="978" name="îšlíḋe"/>
            <p:cNvSpPr/>
            <p:nvPr/>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p>
          </p:txBody>
        </p:sp>
        <p:sp>
          <p:nvSpPr>
            <p:cNvPr id="979" name="îsḻiḓê"/>
            <p:cNvSpPr/>
            <p:nvPr/>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p>
          </p:txBody>
        </p:sp>
        <p:sp>
          <p:nvSpPr>
            <p:cNvPr id="980" name="ïṧ1íḑé"/>
            <p:cNvSpPr/>
            <p:nvPr/>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p>
          </p:txBody>
        </p:sp>
        <p:sp>
          <p:nvSpPr>
            <p:cNvPr id="981" name="íṧ1ïďe"/>
            <p:cNvSpPr/>
            <p:nvPr/>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p>
          </p:txBody>
        </p:sp>
        <p:sp>
          <p:nvSpPr>
            <p:cNvPr id="982" name="ïŝlídé"/>
            <p:cNvSpPr/>
            <p:nvPr/>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p>
          </p:txBody>
        </p:sp>
        <p:sp>
          <p:nvSpPr>
            <p:cNvPr id="983" name="íş1ïḋé"/>
            <p:cNvSpPr/>
            <p:nvPr/>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p>
          </p:txBody>
        </p:sp>
      </p:grpSp>
      <p:sp>
        <p:nvSpPr>
          <p:cNvPr id="20" name="标题 1"/>
          <p:cNvSpPr>
            <a:spLocks noGrp="1"/>
          </p:cNvSpPr>
          <p:nvPr userDrawn="1">
            <p:ph type="title"/>
          </p:nvPr>
        </p:nvSpPr>
        <p:spPr>
          <a:xfrm>
            <a:off x="6096000" y="2981325"/>
            <a:ext cx="5419185" cy="895350"/>
          </a:xfrm>
        </p:spPr>
        <p:txBody>
          <a:bodyPr anchor="b">
            <a:normAutofit/>
          </a:bodyPr>
          <a:lstStyle>
            <a:lvl1pPr algn="l">
              <a:defRPr sz="2400" b="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7116" y="3876675"/>
            <a:ext cx="5419185" cy="1015623"/>
          </a:xfrm>
        </p:spPr>
        <p:txBody>
          <a:bodyPr anchor="t">
            <a:normAutofit/>
          </a:bodyPr>
          <a:lstStyle>
            <a:lvl1pPr marL="0" indent="0" algn="l">
              <a:lnSpc>
                <a:spcPct val="150000"/>
              </a:lnSpc>
              <a:spcBef>
                <a:spcPts val="0"/>
              </a:spcBef>
              <a:buNone/>
              <a:defRPr sz="11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3520168"/>
            <a:ext cx="10845798" cy="1621509"/>
          </a:xfrm>
        </p:spPr>
        <p:txBody>
          <a:bodyPr anchor="b">
            <a:normAutofit/>
          </a:bodyPr>
          <a:lstStyle>
            <a:lvl1pPr marL="0" indent="0" algn="ctr">
              <a:buFont typeface="Arial" panose="020B0604020202020204" pitchFamily="34" charset="0"/>
              <a:buNone/>
              <a:defRPr sz="3200">
                <a:solidFill>
                  <a:schemeClr val="tx2"/>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5826404"/>
            <a:ext cx="10845798" cy="310871"/>
          </a:xfrm>
        </p:spPr>
        <p:txBody>
          <a:bodyPr vert="horz" lIns="91440" tIns="45720" rIns="91440" bIns="45720" rtlCol="0">
            <a:normAutofit/>
          </a:bodyPr>
          <a:lstStyle>
            <a:lvl1pPr marL="0" indent="0" algn="ctr">
              <a:buNone/>
              <a:defRPr lang="zh-CN" altLang="en-US" sz="1400" smtClean="0">
                <a:solidFill>
                  <a:schemeClr val="tx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673102" y="5530133"/>
            <a:ext cx="10845798" cy="296271"/>
          </a:xfrm>
        </p:spPr>
        <p:txBody>
          <a:bodyPr vert="horz" anchor="ctr">
            <a:noAutofit/>
          </a:bodyPr>
          <a:lstStyle>
            <a:lvl1pPr marL="0" indent="0" algn="ctr">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7" name="任意多边形: 形状 6"/>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blipFill>
            <a:blip r:embed="rId2"/>
            <a:srcRect/>
            <a:stretch>
              <a:fillRect t="-41106" b="-88712"/>
            </a:stretch>
          </a:bli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zh-CN" altLang="en-US"/>
          </a:p>
        </p:txBody>
      </p:sp>
      <p:sp>
        <p:nvSpPr>
          <p:cNvPr id="8" name="Freeform 13_1"/>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gradFill>
            <a:gsLst>
              <a:gs pos="0">
                <a:schemeClr val="accent1">
                  <a:alpha val="20000"/>
                </a:schemeClr>
              </a:gs>
              <a:gs pos="100000">
                <a:schemeClr val="accent1">
                  <a:alpha val="0"/>
                </a:schemeClr>
              </a:gs>
            </a:gsLst>
            <a:lin ang="16200000" scaled="1"/>
          </a:gradFill>
          <a:ln>
            <a:noFill/>
          </a:ln>
        </p:spPr>
        <p:txBody>
          <a:bodyPr vert="horz" wrap="square" lIns="91440" tIns="45720" rIns="91440" bIns="45720" numCol="1" anchor="t" anchorCtr="0" compatLnSpc="1">
            <a:noAutofit/>
          </a:bodyPr>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image" Target="../media/image3.png"/><Relationship Id="rId4" Type="http://schemas.openxmlformats.org/officeDocument/2006/relationships/tags" Target="../tags/tag3.xml"/><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4.xml"/><Relationship Id="rId3" Type="http://schemas.openxmlformats.org/officeDocument/2006/relationships/tags" Target="../tags/tag9.xml"/><Relationship Id="rId2" Type="http://schemas.openxmlformats.org/officeDocument/2006/relationships/image" Target="../media/image23.jpeg"/><Relationship Id="rId1" Type="http://schemas.openxmlformats.org/officeDocument/2006/relationships/tags" Target="../tags/tag8.xml"/></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4.xml"/><Relationship Id="rId2" Type="http://schemas.openxmlformats.org/officeDocument/2006/relationships/image" Target="../media/image24.jpeg"/><Relationship Id="rId1" Type="http://schemas.openxmlformats.org/officeDocument/2006/relationships/tags" Target="../tags/tag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9" Type="http://schemas.openxmlformats.org/officeDocument/2006/relationships/tags" Target="../tags/tag19.xml"/><Relationship Id="rId8" Type="http://schemas.openxmlformats.org/officeDocument/2006/relationships/tags" Target="../tags/tag18.xml"/><Relationship Id="rId7" Type="http://schemas.openxmlformats.org/officeDocument/2006/relationships/tags" Target="../tags/tag17.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3" Type="http://schemas.openxmlformats.org/officeDocument/2006/relationships/tags" Target="../tags/tag13.xml"/><Relationship Id="rId2" Type="http://schemas.openxmlformats.org/officeDocument/2006/relationships/tags" Target="../tags/tag12.xml"/><Relationship Id="rId19" Type="http://schemas.openxmlformats.org/officeDocument/2006/relationships/slideLayout" Target="../slideLayouts/slideLayout4.xml"/><Relationship Id="rId18" Type="http://schemas.openxmlformats.org/officeDocument/2006/relationships/tags" Target="../tags/tag28.xml"/><Relationship Id="rId17" Type="http://schemas.openxmlformats.org/officeDocument/2006/relationships/tags" Target="../tags/tag27.xml"/><Relationship Id="rId16" Type="http://schemas.openxmlformats.org/officeDocument/2006/relationships/tags" Target="../tags/tag26.xml"/><Relationship Id="rId15" Type="http://schemas.openxmlformats.org/officeDocument/2006/relationships/tags" Target="../tags/tag25.xml"/><Relationship Id="rId14" Type="http://schemas.openxmlformats.org/officeDocument/2006/relationships/tags" Target="../tags/tag24.xml"/><Relationship Id="rId13" Type="http://schemas.openxmlformats.org/officeDocument/2006/relationships/tags" Target="../tags/tag23.xml"/><Relationship Id="rId12" Type="http://schemas.openxmlformats.org/officeDocument/2006/relationships/tags" Target="../tags/tag22.xml"/><Relationship Id="rId11" Type="http://schemas.openxmlformats.org/officeDocument/2006/relationships/tags" Target="../tags/tag21.xml"/><Relationship Id="rId10" Type="http://schemas.openxmlformats.org/officeDocument/2006/relationships/tags" Target="../tags/tag20.xml"/><Relationship Id="rId1" Type="http://schemas.openxmlformats.org/officeDocument/2006/relationships/tags" Target="../tags/tag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4.xml"/><Relationship Id="rId2" Type="http://schemas.openxmlformats.org/officeDocument/2006/relationships/image" Target="../media/image25.png"/><Relationship Id="rId1" Type="http://schemas.openxmlformats.org/officeDocument/2006/relationships/tags" Target="../tags/tag29.xml"/></Relationships>
</file>

<file path=ppt/slides/_rels/slide19.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slideLayout" Target="../slideLayouts/slideLayout6.xml"/><Relationship Id="rId6" Type="http://schemas.openxmlformats.org/officeDocument/2006/relationships/themeOverride" Target="../theme/themeOverride4.xml"/><Relationship Id="rId5" Type="http://schemas.openxmlformats.org/officeDocument/2006/relationships/image" Target="../media/image3.png"/><Relationship Id="rId4" Type="http://schemas.openxmlformats.org/officeDocument/2006/relationships/tags" Target="../tags/tag31.xml"/><Relationship Id="rId3" Type="http://schemas.openxmlformats.org/officeDocument/2006/relationships/image" Target="../media/image2.emf"/><Relationship Id="rId2" Type="http://schemas.openxmlformats.org/officeDocument/2006/relationships/oleObject" Target="../embeddings/oleObject2.bin"/><Relationship Id="rId1" Type="http://schemas.openxmlformats.org/officeDocument/2006/relationships/tags" Target="../tags/tag3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image" Target="../media/image4.jpe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4.xml"/><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image" Target="../media/image5.jpe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4.xml"/><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image" Target="../media/image8.jpeg"/></Relationships>
</file>

<file path=ppt/slides/_rels/slide6.xml.rels><?xml version="1.0" encoding="UTF-8" standalone="yes"?>
<Relationships xmlns="http://schemas.openxmlformats.org/package/2006/relationships"><Relationship Id="rId9" Type="http://schemas.openxmlformats.org/officeDocument/2006/relationships/notesSlide" Target="../notesSlides/notesSlide4.xml"/><Relationship Id="rId8" Type="http://schemas.openxmlformats.org/officeDocument/2006/relationships/slideLayout" Target="../slideLayouts/slideLayout3.xml"/><Relationship Id="rId7" Type="http://schemas.openxmlformats.org/officeDocument/2006/relationships/image" Target="../media/image17.jpeg"/><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image" Target="../media/image11.jpe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4.xml"/><Relationship Id="rId2" Type="http://schemas.openxmlformats.org/officeDocument/2006/relationships/image" Target="../media/image18.jpeg"/><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4.xml"/><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73099" y="3367990"/>
            <a:ext cx="10845800" cy="1900562"/>
          </a:xfrm>
        </p:spPr>
        <p:txBody>
          <a:bodyPr>
            <a:normAutofit/>
          </a:bodyPr>
          <a:lstStyle/>
          <a:p>
            <a:r>
              <a:rPr lang="zh-CN" altLang="en-US" sz="4800" dirty="0">
                <a:latin typeface="+mn-ea"/>
                <a:ea typeface="+mn-ea"/>
              </a:rPr>
              <a:t>珠海农商银行惠企政策</a:t>
            </a:r>
            <a:br>
              <a:rPr lang="en-US" altLang="zh-CN" sz="4800" dirty="0">
                <a:latin typeface="+mn-ea"/>
                <a:ea typeface="+mn-ea"/>
              </a:rPr>
            </a:br>
            <a:r>
              <a:rPr lang="zh-CN" altLang="en-US" sz="4800" dirty="0">
                <a:latin typeface="+mn-ea"/>
                <a:ea typeface="+mn-ea"/>
              </a:rPr>
              <a:t>及金融产品介绍</a:t>
            </a:r>
            <a:endParaRPr lang="zh-CN" altLang="en-US" sz="4800" dirty="0">
              <a:latin typeface="+mn-ea"/>
              <a:ea typeface="+mn-ea"/>
            </a:endParaRPr>
          </a:p>
        </p:txBody>
      </p:sp>
      <p:sp>
        <p:nvSpPr>
          <p:cNvPr id="6" name="文本占位符 5"/>
          <p:cNvSpPr>
            <a:spLocks noGrp="1"/>
          </p:cNvSpPr>
          <p:nvPr>
            <p:ph type="body" sz="quarter" idx="10"/>
          </p:nvPr>
        </p:nvSpPr>
        <p:spPr>
          <a:xfrm>
            <a:off x="673099" y="5764097"/>
            <a:ext cx="10845800" cy="296271"/>
          </a:xfrm>
        </p:spPr>
        <p:txBody>
          <a:bodyPr/>
          <a:lstStyle/>
          <a:p>
            <a:r>
              <a:rPr lang="zh-CN" altLang="en-US" b="1" spc="300" dirty="0">
                <a:solidFill>
                  <a:schemeClr val="bg2">
                    <a:lumMod val="10000"/>
                  </a:schemeClr>
                </a:solidFill>
              </a:rPr>
              <a:t>总行公司银行部  廖珣</a:t>
            </a:r>
            <a:endParaRPr lang="en-US" altLang="zh-CN" b="1" spc="300" dirty="0">
              <a:solidFill>
                <a:schemeClr val="bg2">
                  <a:lumMod val="10000"/>
                </a:schemeClr>
              </a:solidFill>
            </a:endParaRPr>
          </a:p>
        </p:txBody>
      </p:sp>
      <p:sp>
        <p:nvSpPr>
          <p:cNvPr id="7" name="文本占位符 6"/>
          <p:cNvSpPr>
            <a:spLocks noGrp="1"/>
          </p:cNvSpPr>
          <p:nvPr>
            <p:ph type="body" sz="quarter" idx="11"/>
          </p:nvPr>
        </p:nvSpPr>
        <p:spPr>
          <a:xfrm>
            <a:off x="673099" y="6060368"/>
            <a:ext cx="10845800" cy="296271"/>
          </a:xfrm>
        </p:spPr>
        <p:txBody>
          <a:bodyPr/>
          <a:lstStyle/>
          <a:p>
            <a:r>
              <a:rPr lang="en-US" altLang="zh-CN" b="1" spc="300" dirty="0">
                <a:solidFill>
                  <a:schemeClr val="bg2">
                    <a:lumMod val="10000"/>
                  </a:schemeClr>
                </a:solidFill>
              </a:rPr>
              <a:t>2020/07/10</a:t>
            </a:r>
            <a:endParaRPr lang="en-US" altLang="en-US" b="1" spc="300" dirty="0">
              <a:solidFill>
                <a:schemeClr val="bg2">
                  <a:lumMod val="10000"/>
                </a:schemeClr>
              </a:solidFill>
            </a:endParaRPr>
          </a:p>
        </p:txBody>
      </p:sp>
      <p:pic>
        <p:nvPicPr>
          <p:cNvPr id="9" name="图片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78368" y="435083"/>
            <a:ext cx="2435263" cy="564377"/>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039293" y="2978445"/>
            <a:ext cx="5419185" cy="895350"/>
          </a:xfrm>
        </p:spPr>
        <p:txBody>
          <a:bodyPr/>
          <a:lstStyle/>
          <a:p>
            <a:r>
              <a:rPr lang="zh-CN" altLang="en-US" dirty="0">
                <a:latin typeface="+mn-ea"/>
                <a:ea typeface="+mn-ea"/>
              </a:rPr>
              <a:t>“金摇篮”企业贷款产品</a:t>
            </a:r>
            <a:endParaRPr lang="zh-CN" altLang="en-US" dirty="0">
              <a:latin typeface="+mn-ea"/>
              <a:ea typeface="+mn-ea"/>
            </a:endParaRPr>
          </a:p>
        </p:txBody>
      </p:sp>
      <p:sp>
        <p:nvSpPr>
          <p:cNvPr id="6" name="文本占位符 5"/>
          <p:cNvSpPr>
            <a:spLocks noGrp="1"/>
          </p:cNvSpPr>
          <p:nvPr>
            <p:ph type="body" idx="1"/>
          </p:nvPr>
        </p:nvSpPr>
        <p:spPr>
          <a:xfrm>
            <a:off x="6244856" y="4012018"/>
            <a:ext cx="5271445" cy="2114461"/>
          </a:xfrm>
        </p:spPr>
        <p:txBody>
          <a:bodyPr>
            <a:noAutofit/>
          </a:bodyPr>
          <a:lstStyle/>
          <a:p>
            <a:pPr>
              <a:defRPr/>
            </a:pPr>
            <a:r>
              <a:rPr lang="zh-CN" altLang="en-US" sz="1600" dirty="0">
                <a:latin typeface="+mn-ea"/>
              </a:rPr>
              <a:t>支小贷业务       </a:t>
            </a:r>
            <a:endParaRPr lang="en-US" altLang="zh-CN" sz="1600" dirty="0">
              <a:latin typeface="+mn-ea"/>
            </a:endParaRPr>
          </a:p>
          <a:p>
            <a:pPr>
              <a:defRPr/>
            </a:pPr>
            <a:r>
              <a:rPr lang="zh-CN" altLang="en-US" sz="1600" dirty="0">
                <a:latin typeface="+mn-ea"/>
              </a:rPr>
              <a:t>技改贷业务</a:t>
            </a:r>
            <a:endParaRPr lang="en-US" altLang="zh-CN" sz="1600" dirty="0">
              <a:latin typeface="+mn-ea"/>
            </a:endParaRPr>
          </a:p>
          <a:p>
            <a:pPr>
              <a:defRPr/>
            </a:pPr>
            <a:r>
              <a:rPr lang="zh-CN" altLang="en-US" sz="1600" dirty="0">
                <a:latin typeface="+mn-ea"/>
              </a:rPr>
              <a:t>税信通贷款</a:t>
            </a:r>
            <a:endParaRPr lang="en-US" altLang="zh-CN" sz="1600" dirty="0">
              <a:latin typeface="+mn-ea"/>
            </a:endParaRPr>
          </a:p>
          <a:p>
            <a:pPr>
              <a:defRPr/>
            </a:pPr>
            <a:r>
              <a:rPr lang="zh-CN" altLang="en-US" sz="1600" dirty="0">
                <a:latin typeface="+mn-ea"/>
              </a:rPr>
              <a:t>科信通贷款</a:t>
            </a:r>
            <a:endParaRPr lang="en-US" altLang="zh-CN" sz="1600" dirty="0">
              <a:latin typeface="+mn-ea"/>
            </a:endParaRPr>
          </a:p>
          <a:p>
            <a:pPr>
              <a:defRPr/>
            </a:pPr>
            <a:r>
              <a:rPr lang="zh-CN" altLang="en-US" sz="1600" dirty="0">
                <a:latin typeface="+mn-ea"/>
              </a:rPr>
              <a:t>政府采购贷</a:t>
            </a:r>
            <a:endParaRPr lang="en-US" altLang="zh-CN" sz="1600" dirty="0">
              <a:latin typeface="+mn-ea"/>
            </a:endParaRPr>
          </a:p>
        </p:txBody>
      </p:sp>
      <p:sp>
        <p:nvSpPr>
          <p:cNvPr id="9" name="文本框 8"/>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四位一体”融资平台</a:t>
            </a:r>
            <a:endParaRPr lang="zh-CN" altLang="en-US" dirty="0"/>
          </a:p>
        </p:txBody>
      </p:sp>
      <p:grpSp>
        <p:nvGrpSpPr>
          <p:cNvPr id="3" name="2412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73099" y="1"/>
            <a:ext cx="10845801" cy="6143624"/>
            <a:chOff x="673099" y="1"/>
            <a:chExt cx="10845801" cy="6143624"/>
          </a:xfrm>
        </p:grpSpPr>
        <p:sp>
          <p:nvSpPr>
            <p:cNvPr id="4" name="îṣľïḓê"/>
            <p:cNvSpPr/>
            <p:nvPr/>
          </p:nvSpPr>
          <p:spPr>
            <a:xfrm>
              <a:off x="794211" y="1"/>
              <a:ext cx="10603580" cy="4372938"/>
            </a:xfrm>
            <a:custGeom>
              <a:avLst/>
              <a:gdLst>
                <a:gd name="connsiteX0" fmla="*/ 0 w 10603580"/>
                <a:gd name="connsiteY0" fmla="*/ 0 h 4372938"/>
                <a:gd name="connsiteX1" fmla="*/ 10603580 w 10603580"/>
                <a:gd name="connsiteY1" fmla="*/ 0 h 4372938"/>
                <a:gd name="connsiteX2" fmla="*/ 10592742 w 10603580"/>
                <a:gd name="connsiteY2" fmla="*/ 60687 h 4372938"/>
                <a:gd name="connsiteX3" fmla="*/ 5301790 w 10603580"/>
                <a:gd name="connsiteY3" fmla="*/ 4372938 h 4372938"/>
                <a:gd name="connsiteX4" fmla="*/ 10838 w 10603580"/>
                <a:gd name="connsiteY4" fmla="*/ 60687 h 437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3580" h="4372938">
                  <a:moveTo>
                    <a:pt x="0" y="0"/>
                  </a:moveTo>
                  <a:lnTo>
                    <a:pt x="10603580" y="0"/>
                  </a:lnTo>
                  <a:lnTo>
                    <a:pt x="10592742" y="60687"/>
                  </a:lnTo>
                  <a:cubicBezTo>
                    <a:pt x="10089150" y="2521684"/>
                    <a:pt x="7911661" y="4372938"/>
                    <a:pt x="5301790" y="4372938"/>
                  </a:cubicBezTo>
                  <a:cubicBezTo>
                    <a:pt x="2691919" y="4372938"/>
                    <a:pt x="514431" y="2521684"/>
                    <a:pt x="10838" y="60687"/>
                  </a:cubicBezTo>
                  <a:close/>
                </a:path>
              </a:pathLst>
            </a:custGeom>
            <a:gradFill>
              <a:gsLst>
                <a:gs pos="100000">
                  <a:schemeClr val="bg1">
                    <a:lumMod val="50000"/>
                    <a:alpha val="15000"/>
                  </a:schemeClr>
                </a:gs>
                <a:gs pos="74000">
                  <a:schemeClr val="bg1">
                    <a:lumMod val="50000"/>
                    <a:alpha val="0"/>
                  </a:schemeClr>
                </a:gs>
              </a:gsLst>
              <a:lin ang="5400000" scaled="1"/>
            </a:gradFill>
            <a:ln>
              <a:gradFill>
                <a:gsLst>
                  <a:gs pos="100000">
                    <a:schemeClr val="bg1">
                      <a:lumMod val="50000"/>
                      <a:alpha val="56000"/>
                    </a:schemeClr>
                  </a:gs>
                  <a:gs pos="64000">
                    <a:schemeClr val="bg1">
                      <a:lumMod val="50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solidFill>
                  <a:srgbClr val="F2F2F2"/>
                </a:solidFill>
              </a:endParaRPr>
            </a:p>
          </p:txBody>
        </p:sp>
        <p:grpSp>
          <p:nvGrpSpPr>
            <p:cNvPr id="5" name="íşḻîdé"/>
            <p:cNvGrpSpPr/>
            <p:nvPr/>
          </p:nvGrpSpPr>
          <p:grpSpPr>
            <a:xfrm>
              <a:off x="2500685" y="3004335"/>
              <a:ext cx="7190630" cy="1250888"/>
              <a:chOff x="2500685" y="3004335"/>
              <a:chExt cx="7190630" cy="1250888"/>
            </a:xfrm>
          </p:grpSpPr>
          <p:sp>
            <p:nvSpPr>
              <p:cNvPr id="23" name="îṡḷiḍè"/>
              <p:cNvSpPr/>
              <p:nvPr/>
            </p:nvSpPr>
            <p:spPr>
              <a:xfrm>
                <a:off x="2500685" y="3004335"/>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24" name="íṡliḓè"/>
              <p:cNvSpPr/>
              <p:nvPr/>
            </p:nvSpPr>
            <p:spPr>
              <a:xfrm>
                <a:off x="9540240" y="3004335"/>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25" name="íṧľídé"/>
              <p:cNvSpPr/>
              <p:nvPr/>
            </p:nvSpPr>
            <p:spPr>
              <a:xfrm>
                <a:off x="4533361" y="4104148"/>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26" name="iṩḷíḑé"/>
              <p:cNvSpPr/>
              <p:nvPr/>
            </p:nvSpPr>
            <p:spPr>
              <a:xfrm>
                <a:off x="7507564" y="4104148"/>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6" name="iṧ1iḍê"/>
            <p:cNvGrpSpPr/>
            <p:nvPr/>
          </p:nvGrpSpPr>
          <p:grpSpPr>
            <a:xfrm>
              <a:off x="3395132" y="4812218"/>
              <a:ext cx="2679701" cy="1331407"/>
              <a:chOff x="3418416" y="4812218"/>
              <a:chExt cx="2609851" cy="1331407"/>
            </a:xfrm>
          </p:grpSpPr>
          <p:sp>
            <p:nvSpPr>
              <p:cNvPr id="21" name="ï$1îḍè"/>
              <p:cNvSpPr txBox="1"/>
              <p:nvPr/>
            </p:nvSpPr>
            <p:spPr>
              <a:xfrm flipH="1">
                <a:off x="3418416" y="5169753"/>
                <a:ext cx="2609849" cy="973872"/>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zh-CN" altLang="en-US" sz="1100" dirty="0">
                    <a:latin typeface="微软雅黑" panose="020B0503020204020204" pitchFamily="34" charset="-122"/>
                    <a:ea typeface="微软雅黑" panose="020B0503020204020204" pitchFamily="34" charset="-122"/>
                  </a:rPr>
                  <a:t>由政府、人民银行、金融机构共同组成，专项支持工业企业技术改造融资</a:t>
                </a:r>
                <a:endParaRPr lang="zh-CN" altLang="en-US" sz="1100" dirty="0">
                  <a:latin typeface="微软雅黑" panose="020B0503020204020204" pitchFamily="34" charset="-122"/>
                  <a:ea typeface="微软雅黑" panose="020B0503020204020204" pitchFamily="34" charset="-122"/>
                </a:endParaRPr>
              </a:p>
            </p:txBody>
          </p:sp>
          <p:sp>
            <p:nvSpPr>
              <p:cNvPr id="22" name="ïṩľïḑe"/>
              <p:cNvSpPr/>
              <p:nvPr/>
            </p:nvSpPr>
            <p:spPr>
              <a:xfrm flipH="1">
                <a:off x="3418418" y="4812218"/>
                <a:ext cx="2609849" cy="357534"/>
              </a:xfrm>
              <a:prstGeom prst="rect">
                <a:avLst/>
              </a:prstGeom>
              <a:noFill/>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t>技改贷融资平台</a:t>
                </a:r>
                <a:endParaRPr lang="zh-CN" altLang="en-US" b="1" dirty="0"/>
              </a:p>
            </p:txBody>
          </p:sp>
        </p:grpSp>
        <p:grpSp>
          <p:nvGrpSpPr>
            <p:cNvPr id="7" name="iS1íďe"/>
            <p:cNvGrpSpPr/>
            <p:nvPr/>
          </p:nvGrpSpPr>
          <p:grpSpPr>
            <a:xfrm>
              <a:off x="6117163" y="4812218"/>
              <a:ext cx="2970128" cy="1331407"/>
              <a:chOff x="6163732" y="4812218"/>
              <a:chExt cx="2892708" cy="1331407"/>
            </a:xfrm>
          </p:grpSpPr>
          <p:sp>
            <p:nvSpPr>
              <p:cNvPr id="19" name="iSḻíḋe"/>
              <p:cNvSpPr txBox="1"/>
              <p:nvPr/>
            </p:nvSpPr>
            <p:spPr>
              <a:xfrm flipH="1">
                <a:off x="6163732" y="5169753"/>
                <a:ext cx="2892708" cy="973872"/>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zh-CN" altLang="en-US" sz="1100" dirty="0"/>
                  <a:t>由政府、金融机构、担保公司和贷款企业共同组成，企业用过担保公司担保获得贷款</a:t>
                </a:r>
                <a:endParaRPr lang="zh-CN" altLang="en-US" sz="1100" dirty="0"/>
              </a:p>
              <a:p>
                <a:pPr algn="ctr">
                  <a:lnSpc>
                    <a:spcPct val="150000"/>
                  </a:lnSpc>
                </a:pPr>
                <a:endParaRPr lang="en-US" altLang="zh-CN" sz="1100" dirty="0"/>
              </a:p>
            </p:txBody>
          </p:sp>
          <p:sp>
            <p:nvSpPr>
              <p:cNvPr id="20" name="îṩľíḍè"/>
              <p:cNvSpPr/>
              <p:nvPr/>
            </p:nvSpPr>
            <p:spPr>
              <a:xfrm flipH="1">
                <a:off x="6163735" y="4812218"/>
                <a:ext cx="2609849" cy="357534"/>
              </a:xfrm>
              <a:prstGeom prst="rect">
                <a:avLst/>
              </a:prstGeom>
              <a:noFill/>
            </p:spPr>
            <p:txBody>
              <a:bodyPr wrap="square" lIns="91440" tIns="45720" rIns="91440" bIns="45720" anchor="b" anchorCtr="0">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10000"/>
                  </a:lnSpc>
                </a:pPr>
                <a:r>
                  <a:rPr lang="zh-CN" altLang="en-US" b="1" dirty="0"/>
                  <a:t>担保融资平台</a:t>
                </a:r>
                <a:endParaRPr lang="zh-CN" altLang="en-US" b="1" dirty="0"/>
              </a:p>
            </p:txBody>
          </p:sp>
        </p:grpSp>
        <p:grpSp>
          <p:nvGrpSpPr>
            <p:cNvPr id="8" name="iṩļídè"/>
            <p:cNvGrpSpPr/>
            <p:nvPr/>
          </p:nvGrpSpPr>
          <p:grpSpPr>
            <a:xfrm>
              <a:off x="673099" y="3921579"/>
              <a:ext cx="2679701" cy="1331407"/>
              <a:chOff x="673099" y="3921579"/>
              <a:chExt cx="2609851" cy="1331407"/>
            </a:xfrm>
          </p:grpSpPr>
          <p:sp>
            <p:nvSpPr>
              <p:cNvPr id="17" name="í$ľïḓè"/>
              <p:cNvSpPr txBox="1"/>
              <p:nvPr/>
            </p:nvSpPr>
            <p:spPr>
              <a:xfrm flipH="1">
                <a:off x="673099" y="4279114"/>
                <a:ext cx="2609849" cy="973872"/>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zh-CN" altLang="en-US" sz="1100" dirty="0"/>
                  <a:t>由政府、人民银行、金融机构、贷款企业共同组成，使用人行再贷款资金发放小微企业贷款</a:t>
                </a:r>
                <a:endParaRPr lang="zh-CN" altLang="en-US" sz="1100" dirty="0"/>
              </a:p>
            </p:txBody>
          </p:sp>
          <p:sp>
            <p:nvSpPr>
              <p:cNvPr id="18" name="iśḷidè"/>
              <p:cNvSpPr/>
              <p:nvPr/>
            </p:nvSpPr>
            <p:spPr>
              <a:xfrm flipH="1">
                <a:off x="673101" y="3921579"/>
                <a:ext cx="2609849" cy="357534"/>
              </a:xfrm>
              <a:prstGeom prst="rect">
                <a:avLst/>
              </a:prstGeom>
              <a:noFill/>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t>支小贷融资平台</a:t>
                </a:r>
                <a:endParaRPr lang="zh-CN" altLang="en-US" b="1" dirty="0"/>
              </a:p>
            </p:txBody>
          </p:sp>
        </p:grpSp>
        <p:grpSp>
          <p:nvGrpSpPr>
            <p:cNvPr id="9" name="íṥļîḓe"/>
            <p:cNvGrpSpPr/>
            <p:nvPr/>
          </p:nvGrpSpPr>
          <p:grpSpPr>
            <a:xfrm>
              <a:off x="8839199" y="3898029"/>
              <a:ext cx="2679701" cy="1331407"/>
              <a:chOff x="8909049" y="3898029"/>
              <a:chExt cx="2609851" cy="1331407"/>
            </a:xfrm>
          </p:grpSpPr>
          <p:sp>
            <p:nvSpPr>
              <p:cNvPr id="15" name="íŝḻïḋe"/>
              <p:cNvSpPr txBox="1"/>
              <p:nvPr/>
            </p:nvSpPr>
            <p:spPr>
              <a:xfrm flipH="1">
                <a:off x="8909049" y="4255564"/>
                <a:ext cx="2609849" cy="973872"/>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zh-CN" altLang="en-US" sz="1100" dirty="0"/>
                  <a:t>由政府、国有金融服务机构共同出资组建转贷引导资金池，解决企业借新还旧问题</a:t>
                </a:r>
                <a:endParaRPr lang="zh-CN" altLang="en-US" sz="1100" dirty="0"/>
              </a:p>
              <a:p>
                <a:pPr algn="ctr">
                  <a:lnSpc>
                    <a:spcPct val="150000"/>
                  </a:lnSpc>
                </a:pPr>
                <a:endParaRPr lang="en-US" altLang="zh-CN" sz="1100" dirty="0"/>
              </a:p>
            </p:txBody>
          </p:sp>
          <p:sp>
            <p:nvSpPr>
              <p:cNvPr id="16" name="ïṩlíḋe"/>
              <p:cNvSpPr/>
              <p:nvPr/>
            </p:nvSpPr>
            <p:spPr>
              <a:xfrm flipH="1">
                <a:off x="8909051" y="3898029"/>
                <a:ext cx="2609849" cy="357534"/>
              </a:xfrm>
              <a:prstGeom prst="rect">
                <a:avLst/>
              </a:prstGeom>
              <a:noFill/>
            </p:spPr>
            <p:txBody>
              <a:bodyPr wrap="square" lIns="91440" tIns="45720" rIns="91440" bIns="45720" anchor="b" anchorCtr="0">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10000"/>
                  </a:lnSpc>
                </a:pPr>
                <a:r>
                  <a:rPr lang="zh-CN" altLang="en-US" b="1" dirty="0"/>
                  <a:t>转贷引导融资平台</a:t>
                </a:r>
                <a:endParaRPr lang="zh-CN" altLang="en-US" b="1" dirty="0"/>
              </a:p>
            </p:txBody>
          </p:sp>
        </p:grpSp>
        <p:grpSp>
          <p:nvGrpSpPr>
            <p:cNvPr id="10" name="íšḷïdè"/>
            <p:cNvGrpSpPr/>
            <p:nvPr/>
          </p:nvGrpSpPr>
          <p:grpSpPr>
            <a:xfrm>
              <a:off x="4727575" y="1130300"/>
              <a:ext cx="2736849" cy="2868955"/>
              <a:chOff x="4727575" y="1123950"/>
              <a:chExt cx="2736849" cy="2868955"/>
            </a:xfrm>
          </p:grpSpPr>
          <p:sp>
            <p:nvSpPr>
              <p:cNvPr id="11" name="ïṣlîḓe"/>
              <p:cNvSpPr/>
              <p:nvPr/>
            </p:nvSpPr>
            <p:spPr>
              <a:xfrm>
                <a:off x="5318760" y="1123950"/>
                <a:ext cx="1554480" cy="1554480"/>
              </a:xfrm>
              <a:prstGeom prst="ellipse">
                <a:avLst/>
              </a:prstGeom>
              <a:blipFill>
                <a:blip r:embed="rId2"/>
                <a:stretch>
                  <a:fillRect l="-16990" r="-16714"/>
                </a:stretch>
              </a:blipFill>
              <a:ln w="285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grpSp>
            <p:nvGrpSpPr>
              <p:cNvPr id="12" name="isļîḑê"/>
              <p:cNvGrpSpPr/>
              <p:nvPr/>
            </p:nvGrpSpPr>
            <p:grpSpPr>
              <a:xfrm>
                <a:off x="4727575" y="2756814"/>
                <a:ext cx="2736849" cy="1236091"/>
                <a:chOff x="4727574" y="2743679"/>
                <a:chExt cx="2736849" cy="1236091"/>
              </a:xfrm>
            </p:grpSpPr>
            <p:sp>
              <p:nvSpPr>
                <p:cNvPr id="13" name="iṣḷïdè"/>
                <p:cNvSpPr txBox="1"/>
                <p:nvPr/>
              </p:nvSpPr>
              <p:spPr>
                <a:xfrm flipH="1">
                  <a:off x="4727574" y="3182957"/>
                  <a:ext cx="2736849" cy="796813"/>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zh-CN" altLang="en-US" sz="1400" b="1" dirty="0">
                      <a:solidFill>
                        <a:srgbClr val="C00000"/>
                      </a:solidFill>
                    </a:rPr>
                    <a:t>风险补偿、贷款贴息和转贷过桥三类资金支持</a:t>
                  </a:r>
                  <a:endParaRPr lang="en-US" altLang="zh-CN" sz="1400" b="1" dirty="0">
                    <a:solidFill>
                      <a:srgbClr val="C00000"/>
                    </a:solidFill>
                  </a:endParaRPr>
                </a:p>
              </p:txBody>
            </p:sp>
            <p:sp>
              <p:nvSpPr>
                <p:cNvPr id="14" name="isḷiḓè"/>
                <p:cNvSpPr/>
                <p:nvPr/>
              </p:nvSpPr>
              <p:spPr>
                <a:xfrm flipH="1">
                  <a:off x="4727574" y="2743679"/>
                  <a:ext cx="2736849" cy="439278"/>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2000" b="1" i="1" dirty="0"/>
                    <a:t>定向扶持中小微企业</a:t>
                  </a:r>
                  <a:endParaRPr lang="zh-CN" altLang="en-US" sz="2000" b="1" i="1" dirty="0"/>
                </a:p>
              </p:txBody>
            </p:sp>
          </p:grpSp>
        </p:grpSp>
      </p:grpSp>
    </p:spTree>
    <p:custDataLst>
      <p:tags r:id="rId3"/>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税信通贷款业务</a:t>
            </a:r>
            <a:endParaRPr lang="zh-CN" altLang="en-US" dirty="0"/>
          </a:p>
        </p:txBody>
      </p:sp>
      <p:grpSp>
        <p:nvGrpSpPr>
          <p:cNvPr id="5" name="27188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 y="1093436"/>
            <a:ext cx="11520489" cy="5353648"/>
            <a:chOff x="-1" y="1093436"/>
            <a:chExt cx="11520489" cy="5353648"/>
          </a:xfrm>
        </p:grpSpPr>
        <p:grpSp>
          <p:nvGrpSpPr>
            <p:cNvPr id="6" name="ïŝḻïḍé"/>
            <p:cNvGrpSpPr/>
            <p:nvPr/>
          </p:nvGrpSpPr>
          <p:grpSpPr>
            <a:xfrm>
              <a:off x="2013010" y="1163782"/>
              <a:ext cx="1512000" cy="1669471"/>
              <a:chOff x="3542463" y="677140"/>
              <a:chExt cx="1512000" cy="1669471"/>
            </a:xfrm>
          </p:grpSpPr>
          <p:sp>
            <p:nvSpPr>
              <p:cNvPr id="25" name="ïṧ1íďê"/>
              <p:cNvSpPr/>
              <p:nvPr/>
            </p:nvSpPr>
            <p:spPr>
              <a:xfrm rot="16200000">
                <a:off x="3463727" y="755876"/>
                <a:ext cx="1669471" cy="1512000"/>
              </a:xfrm>
              <a:prstGeom prst="hexagon">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26" name="iṣliḍe"/>
              <p:cNvSpPr/>
              <p:nvPr/>
            </p:nvSpPr>
            <p:spPr bwMode="auto">
              <a:xfrm>
                <a:off x="3997975" y="1144142"/>
                <a:ext cx="663138" cy="608542"/>
              </a:xfrm>
              <a:custGeom>
                <a:avLst/>
                <a:gdLst>
                  <a:gd name="connsiteX0" fmla="*/ 350851 w 599171"/>
                  <a:gd name="connsiteY0" fmla="*/ 405257 h 549846"/>
                  <a:gd name="connsiteX1" fmla="*/ 394672 w 599171"/>
                  <a:gd name="connsiteY1" fmla="*/ 405257 h 549846"/>
                  <a:gd name="connsiteX2" fmla="*/ 394672 w 599171"/>
                  <a:gd name="connsiteY2" fmla="*/ 528464 h 549846"/>
                  <a:gd name="connsiteX3" fmla="*/ 350851 w 599171"/>
                  <a:gd name="connsiteY3" fmla="*/ 528464 h 549846"/>
                  <a:gd name="connsiteX4" fmla="*/ 418947 w 599171"/>
                  <a:gd name="connsiteY4" fmla="*/ 362989 h 549846"/>
                  <a:gd name="connsiteX5" fmla="*/ 462839 w 599171"/>
                  <a:gd name="connsiteY5" fmla="*/ 362989 h 549846"/>
                  <a:gd name="connsiteX6" fmla="*/ 462839 w 599171"/>
                  <a:gd name="connsiteY6" fmla="*/ 528465 h 549846"/>
                  <a:gd name="connsiteX7" fmla="*/ 418947 w 599171"/>
                  <a:gd name="connsiteY7" fmla="*/ 528465 h 549846"/>
                  <a:gd name="connsiteX8" fmla="*/ 487113 w 599171"/>
                  <a:gd name="connsiteY8" fmla="*/ 320932 h 549846"/>
                  <a:gd name="connsiteX9" fmla="*/ 531005 w 599171"/>
                  <a:gd name="connsiteY9" fmla="*/ 320932 h 549846"/>
                  <a:gd name="connsiteX10" fmla="*/ 531005 w 599171"/>
                  <a:gd name="connsiteY10" fmla="*/ 528465 h 549846"/>
                  <a:gd name="connsiteX11" fmla="*/ 487113 w 599171"/>
                  <a:gd name="connsiteY11" fmla="*/ 528465 h 549846"/>
                  <a:gd name="connsiteX12" fmla="*/ 555279 w 599171"/>
                  <a:gd name="connsiteY12" fmla="*/ 278945 h 549846"/>
                  <a:gd name="connsiteX13" fmla="*/ 599171 w 599171"/>
                  <a:gd name="connsiteY13" fmla="*/ 278945 h 549846"/>
                  <a:gd name="connsiteX14" fmla="*/ 599171 w 599171"/>
                  <a:gd name="connsiteY14" fmla="*/ 528464 h 549846"/>
                  <a:gd name="connsiteX15" fmla="*/ 555279 w 599171"/>
                  <a:gd name="connsiteY15" fmla="*/ 528464 h 549846"/>
                  <a:gd name="connsiteX16" fmla="*/ 257092 w 599171"/>
                  <a:gd name="connsiteY16" fmla="*/ 0 h 549846"/>
                  <a:gd name="connsiteX17" fmla="*/ 399061 w 599171"/>
                  <a:gd name="connsiteY17" fmla="*/ 142037 h 549846"/>
                  <a:gd name="connsiteX18" fmla="*/ 320591 w 599171"/>
                  <a:gd name="connsiteY18" fmla="*/ 290261 h 549846"/>
                  <a:gd name="connsiteX19" fmla="*/ 424874 w 599171"/>
                  <a:gd name="connsiteY19" fmla="*/ 341559 h 549846"/>
                  <a:gd name="connsiteX20" fmla="*/ 397512 w 599171"/>
                  <a:gd name="connsiteY20" fmla="*/ 341559 h 549846"/>
                  <a:gd name="connsiteX21" fmla="*/ 397512 w 599171"/>
                  <a:gd name="connsiteY21" fmla="*/ 383578 h 549846"/>
                  <a:gd name="connsiteX22" fmla="*/ 329367 w 599171"/>
                  <a:gd name="connsiteY22" fmla="*/ 383578 h 549846"/>
                  <a:gd name="connsiteX23" fmla="*/ 329367 w 599171"/>
                  <a:gd name="connsiteY23" fmla="*/ 547526 h 549846"/>
                  <a:gd name="connsiteX24" fmla="*/ 257092 w 599171"/>
                  <a:gd name="connsiteY24" fmla="*/ 549846 h 549846"/>
                  <a:gd name="connsiteX25" fmla="*/ 329109 w 599171"/>
                  <a:gd name="connsiteY25" fmla="*/ 477925 h 549846"/>
                  <a:gd name="connsiteX26" fmla="*/ 268450 w 599171"/>
                  <a:gd name="connsiteY26" fmla="*/ 331506 h 549846"/>
                  <a:gd name="connsiteX27" fmla="*/ 269224 w 599171"/>
                  <a:gd name="connsiteY27" fmla="*/ 331506 h 549846"/>
                  <a:gd name="connsiteX28" fmla="*/ 292714 w 599171"/>
                  <a:gd name="connsiteY28" fmla="*/ 304439 h 549846"/>
                  <a:gd name="connsiteX29" fmla="*/ 257092 w 599171"/>
                  <a:gd name="connsiteY29" fmla="*/ 311141 h 549846"/>
                  <a:gd name="connsiteX30" fmla="*/ 221471 w 599171"/>
                  <a:gd name="connsiteY30" fmla="*/ 304439 h 549846"/>
                  <a:gd name="connsiteX31" fmla="*/ 245219 w 599171"/>
                  <a:gd name="connsiteY31" fmla="*/ 331506 h 549846"/>
                  <a:gd name="connsiteX32" fmla="*/ 245735 w 599171"/>
                  <a:gd name="connsiteY32" fmla="*/ 331506 h 549846"/>
                  <a:gd name="connsiteX33" fmla="*/ 185075 w 599171"/>
                  <a:gd name="connsiteY33" fmla="*/ 477925 h 549846"/>
                  <a:gd name="connsiteX34" fmla="*/ 257092 w 599171"/>
                  <a:gd name="connsiteY34" fmla="*/ 549846 h 549846"/>
                  <a:gd name="connsiteX35" fmla="*/ 0 w 599171"/>
                  <a:gd name="connsiteY35" fmla="*/ 486432 h 549846"/>
                  <a:gd name="connsiteX36" fmla="*/ 193594 w 599171"/>
                  <a:gd name="connsiteY36" fmla="*/ 290261 h 549846"/>
                  <a:gd name="connsiteX37" fmla="*/ 115124 w 599171"/>
                  <a:gd name="connsiteY37" fmla="*/ 142037 h 549846"/>
                  <a:gd name="connsiteX38" fmla="*/ 257092 w 599171"/>
                  <a:gd name="connsiteY38" fmla="*/ 0 h 54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9171" h="549846">
                    <a:moveTo>
                      <a:pt x="350851" y="405257"/>
                    </a:moveTo>
                    <a:lnTo>
                      <a:pt x="394672" y="405257"/>
                    </a:lnTo>
                    <a:lnTo>
                      <a:pt x="394672" y="528464"/>
                    </a:lnTo>
                    <a:lnTo>
                      <a:pt x="350851" y="528464"/>
                    </a:lnTo>
                    <a:close/>
                    <a:moveTo>
                      <a:pt x="418947" y="362989"/>
                    </a:moveTo>
                    <a:lnTo>
                      <a:pt x="462839" y="362989"/>
                    </a:lnTo>
                    <a:lnTo>
                      <a:pt x="462839" y="528465"/>
                    </a:lnTo>
                    <a:lnTo>
                      <a:pt x="418947" y="528465"/>
                    </a:lnTo>
                    <a:close/>
                    <a:moveTo>
                      <a:pt x="487113" y="320932"/>
                    </a:moveTo>
                    <a:lnTo>
                      <a:pt x="531005" y="320932"/>
                    </a:lnTo>
                    <a:lnTo>
                      <a:pt x="531005" y="528465"/>
                    </a:lnTo>
                    <a:lnTo>
                      <a:pt x="487113" y="528465"/>
                    </a:lnTo>
                    <a:close/>
                    <a:moveTo>
                      <a:pt x="555279" y="278945"/>
                    </a:moveTo>
                    <a:lnTo>
                      <a:pt x="599171" y="278945"/>
                    </a:lnTo>
                    <a:lnTo>
                      <a:pt x="599171" y="528464"/>
                    </a:lnTo>
                    <a:lnTo>
                      <a:pt x="555279" y="528464"/>
                    </a:lnTo>
                    <a:close/>
                    <a:moveTo>
                      <a:pt x="257092" y="0"/>
                    </a:moveTo>
                    <a:cubicBezTo>
                      <a:pt x="335562" y="0"/>
                      <a:pt x="399061" y="63672"/>
                      <a:pt x="399061" y="142037"/>
                    </a:cubicBezTo>
                    <a:cubicBezTo>
                      <a:pt x="399061" y="197460"/>
                      <a:pt x="367054" y="259069"/>
                      <a:pt x="320591" y="290261"/>
                    </a:cubicBezTo>
                    <a:cubicBezTo>
                      <a:pt x="359826" y="300314"/>
                      <a:pt x="395447" y="318875"/>
                      <a:pt x="424874" y="341559"/>
                    </a:cubicBezTo>
                    <a:lnTo>
                      <a:pt x="397512" y="341559"/>
                    </a:lnTo>
                    <a:lnTo>
                      <a:pt x="397512" y="383578"/>
                    </a:lnTo>
                    <a:lnTo>
                      <a:pt x="329367" y="383578"/>
                    </a:lnTo>
                    <a:lnTo>
                      <a:pt x="329367" y="547526"/>
                    </a:lnTo>
                    <a:cubicBezTo>
                      <a:pt x="305878" y="549073"/>
                      <a:pt x="281614" y="549846"/>
                      <a:pt x="257092" y="549846"/>
                    </a:cubicBezTo>
                    <a:lnTo>
                      <a:pt x="329109" y="477925"/>
                    </a:lnTo>
                    <a:lnTo>
                      <a:pt x="268450" y="331506"/>
                    </a:lnTo>
                    <a:lnTo>
                      <a:pt x="269224" y="331506"/>
                    </a:lnTo>
                    <a:lnTo>
                      <a:pt x="292714" y="304439"/>
                    </a:lnTo>
                    <a:cubicBezTo>
                      <a:pt x="281356" y="308563"/>
                      <a:pt x="269482" y="311141"/>
                      <a:pt x="257092" y="311141"/>
                    </a:cubicBezTo>
                    <a:cubicBezTo>
                      <a:pt x="244961" y="311141"/>
                      <a:pt x="233087" y="308563"/>
                      <a:pt x="221471" y="304439"/>
                    </a:cubicBezTo>
                    <a:lnTo>
                      <a:pt x="245219" y="331506"/>
                    </a:lnTo>
                    <a:lnTo>
                      <a:pt x="245735" y="331506"/>
                    </a:lnTo>
                    <a:lnTo>
                      <a:pt x="185075" y="477925"/>
                    </a:lnTo>
                    <a:lnTo>
                      <a:pt x="257092" y="549846"/>
                    </a:lnTo>
                    <a:cubicBezTo>
                      <a:pt x="128546" y="549846"/>
                      <a:pt x="0" y="528708"/>
                      <a:pt x="0" y="486432"/>
                    </a:cubicBezTo>
                    <a:cubicBezTo>
                      <a:pt x="0" y="415027"/>
                      <a:pt x="82342" y="318617"/>
                      <a:pt x="193594" y="290261"/>
                    </a:cubicBezTo>
                    <a:cubicBezTo>
                      <a:pt x="147131" y="259069"/>
                      <a:pt x="115124" y="197460"/>
                      <a:pt x="115124" y="142037"/>
                    </a:cubicBezTo>
                    <a:cubicBezTo>
                      <a:pt x="115124" y="63672"/>
                      <a:pt x="178622" y="0"/>
                      <a:pt x="257092" y="0"/>
                    </a:cubicBezTo>
                    <a:close/>
                  </a:path>
                </a:pathLst>
              </a:custGeom>
              <a:solidFill>
                <a:schemeClr val="bg1"/>
              </a:solidFill>
              <a:ln w="0">
                <a:noFill/>
                <a:prstDash val="solid"/>
                <a:round/>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solidFill>
                    <a:schemeClr val="bg1"/>
                  </a:solidFill>
                </a:endParaRPr>
              </a:p>
            </p:txBody>
          </p:sp>
        </p:grpSp>
        <p:sp>
          <p:nvSpPr>
            <p:cNvPr id="7" name="ïṧlîďé"/>
            <p:cNvSpPr txBox="1"/>
            <p:nvPr/>
          </p:nvSpPr>
          <p:spPr>
            <a:xfrm>
              <a:off x="3898901" y="1093436"/>
              <a:ext cx="7371772" cy="735364"/>
            </a:xfrm>
            <a:prstGeom prst="rect">
              <a:avLst/>
            </a:prstGeom>
            <a:noFill/>
            <a:ln>
              <a:noFill/>
            </a:ln>
          </p:spPr>
          <p:txBody>
            <a:bodyPr wrap="square" lIns="91440" tIns="45720" rIns="91440" bIns="45720" anchor="b" anchorCtr="0">
              <a:normAutofit/>
            </a:bodyPr>
            <a:lstStyle/>
            <a:p>
              <a:pPr>
                <a:lnSpc>
                  <a:spcPct val="120000"/>
                </a:lnSpc>
              </a:pP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rPr>
                <a:t>是指我行为按时、足额纳税的企（事）业法人或国家规定可以作为借款人的经济组织发放的用于补充其日常经营活动所需要的各项资金需求的贷款。</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8" name="íS1iḋe"/>
            <p:cNvSpPr txBox="1"/>
            <p:nvPr/>
          </p:nvSpPr>
          <p:spPr>
            <a:xfrm>
              <a:off x="3898901" y="1878737"/>
              <a:ext cx="7619998" cy="1393023"/>
            </a:xfrm>
            <a:prstGeom prst="rect">
              <a:avLst/>
            </a:prstGeom>
            <a:noFill/>
            <a:ln>
              <a:noFill/>
            </a:ln>
          </p:spPr>
          <p:txBody>
            <a:bodyPr wrap="square" lIns="91440" tIns="45720" rIns="91440" bIns="45720" anchor="ctr" anchorCtr="0">
              <a:normAutofit/>
            </a:bodyPr>
            <a:lstStyle/>
            <a:p>
              <a:pPr marL="381000" indent="-381000">
                <a:lnSpc>
                  <a:spcPct val="150000"/>
                </a:lnSpc>
                <a:buFont typeface="Wingdings" panose="05000000000000000000" pitchFamily="2" charset="2"/>
                <a:buChar char="ü"/>
              </a:pPr>
              <a:r>
                <a:rPr lang="zh-CN" altLang="en-US" sz="1600" b="1" dirty="0">
                  <a:solidFill>
                    <a:srgbClr val="C00000"/>
                  </a:solidFill>
                  <a:latin typeface="微软雅黑" panose="020B0503020204020204" pitchFamily="34" charset="-122"/>
                  <a:ea typeface="微软雅黑" panose="020B0503020204020204" pitchFamily="34" charset="-122"/>
                </a:rPr>
                <a:t>重点支持：</a:t>
              </a:r>
              <a:endParaRPr lang="en-US" altLang="zh-CN" sz="1600" b="1" dirty="0">
                <a:solidFill>
                  <a:srgbClr val="C00000"/>
                </a:solidFill>
                <a:latin typeface="微软雅黑" panose="020B0503020204020204" pitchFamily="34" charset="-122"/>
                <a:ea typeface="微软雅黑" panose="020B0503020204020204" pitchFamily="34" charset="-122"/>
              </a:endParaRPr>
            </a:p>
            <a:p>
              <a:pPr>
                <a:lnSpc>
                  <a:spcPct val="150000"/>
                </a:lnSpc>
              </a:pPr>
              <a:r>
                <a:rPr lang="en-US" altLang="zh-CN" sz="1600" dirty="0">
                  <a:solidFill>
                    <a:schemeClr val="tx1">
                      <a:lumMod val="95000"/>
                      <a:lumOff val="5000"/>
                    </a:schemeClr>
                  </a:solidFill>
                  <a:latin typeface="微软雅黑" panose="020B0503020204020204" pitchFamily="34" charset="-122"/>
                  <a:ea typeface="微软雅黑" panose="020B0503020204020204" pitchFamily="34" charset="-122"/>
                  <a:sym typeface="宋体" panose="02010600030101010101" pitchFamily="2" charset="-122"/>
                </a:rPr>
                <a:t>1.</a:t>
              </a:r>
              <a:r>
                <a:rPr lang="zh-CN" altLang="en-US" sz="1600" dirty="0">
                  <a:solidFill>
                    <a:schemeClr val="tx1">
                      <a:lumMod val="95000"/>
                      <a:lumOff val="5000"/>
                    </a:schemeClr>
                  </a:solidFill>
                  <a:latin typeface="微软雅黑" panose="020B0503020204020204" pitchFamily="34" charset="-122"/>
                  <a:ea typeface="微软雅黑" panose="020B0503020204020204" pitchFamily="34" charset="-122"/>
                  <a:sym typeface="宋体" panose="02010600030101010101" pitchFamily="2" charset="-122"/>
                </a:rPr>
                <a:t>纳税情况良好的企业；</a:t>
              </a:r>
              <a:endParaRPr lang="en-US" altLang="zh-CN" sz="1600" dirty="0">
                <a:solidFill>
                  <a:schemeClr val="tx1">
                    <a:lumMod val="95000"/>
                    <a:lumOff val="5000"/>
                  </a:schemeClr>
                </a:solidFill>
                <a:latin typeface="微软雅黑" panose="020B0503020204020204" pitchFamily="34" charset="-122"/>
                <a:ea typeface="微软雅黑" panose="020B0503020204020204" pitchFamily="34" charset="-122"/>
                <a:sym typeface="宋体" panose="02010600030101010101" pitchFamily="2" charset="-122"/>
              </a:endParaRPr>
            </a:p>
            <a:p>
              <a:pPr>
                <a:lnSpc>
                  <a:spcPct val="150000"/>
                </a:lnSpc>
              </a:pPr>
              <a:r>
                <a:rPr lang="en-US" altLang="zh-CN" sz="1600" dirty="0">
                  <a:solidFill>
                    <a:schemeClr val="tx1">
                      <a:lumMod val="95000"/>
                      <a:lumOff val="5000"/>
                    </a:schemeClr>
                  </a:solidFill>
                  <a:latin typeface="微软雅黑" panose="020B0503020204020204" pitchFamily="34" charset="-122"/>
                  <a:ea typeface="微软雅黑" panose="020B0503020204020204" pitchFamily="34" charset="-122"/>
                  <a:sym typeface="宋体" panose="02010600030101010101" pitchFamily="2" charset="-122"/>
                </a:rPr>
                <a:t>2.</a:t>
              </a:r>
              <a:r>
                <a:rPr lang="zh-CN" altLang="en-US" sz="1600" dirty="0">
                  <a:solidFill>
                    <a:schemeClr val="tx1">
                      <a:lumMod val="95000"/>
                      <a:lumOff val="5000"/>
                    </a:schemeClr>
                  </a:solidFill>
                  <a:latin typeface="微软雅黑" panose="020B0503020204020204" pitchFamily="34" charset="-122"/>
                  <a:ea typeface="微软雅黑" panose="020B0503020204020204" pitchFamily="34" charset="-122"/>
                  <a:sym typeface="宋体" panose="02010600030101010101" pitchFamily="2" charset="-122"/>
                </a:rPr>
                <a:t>无合适的抵押资产或有抵押资产但相对于贷款需求额度不足的企业</a:t>
              </a:r>
              <a:endParaRPr lang="en-US" altLang="zh-CN" sz="1600" dirty="0">
                <a:solidFill>
                  <a:srgbClr val="C00000"/>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3990975" y="3218467"/>
              <a:ext cx="7527924" cy="0"/>
            </a:xfrm>
            <a:prstGeom prst="line">
              <a:avLst/>
            </a:prstGeom>
            <a:ln w="285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10" name="iṩļíḑe"/>
            <p:cNvGrpSpPr/>
            <p:nvPr/>
          </p:nvGrpSpPr>
          <p:grpSpPr>
            <a:xfrm>
              <a:off x="3990975" y="3405555"/>
              <a:ext cx="3861435" cy="3041529"/>
              <a:chOff x="6354147" y="3405555"/>
              <a:chExt cx="3861435" cy="3041529"/>
            </a:xfrm>
          </p:grpSpPr>
          <p:sp>
            <p:nvSpPr>
              <p:cNvPr id="19" name="iṧ1idé"/>
              <p:cNvSpPr/>
              <p:nvPr/>
            </p:nvSpPr>
            <p:spPr bwMode="auto">
              <a:xfrm>
                <a:off x="6944753" y="3847360"/>
                <a:ext cx="2622784" cy="1212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088390">
                  <a:lnSpc>
                    <a:spcPct val="130000"/>
                  </a:lnSpc>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rPr>
                  <a:t>贷款额度：</a:t>
                </a:r>
                <a:r>
                  <a:rPr lang="en-US" altLang="zh-CN" sz="1400" b="1" dirty="0">
                    <a:solidFill>
                      <a:srgbClr val="C00000"/>
                    </a:solidFill>
                    <a:latin typeface="微软雅黑" panose="020B0503020204020204" pitchFamily="34" charset="-122"/>
                    <a:ea typeface="微软雅黑" panose="020B0503020204020204" pitchFamily="34" charset="-122"/>
                    <a:cs typeface="Open Sans" pitchFamily="34" charset="0"/>
                  </a:rPr>
                  <a:t>300</a:t>
                </a:r>
                <a:r>
                  <a:rPr lang="zh-CN" altLang="en-US" sz="1400" b="1" dirty="0">
                    <a:solidFill>
                      <a:srgbClr val="C00000"/>
                    </a:solidFill>
                    <a:latin typeface="微软雅黑" panose="020B0503020204020204" pitchFamily="34" charset="-122"/>
                    <a:ea typeface="微软雅黑" panose="020B0503020204020204" pitchFamily="34" charset="-122"/>
                    <a:cs typeface="Open Sans" pitchFamily="34" charset="0"/>
                  </a:rPr>
                  <a:t>万元</a:t>
                </a:r>
                <a:endParaRPr lang="zh-CN" altLang="en-US" sz="1400" b="1" dirty="0">
                  <a:solidFill>
                    <a:srgbClr val="C00000"/>
                  </a:solidFill>
                  <a:latin typeface="微软雅黑" panose="020B0503020204020204" pitchFamily="34" charset="-122"/>
                  <a:ea typeface="微软雅黑" panose="020B0503020204020204" pitchFamily="34" charset="-122"/>
                  <a:cs typeface="Open Sans" pitchFamily="34" charset="0"/>
                </a:endParaRPr>
              </a:p>
              <a:p>
                <a:pPr defTabSz="1088390">
                  <a:lnSpc>
                    <a:spcPct val="130000"/>
                  </a:lnSpc>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rPr>
                  <a:t>贷款期限：授信期限最长</a:t>
                </a:r>
                <a:r>
                  <a:rPr lang="en-US" altLang="zh-CN" sz="1400" b="1" dirty="0">
                    <a:solidFill>
                      <a:srgbClr val="C00000"/>
                    </a:solidFill>
                    <a:latin typeface="微软雅黑" panose="020B0503020204020204" pitchFamily="34" charset="-122"/>
                    <a:ea typeface="微软雅黑" panose="020B0503020204020204" pitchFamily="34" charset="-122"/>
                    <a:cs typeface="Open Sans" pitchFamily="34" charset="0"/>
                  </a:rPr>
                  <a:t>1</a:t>
                </a:r>
                <a:r>
                  <a:rPr lang="zh-CN" altLang="en-US" sz="1400" b="1" dirty="0">
                    <a:solidFill>
                      <a:srgbClr val="C00000"/>
                    </a:solidFill>
                    <a:latin typeface="微软雅黑" panose="020B0503020204020204" pitchFamily="34" charset="-122"/>
                    <a:ea typeface="微软雅黑" panose="020B0503020204020204" pitchFamily="34" charset="-122"/>
                    <a:cs typeface="Open Sans" pitchFamily="34" charset="0"/>
                  </a:rPr>
                  <a:t>年（含），</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rPr>
                  <a:t>单笔期限最长</a:t>
                </a:r>
                <a:r>
                  <a:rPr lang="en-US" altLang="zh-CN" sz="1400" b="1" dirty="0">
                    <a:solidFill>
                      <a:srgbClr val="C00000"/>
                    </a:solidFill>
                    <a:latin typeface="微软雅黑" panose="020B0503020204020204" pitchFamily="34" charset="-122"/>
                    <a:ea typeface="微软雅黑" panose="020B0503020204020204" pitchFamily="34" charset="-122"/>
                    <a:cs typeface="Open Sans" pitchFamily="34" charset="0"/>
                  </a:rPr>
                  <a:t>2</a:t>
                </a:r>
                <a:r>
                  <a:rPr lang="zh-CN" altLang="en-US" sz="1400" b="1" dirty="0">
                    <a:solidFill>
                      <a:srgbClr val="C00000"/>
                    </a:solidFill>
                    <a:latin typeface="微软雅黑" panose="020B0503020204020204" pitchFamily="34" charset="-122"/>
                    <a:ea typeface="微软雅黑" panose="020B0503020204020204" pitchFamily="34" charset="-122"/>
                    <a:cs typeface="Open Sans" pitchFamily="34" charset="0"/>
                  </a:rPr>
                  <a:t>年（含）</a:t>
                </a:r>
                <a:endParaRPr lang="en-US" altLang="zh-CN" sz="1400" b="1" dirty="0">
                  <a:solidFill>
                    <a:srgbClr val="C00000"/>
                  </a:solidFill>
                  <a:latin typeface="微软雅黑" panose="020B0503020204020204" pitchFamily="34" charset="-122"/>
                  <a:ea typeface="微软雅黑" panose="020B0503020204020204" pitchFamily="34" charset="-122"/>
                  <a:cs typeface="Open Sans" pitchFamily="34" charset="0"/>
                </a:endParaRPr>
              </a:p>
            </p:txBody>
          </p:sp>
          <p:sp>
            <p:nvSpPr>
              <p:cNvPr id="20" name="íšḷiḑê"/>
              <p:cNvSpPr txBox="1"/>
              <p:nvPr/>
            </p:nvSpPr>
            <p:spPr bwMode="auto">
              <a:xfrm>
                <a:off x="6944752" y="3405555"/>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产品要素</a:t>
                </a:r>
                <a:endParaRPr lang="zh-CN" altLang="en-US" b="1" dirty="0">
                  <a:solidFill>
                    <a:schemeClr val="dk1">
                      <a:lumMod val="100000"/>
                    </a:schemeClr>
                  </a:solidFill>
                </a:endParaRPr>
              </a:p>
            </p:txBody>
          </p:sp>
          <p:sp>
            <p:nvSpPr>
              <p:cNvPr id="21" name="î$ḷíḓê"/>
              <p:cNvSpPr/>
              <p:nvPr/>
            </p:nvSpPr>
            <p:spPr bwMode="auto">
              <a:xfrm>
                <a:off x="6354147" y="3638549"/>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2" name="ï$ļïḓê"/>
              <p:cNvSpPr/>
              <p:nvPr/>
            </p:nvSpPr>
            <p:spPr bwMode="auto">
              <a:xfrm>
                <a:off x="6944752" y="5501988"/>
                <a:ext cx="3270830" cy="94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defTabSz="914400">
                  <a:lnSpc>
                    <a:spcPct val="130000"/>
                  </a:lnSpc>
                  <a:spcBef>
                    <a:spcPct val="0"/>
                  </a:spcBef>
                  <a:buFont typeface="Arial" panose="020B0604020202020204" pitchFamily="34" charset="0"/>
                  <a:buChar char="•"/>
                </a:pPr>
                <a:r>
                  <a:rPr lang="zh-CN" altLang="en-US" sz="1400" dirty="0">
                    <a:latin typeface="+mn-ea"/>
                  </a:rPr>
                  <a:t>以税定贷，无需抵押，由</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rPr>
                  <a:t>实际控制人、股东及其配偶连带责任保证担保即可；</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endParaRPr>
              </a:p>
              <a:p>
                <a:pPr marL="171450" indent="-171450" defTabSz="914400">
                  <a:lnSpc>
                    <a:spcPct val="130000"/>
                  </a:lnSpc>
                  <a:spcBef>
                    <a:spcPct val="0"/>
                  </a:spcBef>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rPr>
                  <a:t>办理手续简便，还款方式灵活。</a:t>
                </a:r>
                <a:endPar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endParaRPr>
              </a:p>
              <a:p>
                <a:pPr marL="171450" indent="-171450" defTabSz="914400">
                  <a:lnSpc>
                    <a:spcPct val="130000"/>
                  </a:lnSpc>
                  <a:spcBef>
                    <a:spcPct val="0"/>
                  </a:spcBef>
                  <a:buFont typeface="Arial" panose="020B0604020202020204" pitchFamily="34" charset="0"/>
                  <a:buChar char="•"/>
                </a:pPr>
                <a:endPar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Open Sans" pitchFamily="34" charset="0"/>
                </a:endParaRPr>
              </a:p>
              <a:p>
                <a:pPr marL="171450" indent="-171450" defTabSz="914400">
                  <a:lnSpc>
                    <a:spcPct val="130000"/>
                  </a:lnSpc>
                  <a:spcBef>
                    <a:spcPct val="0"/>
                  </a:spcBef>
                  <a:buFont typeface="Arial" panose="020B0604020202020204" pitchFamily="34" charset="0"/>
                  <a:buChar char="•"/>
                </a:pPr>
                <a:endParaRPr lang="zh-CN" altLang="en-US" sz="1400" dirty="0">
                  <a:latin typeface="+mn-ea"/>
                </a:endParaRPr>
              </a:p>
            </p:txBody>
          </p:sp>
          <p:sp>
            <p:nvSpPr>
              <p:cNvPr id="23" name="işļíḓè"/>
              <p:cNvSpPr txBox="1"/>
              <p:nvPr/>
            </p:nvSpPr>
            <p:spPr bwMode="auto">
              <a:xfrm>
                <a:off x="6944752" y="5060183"/>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产品特点</a:t>
                </a:r>
                <a:endParaRPr lang="zh-CN" altLang="en-US" b="1" dirty="0">
                  <a:solidFill>
                    <a:schemeClr val="dk1">
                      <a:lumMod val="100000"/>
                    </a:schemeClr>
                  </a:solidFill>
                </a:endParaRPr>
              </a:p>
            </p:txBody>
          </p:sp>
          <p:sp>
            <p:nvSpPr>
              <p:cNvPr id="24" name="ïṧľiḋe"/>
              <p:cNvSpPr/>
              <p:nvPr/>
            </p:nvSpPr>
            <p:spPr bwMode="auto">
              <a:xfrm>
                <a:off x="6354147" y="5293177"/>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1" name="îşļíḓé"/>
            <p:cNvSpPr/>
            <p:nvPr/>
          </p:nvSpPr>
          <p:spPr>
            <a:xfrm>
              <a:off x="-1" y="1495425"/>
              <a:ext cx="1990725" cy="981075"/>
            </a:xfrm>
            <a:prstGeom prst="rect">
              <a:avLst/>
            </a:prstGeom>
            <a:blipFill>
              <a:blip r:embed="rId2"/>
              <a:stretch>
                <a:fillRect t="-17867" b="-17408"/>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a:solidFill>
                  <a:schemeClr val="bg1"/>
                </a:solidFill>
              </a:endParaRPr>
            </a:p>
          </p:txBody>
        </p:sp>
        <p:grpSp>
          <p:nvGrpSpPr>
            <p:cNvPr id="12" name="iṥ1íḍé"/>
            <p:cNvGrpSpPr/>
            <p:nvPr/>
          </p:nvGrpSpPr>
          <p:grpSpPr>
            <a:xfrm>
              <a:off x="8111510" y="3405555"/>
              <a:ext cx="3408978" cy="2893285"/>
              <a:chOff x="6354147" y="3405555"/>
              <a:chExt cx="3408978" cy="2893285"/>
            </a:xfrm>
          </p:grpSpPr>
          <p:sp>
            <p:nvSpPr>
              <p:cNvPr id="13" name="iš1ídé"/>
              <p:cNvSpPr/>
              <p:nvPr/>
            </p:nvSpPr>
            <p:spPr bwMode="auto">
              <a:xfrm>
                <a:off x="6944752" y="3847359"/>
                <a:ext cx="2818373" cy="2451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50000"/>
                  </a:lnSpc>
                  <a:buFont typeface="Wingdings" panose="05000000000000000000" pitchFamily="2" charset="2"/>
                  <a:buChar char="Ø"/>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申请人持续经营</a:t>
                </a:r>
                <a:r>
                  <a:rPr lang="en-US" altLang="zh-CN" sz="1400" b="1" dirty="0">
                    <a:solidFill>
                      <a:srgbClr val="C00000"/>
                    </a:solidFill>
                    <a:latin typeface="微软雅黑" panose="020B0503020204020204" pitchFamily="34" charset="-122"/>
                    <a:ea typeface="微软雅黑" panose="020B0503020204020204" pitchFamily="34" charset="-122"/>
                  </a:rPr>
                  <a:t>3</a:t>
                </a:r>
                <a:r>
                  <a:rPr lang="zh-CN" altLang="en-US" sz="1400" b="1" dirty="0">
                    <a:solidFill>
                      <a:srgbClr val="C00000"/>
                    </a:solidFill>
                    <a:latin typeface="微软雅黑" panose="020B0503020204020204" pitchFamily="34" charset="-122"/>
                    <a:ea typeface="微软雅黑" panose="020B0503020204020204" pitchFamily="34" charset="-122"/>
                  </a:rPr>
                  <a:t>年</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以上</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上</a:t>
                </a:r>
                <a:r>
                  <a:rPr lang="en-US" altLang="zh-CN" sz="1400" b="1" dirty="0">
                    <a:solidFill>
                      <a:srgbClr val="C00000"/>
                    </a:solidFill>
                    <a:latin typeface="微软雅黑" panose="020B0503020204020204" pitchFamily="34" charset="-122"/>
                    <a:ea typeface="微软雅黑" panose="020B0503020204020204" pitchFamily="34" charset="-122"/>
                  </a:rPr>
                  <a:t>2</a:t>
                </a:r>
                <a:r>
                  <a:rPr lang="zh-CN" altLang="en-US" sz="1400" b="1" dirty="0">
                    <a:solidFill>
                      <a:srgbClr val="C00000"/>
                    </a:solidFill>
                    <a:latin typeface="微软雅黑" panose="020B0503020204020204" pitchFamily="34" charset="-122"/>
                    <a:ea typeface="微软雅黑" panose="020B0503020204020204" pitchFamily="34" charset="-122"/>
                  </a:rPr>
                  <a:t>年</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为</a:t>
                </a:r>
                <a:r>
                  <a:rPr lang="en-US" altLang="zh-CN" sz="1400" b="1" dirty="0">
                    <a:solidFill>
                      <a:srgbClr val="C00000"/>
                    </a:solidFill>
                    <a:latin typeface="微软雅黑" panose="020B0503020204020204" pitchFamily="34" charset="-122"/>
                    <a:ea typeface="微软雅黑" panose="020B0503020204020204" pitchFamily="34" charset="-122"/>
                  </a:rPr>
                  <a:t>B</a:t>
                </a:r>
                <a:r>
                  <a:rPr lang="zh-CN" altLang="en-US" sz="1400" b="1" dirty="0">
                    <a:solidFill>
                      <a:srgbClr val="C00000"/>
                    </a:solidFill>
                    <a:latin typeface="微软雅黑" panose="020B0503020204020204" pitchFamily="34" charset="-122"/>
                    <a:ea typeface="微软雅黑" panose="020B0503020204020204" pitchFamily="34" charset="-122"/>
                  </a:rPr>
                  <a:t>级</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纳税人且纳税总额均≥</a:t>
                </a:r>
                <a:r>
                  <a:rPr lang="en-US" altLang="zh-CN" sz="1400" b="1" dirty="0">
                    <a:solidFill>
                      <a:srgbClr val="C00000"/>
                    </a:solidFill>
                    <a:latin typeface="微软雅黑" panose="020B0503020204020204" pitchFamily="34" charset="-122"/>
                    <a:ea typeface="微软雅黑" panose="020B0503020204020204" pitchFamily="34" charset="-122"/>
                  </a:rPr>
                  <a:t>20</a:t>
                </a:r>
                <a:r>
                  <a:rPr lang="zh-CN" altLang="en-US" sz="1400" b="1" dirty="0">
                    <a:solidFill>
                      <a:srgbClr val="C00000"/>
                    </a:solidFill>
                    <a:latin typeface="微软雅黑" panose="020B0503020204020204" pitchFamily="34" charset="-122"/>
                    <a:ea typeface="微软雅黑" panose="020B0503020204020204" pitchFamily="34" charset="-122"/>
                  </a:rPr>
                  <a:t>万元</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在本行信用等级评定</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rPr>
                  <a:t>A</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级以上；</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信用记录良好。</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4" name="ïSľíḋe"/>
              <p:cNvSpPr txBox="1"/>
              <p:nvPr/>
            </p:nvSpPr>
            <p:spPr bwMode="auto">
              <a:xfrm>
                <a:off x="6944752" y="3405555"/>
                <a:ext cx="281837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9200">
                  <a:spcBef>
                    <a:spcPct val="0"/>
                  </a:spcBef>
                  <a:defRPr/>
                </a:pPr>
                <a:r>
                  <a:rPr lang="zh-CN" altLang="en-US" b="1" dirty="0">
                    <a:solidFill>
                      <a:schemeClr val="dk1">
                        <a:lumMod val="100000"/>
                      </a:schemeClr>
                    </a:solidFill>
                  </a:rPr>
                  <a:t>贷款要求</a:t>
                </a:r>
                <a:endParaRPr lang="zh-CN" altLang="en-US" b="1" dirty="0">
                  <a:solidFill>
                    <a:schemeClr val="dk1">
                      <a:lumMod val="100000"/>
                    </a:schemeClr>
                  </a:solidFill>
                </a:endParaRPr>
              </a:p>
            </p:txBody>
          </p:sp>
          <p:sp>
            <p:nvSpPr>
              <p:cNvPr id="15" name="í$1iďe"/>
              <p:cNvSpPr/>
              <p:nvPr/>
            </p:nvSpPr>
            <p:spPr bwMode="auto">
              <a:xfrm>
                <a:off x="6354147" y="3638549"/>
                <a:ext cx="397846" cy="398217"/>
              </a:xfrm>
              <a:custGeom>
                <a:avLst/>
                <a:gdLst>
                  <a:gd name="connsiteX0" fmla="*/ 451337 w 606157"/>
                  <a:gd name="connsiteY0" fmla="*/ 147905 h 606722"/>
                  <a:gd name="connsiteX1" fmla="*/ 569477 w 606157"/>
                  <a:gd name="connsiteY1" fmla="*/ 147905 h 606722"/>
                  <a:gd name="connsiteX2" fmla="*/ 606157 w 606157"/>
                  <a:gd name="connsiteY2" fmla="*/ 186562 h 606722"/>
                  <a:gd name="connsiteX3" fmla="*/ 606157 w 606157"/>
                  <a:gd name="connsiteY3" fmla="*/ 363939 h 606722"/>
                  <a:gd name="connsiteX4" fmla="*/ 584434 w 606157"/>
                  <a:gd name="connsiteY4" fmla="*/ 385711 h 606722"/>
                  <a:gd name="connsiteX5" fmla="*/ 557904 w 606157"/>
                  <a:gd name="connsiteY5" fmla="*/ 385711 h 606722"/>
                  <a:gd name="connsiteX6" fmla="*/ 549980 w 606157"/>
                  <a:gd name="connsiteY6" fmla="*/ 548781 h 606722"/>
                  <a:gd name="connsiteX7" fmla="*/ 489085 w 606157"/>
                  <a:gd name="connsiteY7" fmla="*/ 606722 h 606722"/>
                  <a:gd name="connsiteX8" fmla="*/ 426854 w 606157"/>
                  <a:gd name="connsiteY8" fmla="*/ 547537 h 606722"/>
                  <a:gd name="connsiteX9" fmla="*/ 420711 w 606157"/>
                  <a:gd name="connsiteY9" fmla="*/ 420814 h 606722"/>
                  <a:gd name="connsiteX10" fmla="*/ 461219 w 606157"/>
                  <a:gd name="connsiteY10" fmla="*/ 363228 h 606722"/>
                  <a:gd name="connsiteX11" fmla="*/ 461219 w 606157"/>
                  <a:gd name="connsiteY11" fmla="*/ 185762 h 606722"/>
                  <a:gd name="connsiteX12" fmla="*/ 451337 w 606157"/>
                  <a:gd name="connsiteY12" fmla="*/ 147905 h 606722"/>
                  <a:gd name="connsiteX13" fmla="*/ 38457 w 606157"/>
                  <a:gd name="connsiteY13" fmla="*/ 147552 h 606722"/>
                  <a:gd name="connsiteX14" fmla="*/ 155074 w 606157"/>
                  <a:gd name="connsiteY14" fmla="*/ 147552 h 606722"/>
                  <a:gd name="connsiteX15" fmla="*/ 145014 w 606157"/>
                  <a:gd name="connsiteY15" fmla="*/ 185766 h 606722"/>
                  <a:gd name="connsiteX16" fmla="*/ 145014 w 606157"/>
                  <a:gd name="connsiteY16" fmla="*/ 363239 h 606722"/>
                  <a:gd name="connsiteX17" fmla="*/ 187210 w 606157"/>
                  <a:gd name="connsiteY17" fmla="*/ 421360 h 606722"/>
                  <a:gd name="connsiteX18" fmla="*/ 181068 w 606157"/>
                  <a:gd name="connsiteY18" fmla="*/ 548444 h 606722"/>
                  <a:gd name="connsiteX19" fmla="*/ 120178 w 606157"/>
                  <a:gd name="connsiteY19" fmla="*/ 606298 h 606722"/>
                  <a:gd name="connsiteX20" fmla="*/ 57952 w 606157"/>
                  <a:gd name="connsiteY20" fmla="*/ 547200 h 606722"/>
                  <a:gd name="connsiteX21" fmla="*/ 50029 w 606157"/>
                  <a:gd name="connsiteY21" fmla="*/ 385279 h 606722"/>
                  <a:gd name="connsiteX22" fmla="*/ 21810 w 606157"/>
                  <a:gd name="connsiteY22" fmla="*/ 385279 h 606722"/>
                  <a:gd name="connsiteX23" fmla="*/ 0 w 606157"/>
                  <a:gd name="connsiteY23" fmla="*/ 363595 h 606722"/>
                  <a:gd name="connsiteX24" fmla="*/ 0 w 606157"/>
                  <a:gd name="connsiteY24" fmla="*/ 186122 h 606722"/>
                  <a:gd name="connsiteX25" fmla="*/ 38457 w 606157"/>
                  <a:gd name="connsiteY25" fmla="*/ 147552 h 606722"/>
                  <a:gd name="connsiteX26" fmla="*/ 222975 w 606157"/>
                  <a:gd name="connsiteY26" fmla="*/ 147058 h 606722"/>
                  <a:gd name="connsiteX27" fmla="*/ 282512 w 606157"/>
                  <a:gd name="connsiteY27" fmla="*/ 147058 h 606722"/>
                  <a:gd name="connsiteX28" fmla="*/ 270498 w 606157"/>
                  <a:gd name="connsiteY28" fmla="*/ 159057 h 606722"/>
                  <a:gd name="connsiteX29" fmla="*/ 270498 w 606157"/>
                  <a:gd name="connsiteY29" fmla="*/ 169278 h 606722"/>
                  <a:gd name="connsiteX30" fmla="*/ 283224 w 606157"/>
                  <a:gd name="connsiteY30" fmla="*/ 181988 h 606722"/>
                  <a:gd name="connsiteX31" fmla="*/ 273345 w 606157"/>
                  <a:gd name="connsiteY31" fmla="*/ 292199 h 606722"/>
                  <a:gd name="connsiteX32" fmla="*/ 276193 w 606157"/>
                  <a:gd name="connsiteY32" fmla="*/ 302953 h 606722"/>
                  <a:gd name="connsiteX33" fmla="*/ 297196 w 606157"/>
                  <a:gd name="connsiteY33" fmla="*/ 332550 h 606722"/>
                  <a:gd name="connsiteX34" fmla="*/ 303070 w 606157"/>
                  <a:gd name="connsiteY34" fmla="*/ 335572 h 606722"/>
                  <a:gd name="connsiteX35" fmla="*/ 309032 w 606157"/>
                  <a:gd name="connsiteY35" fmla="*/ 332550 h 606722"/>
                  <a:gd name="connsiteX36" fmla="*/ 329946 w 606157"/>
                  <a:gd name="connsiteY36" fmla="*/ 302953 h 606722"/>
                  <a:gd name="connsiteX37" fmla="*/ 332883 w 606157"/>
                  <a:gd name="connsiteY37" fmla="*/ 292199 h 606722"/>
                  <a:gd name="connsiteX38" fmla="*/ 323004 w 606157"/>
                  <a:gd name="connsiteY38" fmla="*/ 181988 h 606722"/>
                  <a:gd name="connsiteX39" fmla="*/ 335641 w 606157"/>
                  <a:gd name="connsiteY39" fmla="*/ 169278 h 606722"/>
                  <a:gd name="connsiteX40" fmla="*/ 335641 w 606157"/>
                  <a:gd name="connsiteY40" fmla="*/ 159057 h 606722"/>
                  <a:gd name="connsiteX41" fmla="*/ 323627 w 606157"/>
                  <a:gd name="connsiteY41" fmla="*/ 147058 h 606722"/>
                  <a:gd name="connsiteX42" fmla="*/ 385033 w 606157"/>
                  <a:gd name="connsiteY42" fmla="*/ 147058 h 606722"/>
                  <a:gd name="connsiteX43" fmla="*/ 385033 w 606157"/>
                  <a:gd name="connsiteY43" fmla="*/ 147147 h 606722"/>
                  <a:gd name="connsiteX44" fmla="*/ 421699 w 606157"/>
                  <a:gd name="connsiteY44" fmla="*/ 185721 h 606722"/>
                  <a:gd name="connsiteX45" fmla="*/ 421699 w 606157"/>
                  <a:gd name="connsiteY45" fmla="*/ 363214 h 606722"/>
                  <a:gd name="connsiteX46" fmla="*/ 399895 w 606157"/>
                  <a:gd name="connsiteY46" fmla="*/ 384901 h 606722"/>
                  <a:gd name="connsiteX47" fmla="*/ 373375 w 606157"/>
                  <a:gd name="connsiteY47" fmla="*/ 384901 h 606722"/>
                  <a:gd name="connsiteX48" fmla="*/ 371506 w 606157"/>
                  <a:gd name="connsiteY48" fmla="*/ 424363 h 606722"/>
                  <a:gd name="connsiteX49" fmla="*/ 365455 w 606157"/>
                  <a:gd name="connsiteY49" fmla="*/ 548084 h 606722"/>
                  <a:gd name="connsiteX50" fmla="*/ 304582 w 606157"/>
                  <a:gd name="connsiteY50" fmla="*/ 605945 h 606722"/>
                  <a:gd name="connsiteX51" fmla="*/ 242464 w 606157"/>
                  <a:gd name="connsiteY51" fmla="*/ 546840 h 606722"/>
                  <a:gd name="connsiteX52" fmla="*/ 236502 w 606157"/>
                  <a:gd name="connsiteY52" fmla="*/ 424363 h 606722"/>
                  <a:gd name="connsiteX53" fmla="*/ 234544 w 606157"/>
                  <a:gd name="connsiteY53" fmla="*/ 384901 h 606722"/>
                  <a:gd name="connsiteX54" fmla="*/ 206244 w 606157"/>
                  <a:gd name="connsiteY54" fmla="*/ 384901 h 606722"/>
                  <a:gd name="connsiteX55" fmla="*/ 184529 w 606157"/>
                  <a:gd name="connsiteY55" fmla="*/ 363214 h 606722"/>
                  <a:gd name="connsiteX56" fmla="*/ 184529 w 606157"/>
                  <a:gd name="connsiteY56" fmla="*/ 185721 h 606722"/>
                  <a:gd name="connsiteX57" fmla="*/ 222975 w 606157"/>
                  <a:gd name="connsiteY57" fmla="*/ 147058 h 606722"/>
                  <a:gd name="connsiteX58" fmla="*/ 488454 w 606157"/>
                  <a:gd name="connsiteY58" fmla="*/ 706 h 606722"/>
                  <a:gd name="connsiteX59" fmla="*/ 550481 w 606157"/>
                  <a:gd name="connsiteY59" fmla="*/ 62663 h 606722"/>
                  <a:gd name="connsiteX60" fmla="*/ 488454 w 606157"/>
                  <a:gd name="connsiteY60" fmla="*/ 124620 h 606722"/>
                  <a:gd name="connsiteX61" fmla="*/ 426427 w 606157"/>
                  <a:gd name="connsiteY61" fmla="*/ 62663 h 606722"/>
                  <a:gd name="connsiteX62" fmla="*/ 488454 w 606157"/>
                  <a:gd name="connsiteY62" fmla="*/ 706 h 606722"/>
                  <a:gd name="connsiteX63" fmla="*/ 119538 w 606157"/>
                  <a:gd name="connsiteY63" fmla="*/ 353 h 606722"/>
                  <a:gd name="connsiteX64" fmla="*/ 181565 w 606157"/>
                  <a:gd name="connsiteY64" fmla="*/ 62310 h 606722"/>
                  <a:gd name="connsiteX65" fmla="*/ 119538 w 606157"/>
                  <a:gd name="connsiteY65" fmla="*/ 124267 h 606722"/>
                  <a:gd name="connsiteX66" fmla="*/ 57511 w 606157"/>
                  <a:gd name="connsiteY66" fmla="*/ 62310 h 606722"/>
                  <a:gd name="connsiteX67" fmla="*/ 119538 w 606157"/>
                  <a:gd name="connsiteY67" fmla="*/ 353 h 606722"/>
                  <a:gd name="connsiteX68" fmla="*/ 303961 w 606157"/>
                  <a:gd name="connsiteY68" fmla="*/ 0 h 606722"/>
                  <a:gd name="connsiteX69" fmla="*/ 366024 w 606157"/>
                  <a:gd name="connsiteY69" fmla="*/ 61957 h 606722"/>
                  <a:gd name="connsiteX70" fmla="*/ 303961 w 606157"/>
                  <a:gd name="connsiteY70" fmla="*/ 123914 h 606722"/>
                  <a:gd name="connsiteX71" fmla="*/ 241898 w 606157"/>
                  <a:gd name="connsiteY71" fmla="*/ 61957 h 606722"/>
                  <a:gd name="connsiteX72" fmla="*/ 303961 w 606157"/>
                  <a:gd name="connsiteY72"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6157" h="606722">
                    <a:moveTo>
                      <a:pt x="451337" y="147905"/>
                    </a:moveTo>
                    <a:lnTo>
                      <a:pt x="569477" y="147905"/>
                    </a:lnTo>
                    <a:cubicBezTo>
                      <a:pt x="589954" y="148971"/>
                      <a:pt x="606157" y="165856"/>
                      <a:pt x="606157" y="186562"/>
                    </a:cubicBezTo>
                    <a:lnTo>
                      <a:pt x="606157" y="363939"/>
                    </a:lnTo>
                    <a:cubicBezTo>
                      <a:pt x="606157" y="375936"/>
                      <a:pt x="596453" y="385711"/>
                      <a:pt x="584434" y="385711"/>
                    </a:cubicBezTo>
                    <a:lnTo>
                      <a:pt x="557904" y="385711"/>
                    </a:lnTo>
                    <a:lnTo>
                      <a:pt x="549980" y="548781"/>
                    </a:lnTo>
                    <a:cubicBezTo>
                      <a:pt x="548378" y="581217"/>
                      <a:pt x="521580" y="606722"/>
                      <a:pt x="489085" y="606722"/>
                    </a:cubicBezTo>
                    <a:cubicBezTo>
                      <a:pt x="455877" y="606722"/>
                      <a:pt x="428456" y="580684"/>
                      <a:pt x="426854" y="547537"/>
                    </a:cubicBezTo>
                    <a:lnTo>
                      <a:pt x="420711" y="420814"/>
                    </a:lnTo>
                    <a:cubicBezTo>
                      <a:pt x="444482" y="412194"/>
                      <a:pt x="461219" y="389355"/>
                      <a:pt x="461219" y="363228"/>
                    </a:cubicBezTo>
                    <a:lnTo>
                      <a:pt x="461219" y="185762"/>
                    </a:lnTo>
                    <a:cubicBezTo>
                      <a:pt x="461219" y="172077"/>
                      <a:pt x="457658" y="159102"/>
                      <a:pt x="451337" y="147905"/>
                    </a:cubicBezTo>
                    <a:close/>
                    <a:moveTo>
                      <a:pt x="38457" y="147552"/>
                    </a:moveTo>
                    <a:lnTo>
                      <a:pt x="155074" y="147552"/>
                    </a:lnTo>
                    <a:cubicBezTo>
                      <a:pt x="148664" y="158839"/>
                      <a:pt x="145014" y="171902"/>
                      <a:pt x="145014" y="185766"/>
                    </a:cubicBezTo>
                    <a:lnTo>
                      <a:pt x="145014" y="363239"/>
                    </a:lnTo>
                    <a:cubicBezTo>
                      <a:pt x="145014" y="389811"/>
                      <a:pt x="162284" y="413184"/>
                      <a:pt x="187210" y="421360"/>
                    </a:cubicBezTo>
                    <a:lnTo>
                      <a:pt x="181068" y="548444"/>
                    </a:lnTo>
                    <a:cubicBezTo>
                      <a:pt x="179465" y="580881"/>
                      <a:pt x="152670" y="606298"/>
                      <a:pt x="120178" y="606298"/>
                    </a:cubicBezTo>
                    <a:cubicBezTo>
                      <a:pt x="86973" y="606298"/>
                      <a:pt x="59555" y="580348"/>
                      <a:pt x="57952" y="547200"/>
                    </a:cubicBezTo>
                    <a:lnTo>
                      <a:pt x="50029" y="385279"/>
                    </a:lnTo>
                    <a:lnTo>
                      <a:pt x="21810" y="385279"/>
                    </a:lnTo>
                    <a:cubicBezTo>
                      <a:pt x="9792" y="385279"/>
                      <a:pt x="0" y="375592"/>
                      <a:pt x="0" y="363595"/>
                    </a:cubicBezTo>
                    <a:lnTo>
                      <a:pt x="0" y="186122"/>
                    </a:lnTo>
                    <a:cubicBezTo>
                      <a:pt x="0" y="164882"/>
                      <a:pt x="17181" y="147641"/>
                      <a:pt x="38457" y="147552"/>
                    </a:cubicBezTo>
                    <a:close/>
                    <a:moveTo>
                      <a:pt x="222975" y="147058"/>
                    </a:moveTo>
                    <a:lnTo>
                      <a:pt x="282512" y="147058"/>
                    </a:lnTo>
                    <a:lnTo>
                      <a:pt x="270498" y="159057"/>
                    </a:lnTo>
                    <a:cubicBezTo>
                      <a:pt x="267739" y="161901"/>
                      <a:pt x="267739" y="166523"/>
                      <a:pt x="270498" y="169278"/>
                    </a:cubicBezTo>
                    <a:lnTo>
                      <a:pt x="283224" y="181988"/>
                    </a:lnTo>
                    <a:lnTo>
                      <a:pt x="273345" y="292199"/>
                    </a:lnTo>
                    <a:cubicBezTo>
                      <a:pt x="272989" y="296021"/>
                      <a:pt x="274057" y="299754"/>
                      <a:pt x="276193" y="302953"/>
                    </a:cubicBezTo>
                    <a:lnTo>
                      <a:pt x="297196" y="332550"/>
                    </a:lnTo>
                    <a:cubicBezTo>
                      <a:pt x="298531" y="334417"/>
                      <a:pt x="300756" y="335572"/>
                      <a:pt x="303070" y="335572"/>
                    </a:cubicBezTo>
                    <a:cubicBezTo>
                      <a:pt x="305472" y="335572"/>
                      <a:pt x="307608" y="334417"/>
                      <a:pt x="309032" y="332550"/>
                    </a:cubicBezTo>
                    <a:lnTo>
                      <a:pt x="329946" y="302953"/>
                    </a:lnTo>
                    <a:cubicBezTo>
                      <a:pt x="332171" y="299754"/>
                      <a:pt x="333239" y="296021"/>
                      <a:pt x="332883" y="292199"/>
                    </a:cubicBezTo>
                    <a:lnTo>
                      <a:pt x="323004" y="181988"/>
                    </a:lnTo>
                    <a:lnTo>
                      <a:pt x="335641" y="169278"/>
                    </a:lnTo>
                    <a:cubicBezTo>
                      <a:pt x="338489" y="166523"/>
                      <a:pt x="338489" y="161901"/>
                      <a:pt x="335641" y="159057"/>
                    </a:cubicBezTo>
                    <a:lnTo>
                      <a:pt x="323627" y="147058"/>
                    </a:lnTo>
                    <a:lnTo>
                      <a:pt x="385033" y="147058"/>
                    </a:lnTo>
                    <a:lnTo>
                      <a:pt x="385033" y="147147"/>
                    </a:lnTo>
                    <a:cubicBezTo>
                      <a:pt x="405413" y="148214"/>
                      <a:pt x="421699" y="165101"/>
                      <a:pt x="421699" y="185721"/>
                    </a:cubicBezTo>
                    <a:lnTo>
                      <a:pt x="421699" y="363214"/>
                    </a:lnTo>
                    <a:cubicBezTo>
                      <a:pt x="421699" y="375213"/>
                      <a:pt x="411910" y="384901"/>
                      <a:pt x="399895" y="384901"/>
                    </a:cubicBezTo>
                    <a:lnTo>
                      <a:pt x="373375" y="384901"/>
                    </a:lnTo>
                    <a:lnTo>
                      <a:pt x="371506" y="424363"/>
                    </a:lnTo>
                    <a:lnTo>
                      <a:pt x="365455" y="548084"/>
                    </a:lnTo>
                    <a:cubicBezTo>
                      <a:pt x="363853" y="580525"/>
                      <a:pt x="337154" y="605945"/>
                      <a:pt x="304582" y="605945"/>
                    </a:cubicBezTo>
                    <a:cubicBezTo>
                      <a:pt x="271388" y="605945"/>
                      <a:pt x="244066" y="579903"/>
                      <a:pt x="242464" y="546840"/>
                    </a:cubicBezTo>
                    <a:lnTo>
                      <a:pt x="236502" y="424363"/>
                    </a:lnTo>
                    <a:lnTo>
                      <a:pt x="234544" y="384901"/>
                    </a:lnTo>
                    <a:lnTo>
                      <a:pt x="206244" y="384901"/>
                    </a:lnTo>
                    <a:cubicBezTo>
                      <a:pt x="194229" y="384901"/>
                      <a:pt x="184529" y="375213"/>
                      <a:pt x="184529" y="363214"/>
                    </a:cubicBezTo>
                    <a:lnTo>
                      <a:pt x="184529" y="185721"/>
                    </a:lnTo>
                    <a:cubicBezTo>
                      <a:pt x="184529" y="164479"/>
                      <a:pt x="201705" y="147236"/>
                      <a:pt x="222975" y="147058"/>
                    </a:cubicBezTo>
                    <a:close/>
                    <a:moveTo>
                      <a:pt x="488454" y="706"/>
                    </a:moveTo>
                    <a:cubicBezTo>
                      <a:pt x="522711" y="706"/>
                      <a:pt x="550481" y="28445"/>
                      <a:pt x="550481" y="62663"/>
                    </a:cubicBezTo>
                    <a:cubicBezTo>
                      <a:pt x="550481" y="96881"/>
                      <a:pt x="522711" y="124620"/>
                      <a:pt x="488454" y="124620"/>
                    </a:cubicBezTo>
                    <a:cubicBezTo>
                      <a:pt x="454197" y="124620"/>
                      <a:pt x="426427" y="96881"/>
                      <a:pt x="426427" y="62663"/>
                    </a:cubicBezTo>
                    <a:cubicBezTo>
                      <a:pt x="426427" y="28445"/>
                      <a:pt x="454197" y="706"/>
                      <a:pt x="488454" y="706"/>
                    </a:cubicBezTo>
                    <a:close/>
                    <a:moveTo>
                      <a:pt x="119538" y="353"/>
                    </a:moveTo>
                    <a:cubicBezTo>
                      <a:pt x="153795" y="353"/>
                      <a:pt x="181565" y="28092"/>
                      <a:pt x="181565" y="62310"/>
                    </a:cubicBezTo>
                    <a:cubicBezTo>
                      <a:pt x="181565" y="96528"/>
                      <a:pt x="153795" y="124267"/>
                      <a:pt x="119538" y="124267"/>
                    </a:cubicBezTo>
                    <a:cubicBezTo>
                      <a:pt x="85281" y="124267"/>
                      <a:pt x="57511" y="96528"/>
                      <a:pt x="57511" y="62310"/>
                    </a:cubicBezTo>
                    <a:cubicBezTo>
                      <a:pt x="57511" y="28092"/>
                      <a:pt x="85281" y="353"/>
                      <a:pt x="119538" y="353"/>
                    </a:cubicBezTo>
                    <a:close/>
                    <a:moveTo>
                      <a:pt x="303961" y="0"/>
                    </a:moveTo>
                    <a:cubicBezTo>
                      <a:pt x="338237" y="0"/>
                      <a:pt x="366024" y="27739"/>
                      <a:pt x="366024" y="61957"/>
                    </a:cubicBezTo>
                    <a:cubicBezTo>
                      <a:pt x="366024" y="96175"/>
                      <a:pt x="338237" y="123914"/>
                      <a:pt x="303961" y="123914"/>
                    </a:cubicBezTo>
                    <a:cubicBezTo>
                      <a:pt x="269685" y="123914"/>
                      <a:pt x="241898" y="96175"/>
                      <a:pt x="241898" y="61957"/>
                    </a:cubicBezTo>
                    <a:cubicBezTo>
                      <a:pt x="241898" y="27739"/>
                      <a:pt x="269685" y="0"/>
                      <a:pt x="303961" y="0"/>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5"/>
          <p:cNvSpPr txBox="1">
            <a:spLocks noChangeArrowheads="1"/>
          </p:cNvSpPr>
          <p:nvPr/>
        </p:nvSpPr>
        <p:spPr bwMode="auto">
          <a:xfrm>
            <a:off x="2205585" y="1508787"/>
            <a:ext cx="7209367" cy="45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eaLnBrk="1" hangingPunct="1">
              <a:spcBef>
                <a:spcPct val="0"/>
              </a:spcBef>
              <a:buFontTx/>
              <a:buNone/>
            </a:pPr>
            <a:r>
              <a:rPr lang="zh-CN" altLang="en-US" sz="2100" b="1" dirty="0">
                <a:solidFill>
                  <a:srgbClr val="C00000"/>
                </a:solidFill>
                <a:latin typeface="微软雅黑" panose="020B0503020204020204" pitchFamily="34" charset="-122"/>
              </a:rPr>
              <a:t>产品简介</a:t>
            </a:r>
            <a:endParaRPr lang="en-US" altLang="zh-CN" sz="2100" b="1" dirty="0">
              <a:solidFill>
                <a:srgbClr val="C00000"/>
              </a:solidFill>
              <a:latin typeface="微软雅黑" panose="020B0503020204020204" pitchFamily="34" charset="-122"/>
            </a:endParaRPr>
          </a:p>
        </p:txBody>
      </p:sp>
      <p:cxnSp>
        <p:nvCxnSpPr>
          <p:cNvPr id="6" name="直接连接符 44"/>
          <p:cNvCxnSpPr>
            <a:cxnSpLocks noChangeShapeType="1"/>
          </p:cNvCxnSpPr>
          <p:nvPr/>
        </p:nvCxnSpPr>
        <p:spPr bwMode="auto">
          <a:xfrm>
            <a:off x="2321475" y="2852936"/>
            <a:ext cx="8640000" cy="0"/>
          </a:xfrm>
          <a:prstGeom prst="line">
            <a:avLst/>
          </a:prstGeom>
          <a:noFill/>
          <a:ln w="9525">
            <a:solidFill>
              <a:schemeClr val="tx1"/>
            </a:solidFill>
            <a:prstDash val="dash"/>
            <a:round/>
          </a:ln>
          <a:extLst>
            <a:ext uri="{909E8E84-426E-40DD-AFC4-6F175D3DCCD1}">
              <a14:hiddenFill xmlns:a14="http://schemas.microsoft.com/office/drawing/2010/main">
                <a:noFill/>
              </a14:hiddenFill>
            </a:ext>
          </a:extLst>
        </p:spPr>
      </p:cxnSp>
      <p:sp>
        <p:nvSpPr>
          <p:cNvPr id="7" name="TextBox 25"/>
          <p:cNvSpPr txBox="1">
            <a:spLocks noChangeArrowheads="1"/>
          </p:cNvSpPr>
          <p:nvPr/>
        </p:nvSpPr>
        <p:spPr bwMode="auto">
          <a:xfrm>
            <a:off x="2205584" y="2084851"/>
            <a:ext cx="8594939" cy="49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nSpc>
                <a:spcPct val="150000"/>
              </a:lnSpc>
              <a:spcBef>
                <a:spcPct val="0"/>
              </a:spcBef>
              <a:buNone/>
            </a:pPr>
            <a:r>
              <a:rPr lang="zh-CN" altLang="en-US" sz="1600" b="1" dirty="0">
                <a:solidFill>
                  <a:schemeClr val="tx1">
                    <a:lumMod val="75000"/>
                    <a:lumOff val="25000"/>
                  </a:schemeClr>
                </a:solidFill>
                <a:latin typeface="微软雅黑" panose="020B0503020204020204" pitchFamily="34" charset="-122"/>
              </a:rPr>
              <a:t>是指向符合本行准入条件的科技型企业发放的各类本外币授信业务。</a:t>
            </a:r>
            <a:endParaRPr lang="zh-CN" altLang="en-US" sz="1600" b="1" dirty="0">
              <a:solidFill>
                <a:schemeClr val="tx1">
                  <a:lumMod val="75000"/>
                  <a:lumOff val="25000"/>
                </a:schemeClr>
              </a:solidFill>
              <a:latin typeface="微软雅黑" panose="020B0503020204020204" pitchFamily="34" charset="-122"/>
            </a:endParaRPr>
          </a:p>
        </p:txBody>
      </p:sp>
      <p:sp>
        <p:nvSpPr>
          <p:cNvPr id="8" name="TextBox 25"/>
          <p:cNvSpPr txBox="1">
            <a:spLocks noChangeArrowheads="1"/>
          </p:cNvSpPr>
          <p:nvPr/>
        </p:nvSpPr>
        <p:spPr bwMode="auto">
          <a:xfrm>
            <a:off x="2205583" y="3553659"/>
            <a:ext cx="7209367" cy="45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eaLnBrk="1" hangingPunct="1">
              <a:spcBef>
                <a:spcPct val="0"/>
              </a:spcBef>
              <a:buFontTx/>
              <a:buNone/>
            </a:pPr>
            <a:r>
              <a:rPr lang="zh-CN" altLang="en-US" sz="2100" b="1" dirty="0">
                <a:solidFill>
                  <a:srgbClr val="C00000"/>
                </a:solidFill>
                <a:latin typeface="微软雅黑" panose="020B0503020204020204" pitchFamily="34" charset="-122"/>
              </a:rPr>
              <a:t>适用对象</a:t>
            </a:r>
            <a:endParaRPr lang="en-US" altLang="zh-CN" sz="2100" b="1" dirty="0">
              <a:solidFill>
                <a:srgbClr val="C00000"/>
              </a:solidFill>
              <a:latin typeface="微软雅黑" panose="020B0503020204020204" pitchFamily="34" charset="-122"/>
            </a:endParaRPr>
          </a:p>
        </p:txBody>
      </p:sp>
      <p:sp>
        <p:nvSpPr>
          <p:cNvPr id="9" name="TextBox 25"/>
          <p:cNvSpPr txBox="1">
            <a:spLocks noChangeArrowheads="1"/>
          </p:cNvSpPr>
          <p:nvPr/>
        </p:nvSpPr>
        <p:spPr bwMode="auto">
          <a:xfrm>
            <a:off x="2205583" y="4119551"/>
            <a:ext cx="8594940" cy="118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marL="381000" indent="-381000">
              <a:lnSpc>
                <a:spcPct val="150000"/>
              </a:lnSpc>
              <a:spcBef>
                <a:spcPct val="0"/>
              </a:spcBef>
              <a:buFont typeface="Wingdings" panose="05000000000000000000" pitchFamily="2" charset="2"/>
              <a:buChar char="ü"/>
            </a:pPr>
            <a:r>
              <a:rPr lang="zh-CN" altLang="en-US" sz="1600" b="1" dirty="0">
                <a:solidFill>
                  <a:schemeClr val="tx1">
                    <a:lumMod val="75000"/>
                    <a:lumOff val="25000"/>
                  </a:schemeClr>
                </a:solidFill>
                <a:latin typeface="微软雅黑" panose="020B0503020204020204" pitchFamily="34" charset="-122"/>
              </a:rPr>
              <a:t>从事高新技术产品研究、开发、生产和服务的科技型企业</a:t>
            </a:r>
            <a:endParaRPr lang="en-US" altLang="zh-CN" sz="1600" b="1" dirty="0">
              <a:solidFill>
                <a:schemeClr val="tx1">
                  <a:lumMod val="75000"/>
                  <a:lumOff val="25000"/>
                </a:schemeClr>
              </a:solidFill>
              <a:latin typeface="微软雅黑" panose="020B0503020204020204" pitchFamily="34" charset="-122"/>
            </a:endParaRPr>
          </a:p>
          <a:p>
            <a:pPr marL="381000" indent="-381000">
              <a:lnSpc>
                <a:spcPct val="150000"/>
              </a:lnSpc>
              <a:spcBef>
                <a:spcPct val="0"/>
              </a:spcBef>
              <a:buFont typeface="Wingdings" panose="05000000000000000000" pitchFamily="2" charset="2"/>
              <a:buChar char="ü"/>
            </a:pPr>
            <a:r>
              <a:rPr lang="zh-CN" altLang="en-US" sz="1600" b="1" dirty="0">
                <a:solidFill>
                  <a:schemeClr val="tx1">
                    <a:lumMod val="75000"/>
                    <a:lumOff val="25000"/>
                  </a:schemeClr>
                </a:solidFill>
                <a:latin typeface="微软雅黑" panose="020B0503020204020204" pitchFamily="34" charset="-122"/>
              </a:rPr>
              <a:t>优先支持具有创新研发能力、技术优势明显、主营业务方向属于国家规划的重点发展领域及配套的企业</a:t>
            </a:r>
            <a:endParaRPr lang="zh-CN" altLang="en-US" sz="1600" b="1" dirty="0">
              <a:solidFill>
                <a:schemeClr val="tx1">
                  <a:lumMod val="75000"/>
                  <a:lumOff val="25000"/>
                </a:schemeClr>
              </a:solidFill>
              <a:latin typeface="微软雅黑" panose="020B0503020204020204" pitchFamily="34" charset="-122"/>
            </a:endParaRPr>
          </a:p>
        </p:txBody>
      </p:sp>
      <p:cxnSp>
        <p:nvCxnSpPr>
          <p:cNvPr id="10" name="直接连接符 44"/>
          <p:cNvCxnSpPr>
            <a:cxnSpLocks noChangeShapeType="1"/>
          </p:cNvCxnSpPr>
          <p:nvPr/>
        </p:nvCxnSpPr>
        <p:spPr bwMode="auto">
          <a:xfrm>
            <a:off x="2321475" y="5637245"/>
            <a:ext cx="8640000" cy="0"/>
          </a:xfrm>
          <a:prstGeom prst="line">
            <a:avLst/>
          </a:prstGeom>
          <a:noFill/>
          <a:ln w="9525">
            <a:solidFill>
              <a:schemeClr val="tx1"/>
            </a:solidFill>
            <a:prstDash val="dash"/>
            <a:round/>
          </a:ln>
          <a:extLst>
            <a:ext uri="{909E8E84-426E-40DD-AFC4-6F175D3DCCD1}">
              <a14:hiddenFill xmlns:a14="http://schemas.microsoft.com/office/drawing/2010/main">
                <a:noFill/>
              </a14:hiddenFill>
            </a:ext>
          </a:extLst>
        </p:spPr>
      </p:cxnSp>
      <p:grpSp>
        <p:nvGrpSpPr>
          <p:cNvPr id="11" name="组合 48"/>
          <p:cNvGrpSpPr/>
          <p:nvPr/>
        </p:nvGrpSpPr>
        <p:grpSpPr bwMode="auto">
          <a:xfrm>
            <a:off x="815509" y="1508787"/>
            <a:ext cx="864000" cy="864000"/>
            <a:chOff x="0" y="0"/>
            <a:chExt cx="554400" cy="554400"/>
          </a:xfrm>
        </p:grpSpPr>
        <p:sp>
          <p:nvSpPr>
            <p:cNvPr id="12" name="椭圆 49"/>
            <p:cNvSpPr>
              <a:spLocks noChangeArrowheads="1"/>
            </p:cNvSpPr>
            <p:nvPr/>
          </p:nvSpPr>
          <p:spPr bwMode="auto">
            <a:xfrm>
              <a:off x="0" y="0"/>
              <a:ext cx="554400" cy="554400"/>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gn="ctr" eaLnBrk="1" hangingPunct="1">
                <a:spcBef>
                  <a:spcPct val="0"/>
                </a:spcBef>
                <a:buFontTx/>
                <a:buNone/>
              </a:pPr>
              <a:endParaRPr lang="zh-CN" altLang="en-US" sz="2400">
                <a:solidFill>
                  <a:srgbClr val="FFFFFF"/>
                </a:solidFill>
                <a:latin typeface="微软雅黑" panose="020B0503020204020204" pitchFamily="34" charset="-122"/>
              </a:endParaRPr>
            </a:p>
          </p:txBody>
        </p:sp>
        <p:sp>
          <p:nvSpPr>
            <p:cNvPr id="13" name="Freeform 13"/>
            <p:cNvSpPr>
              <a:spLocks noEditPoints="1"/>
            </p:cNvSpPr>
            <p:nvPr/>
          </p:nvSpPr>
          <p:spPr bwMode="auto">
            <a:xfrm>
              <a:off x="179197" y="101819"/>
              <a:ext cx="207831" cy="350762"/>
            </a:xfrm>
            <a:custGeom>
              <a:avLst/>
              <a:gdLst>
                <a:gd name="T0" fmla="*/ 2147483646 w 122"/>
                <a:gd name="T1" fmla="*/ 2147483646 h 225"/>
                <a:gd name="T2" fmla="*/ 2147483646 w 122"/>
                <a:gd name="T3" fmla="*/ 2147483646 h 225"/>
                <a:gd name="T4" fmla="*/ 2147483646 w 122"/>
                <a:gd name="T5" fmla="*/ 2147483646 h 225"/>
                <a:gd name="T6" fmla="*/ 2147483646 w 122"/>
                <a:gd name="T7" fmla="*/ 2147483646 h 225"/>
                <a:gd name="T8" fmla="*/ 2147483646 w 122"/>
                <a:gd name="T9" fmla="*/ 2147483646 h 225"/>
                <a:gd name="T10" fmla="*/ 2147483646 w 122"/>
                <a:gd name="T11" fmla="*/ 2147483646 h 225"/>
                <a:gd name="T12" fmla="*/ 2147483646 w 122"/>
                <a:gd name="T13" fmla="*/ 2147483646 h 225"/>
                <a:gd name="T14" fmla="*/ 2147483646 w 122"/>
                <a:gd name="T15" fmla="*/ 2147483646 h 225"/>
                <a:gd name="T16" fmla="*/ 2147483646 w 122"/>
                <a:gd name="T17" fmla="*/ 2147483646 h 225"/>
                <a:gd name="T18" fmla="*/ 2147483646 w 122"/>
                <a:gd name="T19" fmla="*/ 2147483646 h 225"/>
                <a:gd name="T20" fmla="*/ 2147483646 w 122"/>
                <a:gd name="T21" fmla="*/ 2147483646 h 225"/>
                <a:gd name="T22" fmla="*/ 2147483646 w 122"/>
                <a:gd name="T23" fmla="*/ 2147483646 h 225"/>
                <a:gd name="T24" fmla="*/ 2147483646 w 122"/>
                <a:gd name="T25" fmla="*/ 2147483646 h 225"/>
                <a:gd name="T26" fmla="*/ 2147483646 w 122"/>
                <a:gd name="T27" fmla="*/ 2147483646 h 225"/>
                <a:gd name="T28" fmla="*/ 2147483646 w 122"/>
                <a:gd name="T29" fmla="*/ 2147483646 h 225"/>
                <a:gd name="T30" fmla="*/ 2147483646 w 122"/>
                <a:gd name="T31" fmla="*/ 2147483646 h 225"/>
                <a:gd name="T32" fmla="*/ 2147483646 w 122"/>
                <a:gd name="T33" fmla="*/ 2147483646 h 225"/>
                <a:gd name="T34" fmla="*/ 2147483646 w 122"/>
                <a:gd name="T35" fmla="*/ 2147483646 h 225"/>
                <a:gd name="T36" fmla="*/ 2147483646 w 122"/>
                <a:gd name="T37" fmla="*/ 2147483646 h 225"/>
                <a:gd name="T38" fmla="*/ 2147483646 w 122"/>
                <a:gd name="T39" fmla="*/ 2147483646 h 225"/>
                <a:gd name="T40" fmla="*/ 2147483646 w 122"/>
                <a:gd name="T41" fmla="*/ 2147483646 h 225"/>
                <a:gd name="T42" fmla="*/ 2147483646 w 122"/>
                <a:gd name="T43" fmla="*/ 2147483646 h 225"/>
                <a:gd name="T44" fmla="*/ 2147483646 w 122"/>
                <a:gd name="T45" fmla="*/ 2147483646 h 225"/>
                <a:gd name="T46" fmla="*/ 2147483646 w 122"/>
                <a:gd name="T47" fmla="*/ 2147483646 h 225"/>
                <a:gd name="T48" fmla="*/ 2147483646 w 122"/>
                <a:gd name="T49" fmla="*/ 2147483646 h 225"/>
                <a:gd name="T50" fmla="*/ 2147483646 w 122"/>
                <a:gd name="T51" fmla="*/ 2147483646 h 225"/>
                <a:gd name="T52" fmla="*/ 2147483646 w 122"/>
                <a:gd name="T53" fmla="*/ 2147483646 h 225"/>
                <a:gd name="T54" fmla="*/ 2147483646 w 122"/>
                <a:gd name="T55" fmla="*/ 2147483646 h 225"/>
                <a:gd name="T56" fmla="*/ 2147483646 w 122"/>
                <a:gd name="T57" fmla="*/ 2147483646 h 225"/>
                <a:gd name="T58" fmla="*/ 2147483646 w 122"/>
                <a:gd name="T59" fmla="*/ 2147483646 h 225"/>
                <a:gd name="T60" fmla="*/ 2147483646 w 122"/>
                <a:gd name="T61" fmla="*/ 2147483646 h 225"/>
                <a:gd name="T62" fmla="*/ 2147483646 w 122"/>
                <a:gd name="T63" fmla="*/ 2147483646 h 225"/>
                <a:gd name="T64" fmla="*/ 2147483646 w 122"/>
                <a:gd name="T65" fmla="*/ 2147483646 h 225"/>
                <a:gd name="T66" fmla="*/ 2147483646 w 122"/>
                <a:gd name="T67" fmla="*/ 2147483646 h 225"/>
                <a:gd name="T68" fmla="*/ 2147483646 w 122"/>
                <a:gd name="T69" fmla="*/ 2147483646 h 225"/>
                <a:gd name="T70" fmla="*/ 2147483646 w 122"/>
                <a:gd name="T71" fmla="*/ 2147483646 h 225"/>
                <a:gd name="T72" fmla="*/ 2147483646 w 122"/>
                <a:gd name="T73" fmla="*/ 2147483646 h 225"/>
                <a:gd name="T74" fmla="*/ 2147483646 w 122"/>
                <a:gd name="T75" fmla="*/ 2147483646 h 225"/>
                <a:gd name="T76" fmla="*/ 2147483646 w 122"/>
                <a:gd name="T77" fmla="*/ 2147483646 h 225"/>
                <a:gd name="T78" fmla="*/ 2147483646 w 122"/>
                <a:gd name="T79" fmla="*/ 2147483646 h 225"/>
                <a:gd name="T80" fmla="*/ 2147483646 w 122"/>
                <a:gd name="T81" fmla="*/ 2147483646 h 225"/>
                <a:gd name="T82" fmla="*/ 2147483646 w 122"/>
                <a:gd name="T83" fmla="*/ 2147483646 h 225"/>
                <a:gd name="T84" fmla="*/ 2147483646 w 122"/>
                <a:gd name="T85" fmla="*/ 2147483646 h 225"/>
                <a:gd name="T86" fmla="*/ 2147483646 w 122"/>
                <a:gd name="T87" fmla="*/ 2147483646 h 225"/>
                <a:gd name="T88" fmla="*/ 2147483646 w 122"/>
                <a:gd name="T89" fmla="*/ 2147483646 h 225"/>
                <a:gd name="T90" fmla="*/ 2147483646 w 122"/>
                <a:gd name="T91" fmla="*/ 2147483646 h 225"/>
                <a:gd name="T92" fmla="*/ 2147483646 w 122"/>
                <a:gd name="T93" fmla="*/ 2147483646 h 225"/>
                <a:gd name="T94" fmla="*/ 2147483646 w 122"/>
                <a:gd name="T95" fmla="*/ 2147483646 h 225"/>
                <a:gd name="T96" fmla="*/ 2147483646 w 122"/>
                <a:gd name="T97" fmla="*/ 2147483646 h 225"/>
                <a:gd name="T98" fmla="*/ 2147483646 w 122"/>
                <a:gd name="T99" fmla="*/ 2147483646 h 225"/>
                <a:gd name="T100" fmla="*/ 2147483646 w 122"/>
                <a:gd name="T101" fmla="*/ 2147483646 h 225"/>
                <a:gd name="T102" fmla="*/ 2147483646 w 122"/>
                <a:gd name="T103" fmla="*/ 2147483646 h 225"/>
                <a:gd name="T104" fmla="*/ 2147483646 w 122"/>
                <a:gd name="T105" fmla="*/ 2147483646 h 225"/>
                <a:gd name="T106" fmla="*/ 2147483646 w 122"/>
                <a:gd name="T107" fmla="*/ 2147483646 h 225"/>
                <a:gd name="T108" fmla="*/ 2147483646 w 122"/>
                <a:gd name="T109" fmla="*/ 2147483646 h 225"/>
                <a:gd name="T110" fmla="*/ 2147483646 w 122"/>
                <a:gd name="T111" fmla="*/ 2147483646 h 225"/>
                <a:gd name="T112" fmla="*/ 2147483646 w 122"/>
                <a:gd name="T113" fmla="*/ 2147483646 h 225"/>
                <a:gd name="T114" fmla="*/ 2147483646 w 122"/>
                <a:gd name="T115" fmla="*/ 2147483646 h 225"/>
                <a:gd name="T116" fmla="*/ 2147483646 w 122"/>
                <a:gd name="T117" fmla="*/ 2147483646 h 225"/>
                <a:gd name="T118" fmla="*/ 2147483646 w 122"/>
                <a:gd name="T119" fmla="*/ 2147483646 h 225"/>
                <a:gd name="T120" fmla="*/ 2147483646 w 122"/>
                <a:gd name="T121" fmla="*/ 2147483646 h 225"/>
                <a:gd name="T122" fmla="*/ 2147483646 w 122"/>
                <a:gd name="T123" fmla="*/ 2147483646 h 2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68571" tIns="34286" rIns="68571" bIns="34286"/>
            <a:lstStyle/>
            <a:p>
              <a:endParaRPr lang="zh-CN" altLang="en-US">
                <a:latin typeface="微软雅黑" panose="020B0503020204020204" pitchFamily="34" charset="-122"/>
                <a:ea typeface="微软雅黑" panose="020B0503020204020204" pitchFamily="34" charset="-122"/>
              </a:endParaRPr>
            </a:p>
          </p:txBody>
        </p:sp>
      </p:grpSp>
      <p:sp>
        <p:nvSpPr>
          <p:cNvPr id="14" name="椭圆 49"/>
          <p:cNvSpPr>
            <a:spLocks noChangeArrowheads="1"/>
          </p:cNvSpPr>
          <p:nvPr/>
        </p:nvSpPr>
        <p:spPr bwMode="auto">
          <a:xfrm>
            <a:off x="815508" y="3621021"/>
            <a:ext cx="864000" cy="864000"/>
          </a:xfrm>
          <a:prstGeom prst="ellipse">
            <a:avLst/>
          </a:prstGeom>
          <a:solidFill>
            <a:srgbClr val="0070C0"/>
          </a:solidFill>
          <a:ln>
            <a:noFill/>
          </a:ln>
        </p:spPr>
        <p:txBody>
          <a:bodyPr lIns="121917" tIns="60958" rIns="121917" bIns="60958" anchor="ct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gn="ctr" eaLnBrk="1" hangingPunct="1">
              <a:spcBef>
                <a:spcPct val="0"/>
              </a:spcBef>
              <a:buFontTx/>
              <a:buNone/>
            </a:pPr>
            <a:endParaRPr lang="zh-CN" altLang="en-US" sz="2400">
              <a:solidFill>
                <a:srgbClr val="FFFFFF"/>
              </a:solidFill>
              <a:latin typeface="微软雅黑" panose="020B0503020204020204" pitchFamily="34" charset="-122"/>
            </a:endParaRPr>
          </a:p>
        </p:txBody>
      </p:sp>
      <p:grpSp>
        <p:nvGrpSpPr>
          <p:cNvPr id="15" name="Group 1491"/>
          <p:cNvGrpSpPr/>
          <p:nvPr/>
        </p:nvGrpSpPr>
        <p:grpSpPr>
          <a:xfrm>
            <a:off x="1046644" y="3798106"/>
            <a:ext cx="416477" cy="491065"/>
            <a:chOff x="1279526" y="3703638"/>
            <a:chExt cx="398463" cy="465137"/>
          </a:xfrm>
          <a:solidFill>
            <a:schemeClr val="bg1"/>
          </a:solidFill>
        </p:grpSpPr>
        <p:sp>
          <p:nvSpPr>
            <p:cNvPr id="16" name="Freeform 83"/>
            <p:cNvSpPr>
              <a:spLocks noEditPoints="1"/>
            </p:cNvSpPr>
            <p:nvPr/>
          </p:nvSpPr>
          <p:spPr bwMode="auto">
            <a:xfrm>
              <a:off x="1330326" y="3703638"/>
              <a:ext cx="296863" cy="244475"/>
            </a:xfrm>
            <a:custGeom>
              <a:avLst/>
              <a:gdLst>
                <a:gd name="T0" fmla="*/ 128 w 140"/>
                <a:gd name="T1" fmla="*/ 43 h 115"/>
                <a:gd name="T2" fmla="*/ 73 w 140"/>
                <a:gd name="T3" fmla="*/ 0 h 115"/>
                <a:gd name="T4" fmla="*/ 67 w 140"/>
                <a:gd name="T5" fmla="*/ 0 h 115"/>
                <a:gd name="T6" fmla="*/ 12 w 140"/>
                <a:gd name="T7" fmla="*/ 43 h 115"/>
                <a:gd name="T8" fmla="*/ 11 w 140"/>
                <a:gd name="T9" fmla="*/ 45 h 115"/>
                <a:gd name="T10" fmla="*/ 0 w 140"/>
                <a:gd name="T11" fmla="*/ 66 h 115"/>
                <a:gd name="T12" fmla="*/ 0 w 140"/>
                <a:gd name="T13" fmla="*/ 75 h 115"/>
                <a:gd name="T14" fmla="*/ 13 w 140"/>
                <a:gd name="T15" fmla="*/ 91 h 115"/>
                <a:gd name="T16" fmla="*/ 24 w 140"/>
                <a:gd name="T17" fmla="*/ 91 h 115"/>
                <a:gd name="T18" fmla="*/ 27 w 140"/>
                <a:gd name="T19" fmla="*/ 91 h 115"/>
                <a:gd name="T20" fmla="*/ 29 w 140"/>
                <a:gd name="T21" fmla="*/ 92 h 115"/>
                <a:gd name="T22" fmla="*/ 70 w 140"/>
                <a:gd name="T23" fmla="*/ 115 h 115"/>
                <a:gd name="T24" fmla="*/ 111 w 140"/>
                <a:gd name="T25" fmla="*/ 92 h 115"/>
                <a:gd name="T26" fmla="*/ 113 w 140"/>
                <a:gd name="T27" fmla="*/ 91 h 115"/>
                <a:gd name="T28" fmla="*/ 116 w 140"/>
                <a:gd name="T29" fmla="*/ 91 h 115"/>
                <a:gd name="T30" fmla="*/ 127 w 140"/>
                <a:gd name="T31" fmla="*/ 91 h 115"/>
                <a:gd name="T32" fmla="*/ 140 w 140"/>
                <a:gd name="T33" fmla="*/ 75 h 115"/>
                <a:gd name="T34" fmla="*/ 140 w 140"/>
                <a:gd name="T35" fmla="*/ 66 h 115"/>
                <a:gd name="T36" fmla="*/ 129 w 140"/>
                <a:gd name="T37" fmla="*/ 45 h 115"/>
                <a:gd name="T38" fmla="*/ 128 w 140"/>
                <a:gd name="T39" fmla="*/ 43 h 115"/>
                <a:gd name="T40" fmla="*/ 70 w 140"/>
                <a:gd name="T41" fmla="*/ 19 h 115"/>
                <a:gd name="T42" fmla="*/ 27 w 140"/>
                <a:gd name="T43" fmla="*/ 43 h 115"/>
                <a:gd name="T44" fmla="*/ 26 w 140"/>
                <a:gd name="T45" fmla="*/ 45 h 115"/>
                <a:gd name="T46" fmla="*/ 24 w 140"/>
                <a:gd name="T47" fmla="*/ 44 h 115"/>
                <a:gd name="T48" fmla="*/ 23 w 140"/>
                <a:gd name="T49" fmla="*/ 42 h 115"/>
                <a:gd name="T50" fmla="*/ 67 w 140"/>
                <a:gd name="T51" fmla="*/ 10 h 115"/>
                <a:gd name="T52" fmla="*/ 73 w 140"/>
                <a:gd name="T53" fmla="*/ 10 h 115"/>
                <a:gd name="T54" fmla="*/ 117 w 140"/>
                <a:gd name="T55" fmla="*/ 43 h 115"/>
                <a:gd name="T56" fmla="*/ 116 w 140"/>
                <a:gd name="T57" fmla="*/ 44 h 115"/>
                <a:gd name="T58" fmla="*/ 114 w 140"/>
                <a:gd name="T59" fmla="*/ 45 h 115"/>
                <a:gd name="T60" fmla="*/ 113 w 140"/>
                <a:gd name="T61" fmla="*/ 43 h 115"/>
                <a:gd name="T62" fmla="*/ 70 w 140"/>
                <a:gd name="T63" fmla="*/ 1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15">
                  <a:moveTo>
                    <a:pt x="128" y="43"/>
                  </a:moveTo>
                  <a:cubicBezTo>
                    <a:pt x="125" y="18"/>
                    <a:pt x="102" y="0"/>
                    <a:pt x="73" y="0"/>
                  </a:cubicBezTo>
                  <a:cubicBezTo>
                    <a:pt x="67" y="0"/>
                    <a:pt x="67" y="0"/>
                    <a:pt x="67" y="0"/>
                  </a:cubicBezTo>
                  <a:cubicBezTo>
                    <a:pt x="38" y="0"/>
                    <a:pt x="15" y="18"/>
                    <a:pt x="12" y="43"/>
                  </a:cubicBezTo>
                  <a:cubicBezTo>
                    <a:pt x="12" y="44"/>
                    <a:pt x="11" y="44"/>
                    <a:pt x="11" y="45"/>
                  </a:cubicBezTo>
                  <a:cubicBezTo>
                    <a:pt x="6" y="46"/>
                    <a:pt x="0" y="51"/>
                    <a:pt x="0" y="66"/>
                  </a:cubicBezTo>
                  <a:cubicBezTo>
                    <a:pt x="0" y="75"/>
                    <a:pt x="0" y="75"/>
                    <a:pt x="0" y="75"/>
                  </a:cubicBezTo>
                  <a:cubicBezTo>
                    <a:pt x="0" y="88"/>
                    <a:pt x="9" y="91"/>
                    <a:pt x="13" y="91"/>
                  </a:cubicBezTo>
                  <a:cubicBezTo>
                    <a:pt x="24" y="91"/>
                    <a:pt x="24" y="91"/>
                    <a:pt x="24" y="91"/>
                  </a:cubicBezTo>
                  <a:cubicBezTo>
                    <a:pt x="25" y="91"/>
                    <a:pt x="26" y="91"/>
                    <a:pt x="27" y="91"/>
                  </a:cubicBezTo>
                  <a:cubicBezTo>
                    <a:pt x="28" y="91"/>
                    <a:pt x="28" y="91"/>
                    <a:pt x="29" y="92"/>
                  </a:cubicBezTo>
                  <a:cubicBezTo>
                    <a:pt x="37" y="106"/>
                    <a:pt x="53" y="115"/>
                    <a:pt x="70" y="115"/>
                  </a:cubicBezTo>
                  <a:cubicBezTo>
                    <a:pt x="87" y="115"/>
                    <a:pt x="103" y="106"/>
                    <a:pt x="111" y="92"/>
                  </a:cubicBezTo>
                  <a:cubicBezTo>
                    <a:pt x="112" y="92"/>
                    <a:pt x="112" y="91"/>
                    <a:pt x="113" y="91"/>
                  </a:cubicBezTo>
                  <a:cubicBezTo>
                    <a:pt x="114" y="90"/>
                    <a:pt x="115" y="91"/>
                    <a:pt x="116" y="91"/>
                  </a:cubicBezTo>
                  <a:cubicBezTo>
                    <a:pt x="127" y="91"/>
                    <a:pt x="127" y="91"/>
                    <a:pt x="127" y="91"/>
                  </a:cubicBezTo>
                  <a:cubicBezTo>
                    <a:pt x="131" y="91"/>
                    <a:pt x="140" y="88"/>
                    <a:pt x="140" y="75"/>
                  </a:cubicBezTo>
                  <a:cubicBezTo>
                    <a:pt x="140" y="66"/>
                    <a:pt x="140" y="66"/>
                    <a:pt x="140" y="66"/>
                  </a:cubicBezTo>
                  <a:cubicBezTo>
                    <a:pt x="140" y="51"/>
                    <a:pt x="134" y="46"/>
                    <a:pt x="129" y="45"/>
                  </a:cubicBezTo>
                  <a:cubicBezTo>
                    <a:pt x="129" y="44"/>
                    <a:pt x="128" y="44"/>
                    <a:pt x="128" y="43"/>
                  </a:cubicBezTo>
                  <a:close/>
                  <a:moveTo>
                    <a:pt x="70" y="19"/>
                  </a:moveTo>
                  <a:cubicBezTo>
                    <a:pt x="52" y="19"/>
                    <a:pt x="36" y="29"/>
                    <a:pt x="27" y="43"/>
                  </a:cubicBezTo>
                  <a:cubicBezTo>
                    <a:pt x="27" y="44"/>
                    <a:pt x="27" y="45"/>
                    <a:pt x="26" y="45"/>
                  </a:cubicBezTo>
                  <a:cubicBezTo>
                    <a:pt x="25" y="44"/>
                    <a:pt x="25" y="44"/>
                    <a:pt x="24" y="44"/>
                  </a:cubicBezTo>
                  <a:cubicBezTo>
                    <a:pt x="24" y="44"/>
                    <a:pt x="23" y="44"/>
                    <a:pt x="23" y="42"/>
                  </a:cubicBezTo>
                  <a:cubicBezTo>
                    <a:pt x="24" y="24"/>
                    <a:pt x="44" y="10"/>
                    <a:pt x="67" y="10"/>
                  </a:cubicBezTo>
                  <a:cubicBezTo>
                    <a:pt x="73" y="10"/>
                    <a:pt x="73" y="10"/>
                    <a:pt x="73" y="10"/>
                  </a:cubicBezTo>
                  <a:cubicBezTo>
                    <a:pt x="95" y="10"/>
                    <a:pt x="114" y="24"/>
                    <a:pt x="117" y="43"/>
                  </a:cubicBezTo>
                  <a:cubicBezTo>
                    <a:pt x="117" y="43"/>
                    <a:pt x="117" y="44"/>
                    <a:pt x="116" y="44"/>
                  </a:cubicBezTo>
                  <a:cubicBezTo>
                    <a:pt x="115" y="44"/>
                    <a:pt x="115" y="44"/>
                    <a:pt x="114" y="45"/>
                  </a:cubicBezTo>
                  <a:cubicBezTo>
                    <a:pt x="113" y="45"/>
                    <a:pt x="113" y="44"/>
                    <a:pt x="113" y="43"/>
                  </a:cubicBezTo>
                  <a:cubicBezTo>
                    <a:pt x="104" y="29"/>
                    <a:pt x="88" y="19"/>
                    <a:pt x="70"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AU">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Freeform 84"/>
            <p:cNvSpPr>
              <a:spLocks noEditPoints="1"/>
            </p:cNvSpPr>
            <p:nvPr/>
          </p:nvSpPr>
          <p:spPr bwMode="auto">
            <a:xfrm>
              <a:off x="1279526" y="3975100"/>
              <a:ext cx="398463" cy="193675"/>
            </a:xfrm>
            <a:custGeom>
              <a:avLst/>
              <a:gdLst>
                <a:gd name="T0" fmla="*/ 187 w 188"/>
                <a:gd name="T1" fmla="*/ 86 h 91"/>
                <a:gd name="T2" fmla="*/ 155 w 188"/>
                <a:gd name="T3" fmla="*/ 17 h 91"/>
                <a:gd name="T4" fmla="*/ 134 w 188"/>
                <a:gd name="T5" fmla="*/ 0 h 91"/>
                <a:gd name="T6" fmla="*/ 57 w 188"/>
                <a:gd name="T7" fmla="*/ 0 h 91"/>
                <a:gd name="T8" fmla="*/ 54 w 188"/>
                <a:gd name="T9" fmla="*/ 0 h 91"/>
                <a:gd name="T10" fmla="*/ 33 w 188"/>
                <a:gd name="T11" fmla="*/ 17 h 91"/>
                <a:gd name="T12" fmla="*/ 1 w 188"/>
                <a:gd name="T13" fmla="*/ 86 h 91"/>
                <a:gd name="T14" fmla="*/ 5 w 188"/>
                <a:gd name="T15" fmla="*/ 91 h 91"/>
                <a:gd name="T16" fmla="*/ 29 w 188"/>
                <a:gd name="T17" fmla="*/ 91 h 91"/>
                <a:gd name="T18" fmla="*/ 35 w 188"/>
                <a:gd name="T19" fmla="*/ 87 h 91"/>
                <a:gd name="T20" fmla="*/ 48 w 188"/>
                <a:gd name="T21" fmla="*/ 62 h 91"/>
                <a:gd name="T22" fmla="*/ 52 w 188"/>
                <a:gd name="T23" fmla="*/ 63 h 91"/>
                <a:gd name="T24" fmla="*/ 52 w 188"/>
                <a:gd name="T25" fmla="*/ 85 h 91"/>
                <a:gd name="T26" fmla="*/ 57 w 188"/>
                <a:gd name="T27" fmla="*/ 91 h 91"/>
                <a:gd name="T28" fmla="*/ 136 w 188"/>
                <a:gd name="T29" fmla="*/ 91 h 91"/>
                <a:gd name="T30" fmla="*/ 141 w 188"/>
                <a:gd name="T31" fmla="*/ 83 h 91"/>
                <a:gd name="T32" fmla="*/ 141 w 188"/>
                <a:gd name="T33" fmla="*/ 62 h 91"/>
                <a:gd name="T34" fmla="*/ 144 w 188"/>
                <a:gd name="T35" fmla="*/ 61 h 91"/>
                <a:gd name="T36" fmla="*/ 156 w 188"/>
                <a:gd name="T37" fmla="*/ 86 h 91"/>
                <a:gd name="T38" fmla="*/ 163 w 188"/>
                <a:gd name="T39" fmla="*/ 91 h 91"/>
                <a:gd name="T40" fmla="*/ 183 w 188"/>
                <a:gd name="T41" fmla="*/ 91 h 91"/>
                <a:gd name="T42" fmla="*/ 187 w 188"/>
                <a:gd name="T43" fmla="*/ 86 h 91"/>
                <a:gd name="T44" fmla="*/ 133 w 188"/>
                <a:gd name="T45" fmla="*/ 40 h 91"/>
                <a:gd name="T46" fmla="*/ 129 w 188"/>
                <a:gd name="T47" fmla="*/ 44 h 91"/>
                <a:gd name="T48" fmla="*/ 105 w 188"/>
                <a:gd name="T49" fmla="*/ 44 h 91"/>
                <a:gd name="T50" fmla="*/ 101 w 188"/>
                <a:gd name="T51" fmla="*/ 40 h 91"/>
                <a:gd name="T52" fmla="*/ 101 w 188"/>
                <a:gd name="T53" fmla="*/ 35 h 91"/>
                <a:gd name="T54" fmla="*/ 105 w 188"/>
                <a:gd name="T55" fmla="*/ 31 h 91"/>
                <a:gd name="T56" fmla="*/ 129 w 188"/>
                <a:gd name="T57" fmla="*/ 31 h 91"/>
                <a:gd name="T58" fmla="*/ 133 w 188"/>
                <a:gd name="T59" fmla="*/ 35 h 91"/>
                <a:gd name="T60" fmla="*/ 133 w 188"/>
                <a:gd name="T61"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 h="91">
                  <a:moveTo>
                    <a:pt x="187" y="86"/>
                  </a:moveTo>
                  <a:cubicBezTo>
                    <a:pt x="155" y="17"/>
                    <a:pt x="155" y="17"/>
                    <a:pt x="155" y="17"/>
                  </a:cubicBezTo>
                  <a:cubicBezTo>
                    <a:pt x="154" y="15"/>
                    <a:pt x="147" y="0"/>
                    <a:pt x="134" y="0"/>
                  </a:cubicBezTo>
                  <a:cubicBezTo>
                    <a:pt x="130" y="0"/>
                    <a:pt x="59" y="0"/>
                    <a:pt x="57" y="0"/>
                  </a:cubicBezTo>
                  <a:cubicBezTo>
                    <a:pt x="57" y="0"/>
                    <a:pt x="56" y="0"/>
                    <a:pt x="54" y="0"/>
                  </a:cubicBezTo>
                  <a:cubicBezTo>
                    <a:pt x="39" y="0"/>
                    <a:pt x="34" y="15"/>
                    <a:pt x="33" y="17"/>
                  </a:cubicBezTo>
                  <a:cubicBezTo>
                    <a:pt x="1" y="86"/>
                    <a:pt x="1" y="86"/>
                    <a:pt x="1" y="86"/>
                  </a:cubicBezTo>
                  <a:cubicBezTo>
                    <a:pt x="0" y="88"/>
                    <a:pt x="0" y="91"/>
                    <a:pt x="5" y="91"/>
                  </a:cubicBezTo>
                  <a:cubicBezTo>
                    <a:pt x="5" y="91"/>
                    <a:pt x="22" y="91"/>
                    <a:pt x="29" y="91"/>
                  </a:cubicBezTo>
                  <a:cubicBezTo>
                    <a:pt x="33" y="91"/>
                    <a:pt x="35" y="87"/>
                    <a:pt x="35" y="87"/>
                  </a:cubicBezTo>
                  <a:cubicBezTo>
                    <a:pt x="48" y="62"/>
                    <a:pt x="48" y="62"/>
                    <a:pt x="48" y="62"/>
                  </a:cubicBezTo>
                  <a:cubicBezTo>
                    <a:pt x="48" y="62"/>
                    <a:pt x="52" y="53"/>
                    <a:pt x="52" y="63"/>
                  </a:cubicBezTo>
                  <a:cubicBezTo>
                    <a:pt x="52" y="70"/>
                    <a:pt x="52" y="75"/>
                    <a:pt x="52" y="85"/>
                  </a:cubicBezTo>
                  <a:cubicBezTo>
                    <a:pt x="52" y="88"/>
                    <a:pt x="53" y="91"/>
                    <a:pt x="57" y="91"/>
                  </a:cubicBezTo>
                  <a:cubicBezTo>
                    <a:pt x="78" y="91"/>
                    <a:pt x="116" y="91"/>
                    <a:pt x="136" y="91"/>
                  </a:cubicBezTo>
                  <a:cubicBezTo>
                    <a:pt x="141" y="91"/>
                    <a:pt x="141" y="88"/>
                    <a:pt x="141" y="83"/>
                  </a:cubicBezTo>
                  <a:cubicBezTo>
                    <a:pt x="141" y="73"/>
                    <a:pt x="141" y="70"/>
                    <a:pt x="141" y="62"/>
                  </a:cubicBezTo>
                  <a:cubicBezTo>
                    <a:pt x="141" y="56"/>
                    <a:pt x="144" y="61"/>
                    <a:pt x="144" y="61"/>
                  </a:cubicBezTo>
                  <a:cubicBezTo>
                    <a:pt x="156" y="86"/>
                    <a:pt x="156" y="86"/>
                    <a:pt x="156" y="86"/>
                  </a:cubicBezTo>
                  <a:cubicBezTo>
                    <a:pt x="156" y="86"/>
                    <a:pt x="158" y="91"/>
                    <a:pt x="163" y="91"/>
                  </a:cubicBezTo>
                  <a:cubicBezTo>
                    <a:pt x="168" y="91"/>
                    <a:pt x="183" y="91"/>
                    <a:pt x="183" y="91"/>
                  </a:cubicBezTo>
                  <a:cubicBezTo>
                    <a:pt x="187" y="91"/>
                    <a:pt x="188" y="88"/>
                    <a:pt x="187" y="86"/>
                  </a:cubicBezTo>
                  <a:close/>
                  <a:moveTo>
                    <a:pt x="133" y="40"/>
                  </a:moveTo>
                  <a:cubicBezTo>
                    <a:pt x="133" y="43"/>
                    <a:pt x="131" y="44"/>
                    <a:pt x="129" y="44"/>
                  </a:cubicBezTo>
                  <a:cubicBezTo>
                    <a:pt x="105" y="44"/>
                    <a:pt x="105" y="44"/>
                    <a:pt x="105" y="44"/>
                  </a:cubicBezTo>
                  <a:cubicBezTo>
                    <a:pt x="103" y="44"/>
                    <a:pt x="101" y="43"/>
                    <a:pt x="101" y="40"/>
                  </a:cubicBezTo>
                  <a:cubicBezTo>
                    <a:pt x="101" y="35"/>
                    <a:pt x="101" y="35"/>
                    <a:pt x="101" y="35"/>
                  </a:cubicBezTo>
                  <a:cubicBezTo>
                    <a:pt x="101" y="33"/>
                    <a:pt x="103" y="31"/>
                    <a:pt x="105" y="31"/>
                  </a:cubicBezTo>
                  <a:cubicBezTo>
                    <a:pt x="129" y="31"/>
                    <a:pt x="129" y="31"/>
                    <a:pt x="129" y="31"/>
                  </a:cubicBezTo>
                  <a:cubicBezTo>
                    <a:pt x="131" y="31"/>
                    <a:pt x="133" y="33"/>
                    <a:pt x="133" y="35"/>
                  </a:cubicBezTo>
                  <a:lnTo>
                    <a:pt x="133" y="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AU">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18" name="文本框 1"/>
          <p:cNvSpPr>
            <a:spLocks noChangeArrowheads="1"/>
          </p:cNvSpPr>
          <p:nvPr/>
        </p:nvSpPr>
        <p:spPr bwMode="auto">
          <a:xfrm>
            <a:off x="1199456" y="266861"/>
            <a:ext cx="2784309" cy="533480"/>
          </a:xfrm>
          <a:prstGeom prst="rect">
            <a:avLst/>
          </a:prstGeom>
          <a:noFill/>
          <a:ln w="9525">
            <a:noFill/>
            <a:miter lim="800000"/>
          </a:ln>
        </p:spPr>
        <p:txBody>
          <a:bodyPr wrap="square" lIns="121917" tIns="60958" rIns="121917" bIns="60958">
            <a:spAutoFit/>
          </a:bodyPr>
          <a:lstStyle/>
          <a:p>
            <a:pPr algn="ctr"/>
            <a:r>
              <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科信通贷款业务</a:t>
            </a:r>
            <a:endPar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A_椭圆 37"/>
          <p:cNvSpPr/>
          <p:nvPr>
            <p:custDataLst>
              <p:tags r:id="rId1"/>
            </p:custDataLst>
          </p:nvPr>
        </p:nvSpPr>
        <p:spPr>
          <a:xfrm>
            <a:off x="1427951" y="1412776"/>
            <a:ext cx="1152000" cy="1152000"/>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600" b="1">
              <a:solidFill>
                <a:schemeClr val="bg1"/>
              </a:solidFill>
              <a:effectLst>
                <a:outerShdw blurRad="38100" dist="38100" dir="2700000" algn="tl">
                  <a:srgbClr val="000000">
                    <a:alpha val="43137"/>
                  </a:srgbClr>
                </a:outerShdw>
              </a:effectLst>
            </a:endParaRPr>
          </a:p>
        </p:txBody>
      </p:sp>
      <p:sp>
        <p:nvSpPr>
          <p:cNvPr id="6" name="PA_椭圆 38"/>
          <p:cNvSpPr/>
          <p:nvPr>
            <p:custDataLst>
              <p:tags r:id="rId2"/>
            </p:custDataLst>
          </p:nvPr>
        </p:nvSpPr>
        <p:spPr>
          <a:xfrm>
            <a:off x="4201603" y="1412776"/>
            <a:ext cx="1152000" cy="1152000"/>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600" b="1">
              <a:solidFill>
                <a:schemeClr val="bg1"/>
              </a:solidFill>
              <a:effectLst>
                <a:outerShdw blurRad="38100" dist="38100" dir="2700000" algn="tl">
                  <a:srgbClr val="000000">
                    <a:alpha val="43137"/>
                  </a:srgbClr>
                </a:outerShdw>
              </a:effectLst>
            </a:endParaRPr>
          </a:p>
        </p:txBody>
      </p:sp>
      <p:sp>
        <p:nvSpPr>
          <p:cNvPr id="7" name="PA_椭圆 39"/>
          <p:cNvSpPr/>
          <p:nvPr>
            <p:custDataLst>
              <p:tags r:id="rId3"/>
            </p:custDataLst>
          </p:nvPr>
        </p:nvSpPr>
        <p:spPr>
          <a:xfrm>
            <a:off x="6960224" y="1412776"/>
            <a:ext cx="1152000" cy="1152000"/>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600" b="1">
              <a:solidFill>
                <a:schemeClr val="bg1"/>
              </a:solidFill>
              <a:effectLst>
                <a:outerShdw blurRad="38100" dist="38100" dir="2700000" algn="tl">
                  <a:srgbClr val="000000">
                    <a:alpha val="43137"/>
                  </a:srgbClr>
                </a:outerShdw>
              </a:effectLst>
            </a:endParaRPr>
          </a:p>
        </p:txBody>
      </p:sp>
      <p:sp>
        <p:nvSpPr>
          <p:cNvPr id="8" name="PA_椭圆 40"/>
          <p:cNvSpPr/>
          <p:nvPr>
            <p:custDataLst>
              <p:tags r:id="rId4"/>
            </p:custDataLst>
          </p:nvPr>
        </p:nvSpPr>
        <p:spPr>
          <a:xfrm>
            <a:off x="9648523" y="1412776"/>
            <a:ext cx="1152000" cy="1152000"/>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600" b="1">
              <a:solidFill>
                <a:schemeClr val="bg1"/>
              </a:solidFill>
              <a:effectLst>
                <a:outerShdw blurRad="38100" dist="38100" dir="2700000" algn="tl">
                  <a:srgbClr val="000000">
                    <a:alpha val="43137"/>
                  </a:srgbClr>
                </a:outerShdw>
              </a:effectLst>
            </a:endParaRPr>
          </a:p>
        </p:txBody>
      </p:sp>
      <p:sp>
        <p:nvSpPr>
          <p:cNvPr id="9" name="PA_TextPlaceholder 32"/>
          <p:cNvSpPr txBox="1"/>
          <p:nvPr>
            <p:custDataLst>
              <p:tags r:id="rId5"/>
            </p:custDataLst>
          </p:nvPr>
        </p:nvSpPr>
        <p:spPr>
          <a:xfrm>
            <a:off x="1007434" y="3516108"/>
            <a:ext cx="2060659" cy="3022568"/>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ü"/>
            </a:pPr>
            <a:r>
              <a:rPr lang="zh-CN" altLang="en-US" sz="1600" dirty="0">
                <a:solidFill>
                  <a:srgbClr val="262626"/>
                </a:solidFill>
                <a:latin typeface="微软雅黑" panose="020B0503020204020204" pitchFamily="34" charset="-122"/>
                <a:ea typeface="微软雅黑" panose="020B0503020204020204" pitchFamily="34" charset="-122"/>
                <a:cs typeface="Roboto light"/>
              </a:rPr>
              <a:t>最高</a:t>
            </a:r>
            <a:r>
              <a:rPr lang="en-US" altLang="zh-CN" sz="1600" dirty="0">
                <a:solidFill>
                  <a:srgbClr val="262626"/>
                </a:solidFill>
                <a:latin typeface="微软雅黑" panose="020B0503020204020204" pitchFamily="34" charset="-122"/>
                <a:ea typeface="微软雅黑" panose="020B0503020204020204" pitchFamily="34" charset="-122"/>
                <a:cs typeface="Roboto light"/>
              </a:rPr>
              <a:t>300</a:t>
            </a:r>
            <a:r>
              <a:rPr lang="zh-CN" altLang="en-US" sz="1600" dirty="0">
                <a:solidFill>
                  <a:srgbClr val="262626"/>
                </a:solidFill>
                <a:latin typeface="微软雅黑" panose="020B0503020204020204" pitchFamily="34" charset="-122"/>
                <a:ea typeface="微软雅黑" panose="020B0503020204020204" pitchFamily="34" charset="-122"/>
                <a:cs typeface="Roboto light"/>
              </a:rPr>
              <a:t>万（含）</a:t>
            </a:r>
            <a:endParaRPr lang="en-US" altLang="zh-CN" sz="1600" dirty="0">
              <a:solidFill>
                <a:srgbClr val="262626"/>
              </a:solidFill>
              <a:latin typeface="微软雅黑" panose="020B0503020204020204" pitchFamily="34" charset="-122"/>
              <a:ea typeface="微软雅黑" panose="020B0503020204020204" pitchFamily="34" charset="-122"/>
              <a:cs typeface="Roboto light"/>
            </a:endParaRPr>
          </a:p>
          <a:p>
            <a:pPr>
              <a:lnSpc>
                <a:spcPct val="100000"/>
              </a:lnSpc>
              <a:buFont typeface="Wingdings" panose="05000000000000000000" pitchFamily="2" charset="2"/>
              <a:buChar char="ü"/>
            </a:pPr>
            <a:r>
              <a:rPr lang="zh-CN" altLang="en-US" sz="1600" dirty="0">
                <a:solidFill>
                  <a:srgbClr val="262626"/>
                </a:solidFill>
                <a:latin typeface="微软雅黑" panose="020B0503020204020204" pitchFamily="34" charset="-122"/>
                <a:ea typeface="微软雅黑" panose="020B0503020204020204" pitchFamily="34" charset="-122"/>
                <a:cs typeface="Roboto light"/>
              </a:rPr>
              <a:t>可与常规授信业务并行，单一客户合计额度最高</a:t>
            </a:r>
            <a:r>
              <a:rPr lang="en-US" altLang="zh-CN" sz="1600" dirty="0">
                <a:solidFill>
                  <a:srgbClr val="262626"/>
                </a:solidFill>
                <a:latin typeface="微软雅黑" panose="020B0503020204020204" pitchFamily="34" charset="-122"/>
                <a:ea typeface="微软雅黑" panose="020B0503020204020204" pitchFamily="34" charset="-122"/>
                <a:cs typeface="Roboto light"/>
              </a:rPr>
              <a:t>3000</a:t>
            </a:r>
            <a:r>
              <a:rPr lang="zh-CN" altLang="en-US" sz="1600" dirty="0">
                <a:solidFill>
                  <a:srgbClr val="262626"/>
                </a:solidFill>
                <a:latin typeface="微软雅黑" panose="020B0503020204020204" pitchFamily="34" charset="-122"/>
                <a:ea typeface="微软雅黑" panose="020B0503020204020204" pitchFamily="34" charset="-122"/>
                <a:cs typeface="Roboto light"/>
              </a:rPr>
              <a:t>万（含）</a:t>
            </a:r>
            <a:endParaRPr lang="en-US" sz="1600" dirty="0">
              <a:solidFill>
                <a:srgbClr val="262626"/>
              </a:solidFill>
              <a:latin typeface="微软雅黑" panose="020B0503020204020204" pitchFamily="34" charset="-122"/>
              <a:ea typeface="微软雅黑" panose="020B0503020204020204" pitchFamily="34" charset="-122"/>
              <a:cs typeface="Roboto light"/>
            </a:endParaRPr>
          </a:p>
        </p:txBody>
      </p:sp>
      <p:sp>
        <p:nvSpPr>
          <p:cNvPr id="10" name="PA_TextPlaceholder 33"/>
          <p:cNvSpPr txBox="1"/>
          <p:nvPr>
            <p:custDataLst>
              <p:tags r:id="rId6"/>
            </p:custDataLst>
          </p:nvPr>
        </p:nvSpPr>
        <p:spPr>
          <a:xfrm>
            <a:off x="1007434" y="3015887"/>
            <a:ext cx="2060659" cy="37152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zh-CN" altLang="en-US" sz="1900" b="1" dirty="0">
                <a:solidFill>
                  <a:srgbClr val="C00000"/>
                </a:solidFill>
                <a:latin typeface="微软雅黑" panose="020B0503020204020204" pitchFamily="34" charset="-122"/>
                <a:ea typeface="微软雅黑" panose="020B0503020204020204" pitchFamily="34" charset="-122"/>
                <a:cs typeface="Roboto medium"/>
              </a:rPr>
              <a:t>额度</a:t>
            </a:r>
            <a:endParaRPr lang="en-AU" sz="1900" b="1" dirty="0">
              <a:solidFill>
                <a:srgbClr val="C00000"/>
              </a:solidFill>
              <a:latin typeface="微软雅黑" panose="020B0503020204020204" pitchFamily="34" charset="-122"/>
              <a:ea typeface="微软雅黑" panose="020B0503020204020204" pitchFamily="34" charset="-122"/>
              <a:cs typeface="Roboto medium"/>
            </a:endParaRPr>
          </a:p>
        </p:txBody>
      </p:sp>
      <p:sp>
        <p:nvSpPr>
          <p:cNvPr id="11" name="PA_TextPlaceholder 32"/>
          <p:cNvSpPr txBox="1"/>
          <p:nvPr>
            <p:custDataLst>
              <p:tags r:id="rId7"/>
            </p:custDataLst>
          </p:nvPr>
        </p:nvSpPr>
        <p:spPr>
          <a:xfrm>
            <a:off x="3778143" y="3516109"/>
            <a:ext cx="2060659" cy="279321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600" dirty="0">
                <a:solidFill>
                  <a:srgbClr val="262626"/>
                </a:solidFill>
                <a:latin typeface="微软雅黑" panose="020B0503020204020204" pitchFamily="34" charset="-122"/>
                <a:ea typeface="微软雅黑" panose="020B0503020204020204" pitchFamily="34" charset="-122"/>
                <a:cs typeface="Roboto light"/>
              </a:rPr>
              <a:t>单笔授信期限最长</a:t>
            </a:r>
            <a:r>
              <a:rPr lang="en-US" altLang="zh-CN" sz="1600" dirty="0">
                <a:solidFill>
                  <a:srgbClr val="262626"/>
                </a:solidFill>
                <a:latin typeface="微软雅黑" panose="020B0503020204020204" pitchFamily="34" charset="-122"/>
                <a:ea typeface="微软雅黑" panose="020B0503020204020204" pitchFamily="34" charset="-122"/>
                <a:cs typeface="Roboto light"/>
              </a:rPr>
              <a:t>1</a:t>
            </a:r>
            <a:r>
              <a:rPr lang="zh-CN" altLang="en-US" sz="1600" dirty="0">
                <a:solidFill>
                  <a:srgbClr val="262626"/>
                </a:solidFill>
                <a:latin typeface="微软雅黑" panose="020B0503020204020204" pitchFamily="34" charset="-122"/>
                <a:ea typeface="微软雅黑" panose="020B0503020204020204" pitchFamily="34" charset="-122"/>
                <a:cs typeface="Roboto light"/>
              </a:rPr>
              <a:t>年（含）</a:t>
            </a:r>
            <a:endParaRPr lang="en-US" altLang="zh-CN" sz="1600" dirty="0">
              <a:solidFill>
                <a:srgbClr val="262626"/>
              </a:solidFill>
              <a:latin typeface="微软雅黑" panose="020B0503020204020204" pitchFamily="34" charset="-122"/>
              <a:ea typeface="微软雅黑" panose="020B0503020204020204" pitchFamily="34" charset="-122"/>
              <a:cs typeface="Roboto light"/>
            </a:endParaRPr>
          </a:p>
          <a:p>
            <a:pPr>
              <a:lnSpc>
                <a:spcPct val="100000"/>
              </a:lnSpc>
              <a:buFont typeface="Wingdings" panose="05000000000000000000" pitchFamily="2" charset="2"/>
              <a:buChar char="u"/>
            </a:pPr>
            <a:r>
              <a:rPr lang="zh-CN" altLang="en-US" sz="1600" dirty="0">
                <a:solidFill>
                  <a:srgbClr val="262626"/>
                </a:solidFill>
                <a:latin typeface="微软雅黑" panose="020B0503020204020204" pitchFamily="34" charset="-122"/>
                <a:ea typeface="微软雅黑" panose="020B0503020204020204" pitchFamily="34" charset="-122"/>
                <a:cs typeface="Roboto light"/>
              </a:rPr>
              <a:t>单笔贷款期限最长</a:t>
            </a:r>
            <a:r>
              <a:rPr lang="en-US" altLang="zh-CN" sz="1600" dirty="0">
                <a:solidFill>
                  <a:srgbClr val="262626"/>
                </a:solidFill>
                <a:latin typeface="微软雅黑" panose="020B0503020204020204" pitchFamily="34" charset="-122"/>
                <a:ea typeface="微软雅黑" panose="020B0503020204020204" pitchFamily="34" charset="-122"/>
                <a:cs typeface="Roboto light"/>
              </a:rPr>
              <a:t>2</a:t>
            </a:r>
            <a:r>
              <a:rPr lang="zh-CN" altLang="en-US" sz="1600" dirty="0">
                <a:solidFill>
                  <a:srgbClr val="262626"/>
                </a:solidFill>
                <a:latin typeface="微软雅黑" panose="020B0503020204020204" pitchFamily="34" charset="-122"/>
                <a:ea typeface="微软雅黑" panose="020B0503020204020204" pitchFamily="34" charset="-122"/>
                <a:cs typeface="Roboto light"/>
              </a:rPr>
              <a:t>年（含）</a:t>
            </a:r>
            <a:endParaRPr lang="en-US" sz="1600" dirty="0">
              <a:solidFill>
                <a:srgbClr val="262626"/>
              </a:solidFill>
              <a:latin typeface="微软雅黑" panose="020B0503020204020204" pitchFamily="34" charset="-122"/>
              <a:ea typeface="微软雅黑" panose="020B0503020204020204" pitchFamily="34" charset="-122"/>
              <a:cs typeface="Roboto light"/>
            </a:endParaRPr>
          </a:p>
        </p:txBody>
      </p:sp>
      <p:sp>
        <p:nvSpPr>
          <p:cNvPr id="12" name="PA_TextPlaceholder 33"/>
          <p:cNvSpPr txBox="1"/>
          <p:nvPr>
            <p:custDataLst>
              <p:tags r:id="rId8"/>
            </p:custDataLst>
          </p:nvPr>
        </p:nvSpPr>
        <p:spPr>
          <a:xfrm>
            <a:off x="3778143" y="3015887"/>
            <a:ext cx="2060659" cy="37152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zh-CN" altLang="en-US" sz="1900" b="1" dirty="0">
                <a:solidFill>
                  <a:srgbClr val="C00000"/>
                </a:solidFill>
                <a:latin typeface="微软雅黑" panose="020B0503020204020204" pitchFamily="34" charset="-122"/>
                <a:ea typeface="微软雅黑" panose="020B0503020204020204" pitchFamily="34" charset="-122"/>
                <a:cs typeface="Roboto medium"/>
              </a:rPr>
              <a:t>期限</a:t>
            </a:r>
            <a:endParaRPr lang="en-AU" sz="1900" b="1" dirty="0">
              <a:solidFill>
                <a:srgbClr val="C00000"/>
              </a:solidFill>
              <a:latin typeface="微软雅黑" panose="020B0503020204020204" pitchFamily="34" charset="-122"/>
              <a:ea typeface="微软雅黑" panose="020B0503020204020204" pitchFamily="34" charset="-122"/>
              <a:cs typeface="Roboto medium"/>
            </a:endParaRPr>
          </a:p>
        </p:txBody>
      </p:sp>
      <p:sp>
        <p:nvSpPr>
          <p:cNvPr id="13" name="PA_TextPlaceholder 32"/>
          <p:cNvSpPr txBox="1"/>
          <p:nvPr>
            <p:custDataLst>
              <p:tags r:id="rId9"/>
            </p:custDataLst>
          </p:nvPr>
        </p:nvSpPr>
        <p:spPr>
          <a:xfrm>
            <a:off x="6468641" y="3516108"/>
            <a:ext cx="2060659" cy="3022568"/>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ü"/>
            </a:pPr>
            <a:r>
              <a:rPr lang="zh-CN" altLang="en-US" sz="1600" dirty="0">
                <a:solidFill>
                  <a:srgbClr val="262626"/>
                </a:solidFill>
                <a:latin typeface="微软雅黑" panose="020B0503020204020204" pitchFamily="34" charset="-122"/>
                <a:ea typeface="微软雅黑" panose="020B0503020204020204" pitchFamily="34" charset="-122"/>
                <a:cs typeface="Roboto light"/>
              </a:rPr>
              <a:t>日常生产经营周转流动资金：采购原材料、给付租金、支付研发费用、购买技术等</a:t>
            </a:r>
            <a:endParaRPr lang="en-US" altLang="zh-CN" sz="1600" dirty="0">
              <a:solidFill>
                <a:srgbClr val="262626"/>
              </a:solidFill>
              <a:latin typeface="微软雅黑" panose="020B0503020204020204" pitchFamily="34" charset="-122"/>
              <a:ea typeface="微软雅黑" panose="020B0503020204020204" pitchFamily="34" charset="-122"/>
              <a:cs typeface="Roboto light"/>
            </a:endParaRPr>
          </a:p>
          <a:p>
            <a:pPr>
              <a:lnSpc>
                <a:spcPct val="100000"/>
              </a:lnSpc>
              <a:buFont typeface="Wingdings" panose="05000000000000000000" pitchFamily="2" charset="2"/>
              <a:buChar char="ü"/>
            </a:pPr>
            <a:endParaRPr lang="en-US" altLang="zh-CN" sz="1600" dirty="0">
              <a:solidFill>
                <a:srgbClr val="262626"/>
              </a:solidFill>
              <a:latin typeface="微软雅黑" panose="020B0503020204020204" pitchFamily="34" charset="-122"/>
              <a:ea typeface="微软雅黑" panose="020B0503020204020204" pitchFamily="34" charset="-122"/>
              <a:cs typeface="Roboto light"/>
            </a:endParaRPr>
          </a:p>
          <a:p>
            <a:pPr>
              <a:lnSpc>
                <a:spcPct val="100000"/>
              </a:lnSpc>
              <a:buFont typeface="Wingdings" panose="05000000000000000000" pitchFamily="2" charset="2"/>
              <a:buChar char="ü"/>
            </a:pPr>
            <a:r>
              <a:rPr lang="zh-CN" altLang="en-US" sz="1600" dirty="0">
                <a:solidFill>
                  <a:srgbClr val="262626"/>
                </a:solidFill>
                <a:latin typeface="微软雅黑" panose="020B0503020204020204" pitchFamily="34" charset="-122"/>
                <a:ea typeface="微软雅黑" panose="020B0503020204020204" pitchFamily="34" charset="-122"/>
                <a:cs typeface="Roboto light"/>
              </a:rPr>
              <a:t>固定资产投资：购买及其设备和科研仪器、扩大再生产的技术改造等</a:t>
            </a:r>
            <a:endParaRPr lang="en-US" sz="1600" dirty="0">
              <a:solidFill>
                <a:srgbClr val="262626"/>
              </a:solidFill>
              <a:latin typeface="微软雅黑" panose="020B0503020204020204" pitchFamily="34" charset="-122"/>
              <a:ea typeface="微软雅黑" panose="020B0503020204020204" pitchFamily="34" charset="-122"/>
              <a:cs typeface="Roboto light"/>
            </a:endParaRPr>
          </a:p>
        </p:txBody>
      </p:sp>
      <p:sp>
        <p:nvSpPr>
          <p:cNvPr id="14" name="PA_TextPlaceholder 33"/>
          <p:cNvSpPr txBox="1"/>
          <p:nvPr>
            <p:custDataLst>
              <p:tags r:id="rId10"/>
            </p:custDataLst>
          </p:nvPr>
        </p:nvSpPr>
        <p:spPr>
          <a:xfrm>
            <a:off x="6466619" y="3015887"/>
            <a:ext cx="2060659" cy="37152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zh-CN" altLang="en-US" sz="1900" b="1" dirty="0">
                <a:solidFill>
                  <a:srgbClr val="C00000"/>
                </a:solidFill>
                <a:latin typeface="微软雅黑" panose="020B0503020204020204" pitchFamily="34" charset="-122"/>
                <a:ea typeface="微软雅黑" panose="020B0503020204020204" pitchFamily="34" charset="-122"/>
                <a:cs typeface="Roboto medium"/>
              </a:rPr>
              <a:t>用途</a:t>
            </a:r>
            <a:endParaRPr lang="en-AU" sz="1900" b="1" dirty="0">
              <a:solidFill>
                <a:srgbClr val="C00000"/>
              </a:solidFill>
              <a:latin typeface="微软雅黑" panose="020B0503020204020204" pitchFamily="34" charset="-122"/>
              <a:ea typeface="微软雅黑" panose="020B0503020204020204" pitchFamily="34" charset="-122"/>
              <a:cs typeface="Roboto medium"/>
            </a:endParaRPr>
          </a:p>
        </p:txBody>
      </p:sp>
      <p:sp>
        <p:nvSpPr>
          <p:cNvPr id="15" name="PA_TextPlaceholder 32"/>
          <p:cNvSpPr txBox="1"/>
          <p:nvPr>
            <p:custDataLst>
              <p:tags r:id="rId11"/>
            </p:custDataLst>
          </p:nvPr>
        </p:nvSpPr>
        <p:spPr>
          <a:xfrm>
            <a:off x="9144511" y="3516108"/>
            <a:ext cx="2060659" cy="3022568"/>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600" dirty="0">
                <a:solidFill>
                  <a:srgbClr val="262626"/>
                </a:solidFill>
                <a:latin typeface="微软雅黑" panose="020B0503020204020204" pitchFamily="34" charset="-122"/>
                <a:ea typeface="微软雅黑" panose="020B0503020204020204" pitchFamily="34" charset="-122"/>
                <a:cs typeface="Roboto light"/>
              </a:rPr>
              <a:t>采用免抵（质）押担保，由法定代表人、实际控制人、主要股东及其配偶提供连带责任保证担保即可</a:t>
            </a:r>
            <a:endParaRPr lang="en-US" altLang="zh-CN" sz="1600" dirty="0">
              <a:solidFill>
                <a:srgbClr val="262626"/>
              </a:solidFill>
              <a:latin typeface="微软雅黑" panose="020B0503020204020204" pitchFamily="34" charset="-122"/>
              <a:ea typeface="微软雅黑" panose="020B0503020204020204" pitchFamily="34" charset="-122"/>
              <a:cs typeface="Roboto light"/>
            </a:endParaRPr>
          </a:p>
          <a:p>
            <a:pPr marL="0" indent="0">
              <a:lnSpc>
                <a:spcPct val="100000"/>
              </a:lnSpc>
              <a:buNone/>
            </a:pPr>
            <a:endParaRPr lang="en-US" altLang="zh-CN" sz="100" dirty="0">
              <a:solidFill>
                <a:srgbClr val="262626"/>
              </a:solidFill>
              <a:latin typeface="微软雅黑" panose="020B0503020204020204" pitchFamily="34" charset="-122"/>
              <a:ea typeface="微软雅黑" panose="020B0503020204020204" pitchFamily="34" charset="-122"/>
              <a:cs typeface="Roboto light"/>
            </a:endParaRPr>
          </a:p>
          <a:p>
            <a:pPr>
              <a:lnSpc>
                <a:spcPct val="100000"/>
              </a:lnSpc>
              <a:buFont typeface="Wingdings" panose="05000000000000000000" pitchFamily="2" charset="2"/>
              <a:buChar char="u"/>
            </a:pPr>
            <a:r>
              <a:rPr lang="zh-CN" altLang="en-US" sz="1600" dirty="0">
                <a:solidFill>
                  <a:srgbClr val="262626"/>
                </a:solidFill>
                <a:latin typeface="微软雅黑" panose="020B0503020204020204" pitchFamily="34" charset="-122"/>
                <a:ea typeface="微软雅黑" panose="020B0503020204020204" pitchFamily="34" charset="-122"/>
                <a:cs typeface="Roboto light"/>
              </a:rPr>
              <a:t>通过政府风险补偿金、财政补贴等增信担保</a:t>
            </a:r>
            <a:endParaRPr lang="en-US" altLang="zh-CN" sz="1600" dirty="0">
              <a:solidFill>
                <a:srgbClr val="262626"/>
              </a:solidFill>
              <a:latin typeface="微软雅黑" panose="020B0503020204020204" pitchFamily="34" charset="-122"/>
              <a:ea typeface="微软雅黑" panose="020B0503020204020204" pitchFamily="34" charset="-122"/>
              <a:cs typeface="Roboto light"/>
            </a:endParaRPr>
          </a:p>
        </p:txBody>
      </p:sp>
      <p:sp>
        <p:nvSpPr>
          <p:cNvPr id="16" name="PA_TextPlaceholder 33"/>
          <p:cNvSpPr txBox="1"/>
          <p:nvPr>
            <p:custDataLst>
              <p:tags r:id="rId12"/>
            </p:custDataLst>
          </p:nvPr>
        </p:nvSpPr>
        <p:spPr>
          <a:xfrm>
            <a:off x="9144511" y="3015887"/>
            <a:ext cx="2060659" cy="37152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zh-CN" altLang="en-US" sz="1900" b="1" dirty="0">
                <a:solidFill>
                  <a:srgbClr val="C00000"/>
                </a:solidFill>
                <a:latin typeface="微软雅黑" panose="020B0503020204020204" pitchFamily="34" charset="-122"/>
                <a:ea typeface="微软雅黑" panose="020B0503020204020204" pitchFamily="34" charset="-122"/>
                <a:cs typeface="Roboto medium"/>
              </a:rPr>
              <a:t>担保方式</a:t>
            </a:r>
            <a:endParaRPr lang="en-AU" sz="1900" b="1" dirty="0">
              <a:solidFill>
                <a:srgbClr val="C00000"/>
              </a:solidFill>
              <a:latin typeface="微软雅黑" panose="020B0503020204020204" pitchFamily="34" charset="-122"/>
              <a:ea typeface="微软雅黑" panose="020B0503020204020204" pitchFamily="34" charset="-122"/>
              <a:cs typeface="Roboto medium"/>
            </a:endParaRPr>
          </a:p>
        </p:txBody>
      </p:sp>
      <p:sp>
        <p:nvSpPr>
          <p:cNvPr id="17" name="PA_任意多边形 6"/>
          <p:cNvSpPr>
            <a:spLocks noEditPoints="1"/>
          </p:cNvSpPr>
          <p:nvPr>
            <p:custDataLst>
              <p:tags r:id="rId13"/>
            </p:custDataLst>
          </p:nvPr>
        </p:nvSpPr>
        <p:spPr bwMode="auto">
          <a:xfrm>
            <a:off x="9980311" y="1856082"/>
            <a:ext cx="488423" cy="340537"/>
          </a:xfrm>
          <a:custGeom>
            <a:avLst/>
            <a:gdLst>
              <a:gd name="T0" fmla="*/ 584 w 971"/>
              <a:gd name="T1" fmla="*/ 0 h 677"/>
              <a:gd name="T2" fmla="*/ 608 w 971"/>
              <a:gd name="T3" fmla="*/ 2 h 677"/>
              <a:gd name="T4" fmla="*/ 651 w 971"/>
              <a:gd name="T5" fmla="*/ 21 h 677"/>
              <a:gd name="T6" fmla="*/ 685 w 971"/>
              <a:gd name="T7" fmla="*/ 54 h 677"/>
              <a:gd name="T8" fmla="*/ 703 w 971"/>
              <a:gd name="T9" fmla="*/ 97 h 677"/>
              <a:gd name="T10" fmla="*/ 705 w 971"/>
              <a:gd name="T11" fmla="*/ 346 h 677"/>
              <a:gd name="T12" fmla="*/ 703 w 971"/>
              <a:gd name="T13" fmla="*/ 370 h 677"/>
              <a:gd name="T14" fmla="*/ 685 w 971"/>
              <a:gd name="T15" fmla="*/ 413 h 677"/>
              <a:gd name="T16" fmla="*/ 651 w 971"/>
              <a:gd name="T17" fmla="*/ 446 h 677"/>
              <a:gd name="T18" fmla="*/ 608 w 971"/>
              <a:gd name="T19" fmla="*/ 465 h 677"/>
              <a:gd name="T20" fmla="*/ 238 w 971"/>
              <a:gd name="T21" fmla="*/ 467 h 677"/>
              <a:gd name="T22" fmla="*/ 138 w 971"/>
              <a:gd name="T23" fmla="*/ 467 h 677"/>
              <a:gd name="T24" fmla="*/ 121 w 971"/>
              <a:gd name="T25" fmla="*/ 467 h 677"/>
              <a:gd name="T26" fmla="*/ 73 w 971"/>
              <a:gd name="T27" fmla="*/ 458 h 677"/>
              <a:gd name="T28" fmla="*/ 36 w 971"/>
              <a:gd name="T29" fmla="*/ 433 h 677"/>
              <a:gd name="T30" fmla="*/ 8 w 971"/>
              <a:gd name="T31" fmla="*/ 394 h 677"/>
              <a:gd name="T32" fmla="*/ 0 w 971"/>
              <a:gd name="T33" fmla="*/ 346 h 677"/>
              <a:gd name="T34" fmla="*/ 0 w 971"/>
              <a:gd name="T35" fmla="*/ 121 h 677"/>
              <a:gd name="T36" fmla="*/ 8 w 971"/>
              <a:gd name="T37" fmla="*/ 76 h 677"/>
              <a:gd name="T38" fmla="*/ 36 w 971"/>
              <a:gd name="T39" fmla="*/ 37 h 677"/>
              <a:gd name="T40" fmla="*/ 73 w 971"/>
              <a:gd name="T41" fmla="*/ 11 h 677"/>
              <a:gd name="T42" fmla="*/ 121 w 971"/>
              <a:gd name="T43" fmla="*/ 0 h 677"/>
              <a:gd name="T44" fmla="*/ 848 w 971"/>
              <a:gd name="T45" fmla="*/ 110 h 677"/>
              <a:gd name="T46" fmla="*/ 757 w 971"/>
              <a:gd name="T47" fmla="*/ 110 h 677"/>
              <a:gd name="T48" fmla="*/ 759 w 971"/>
              <a:gd name="T49" fmla="*/ 145 h 677"/>
              <a:gd name="T50" fmla="*/ 759 w 971"/>
              <a:gd name="T51" fmla="*/ 368 h 677"/>
              <a:gd name="T52" fmla="*/ 757 w 971"/>
              <a:gd name="T53" fmla="*/ 402 h 677"/>
              <a:gd name="T54" fmla="*/ 746 w 971"/>
              <a:gd name="T55" fmla="*/ 433 h 677"/>
              <a:gd name="T56" fmla="*/ 731 w 971"/>
              <a:gd name="T57" fmla="*/ 461 h 677"/>
              <a:gd name="T58" fmla="*/ 711 w 971"/>
              <a:gd name="T59" fmla="*/ 484 h 677"/>
              <a:gd name="T60" fmla="*/ 688 w 971"/>
              <a:gd name="T61" fmla="*/ 504 h 677"/>
              <a:gd name="T62" fmla="*/ 659 w 971"/>
              <a:gd name="T63" fmla="*/ 519 h 677"/>
              <a:gd name="T64" fmla="*/ 629 w 971"/>
              <a:gd name="T65" fmla="*/ 530 h 677"/>
              <a:gd name="T66" fmla="*/ 595 w 971"/>
              <a:gd name="T67" fmla="*/ 532 h 677"/>
              <a:gd name="T68" fmla="*/ 292 w 971"/>
              <a:gd name="T69" fmla="*/ 532 h 677"/>
              <a:gd name="T70" fmla="*/ 311 w 971"/>
              <a:gd name="T71" fmla="*/ 552 h 677"/>
              <a:gd name="T72" fmla="*/ 333 w 971"/>
              <a:gd name="T73" fmla="*/ 564 h 677"/>
              <a:gd name="T74" fmla="*/ 359 w 971"/>
              <a:gd name="T75" fmla="*/ 575 h 677"/>
              <a:gd name="T76" fmla="*/ 385 w 971"/>
              <a:gd name="T77" fmla="*/ 577 h 677"/>
              <a:gd name="T78" fmla="*/ 833 w 971"/>
              <a:gd name="T79" fmla="*/ 677 h 677"/>
              <a:gd name="T80" fmla="*/ 848 w 971"/>
              <a:gd name="T81" fmla="*/ 577 h 677"/>
              <a:gd name="T82" fmla="*/ 874 w 971"/>
              <a:gd name="T83" fmla="*/ 575 h 677"/>
              <a:gd name="T84" fmla="*/ 917 w 971"/>
              <a:gd name="T85" fmla="*/ 556 h 677"/>
              <a:gd name="T86" fmla="*/ 949 w 971"/>
              <a:gd name="T87" fmla="*/ 523 h 677"/>
              <a:gd name="T88" fmla="*/ 967 w 971"/>
              <a:gd name="T89" fmla="*/ 480 h 677"/>
              <a:gd name="T90" fmla="*/ 971 w 971"/>
              <a:gd name="T91" fmla="*/ 231 h 677"/>
              <a:gd name="T92" fmla="*/ 967 w 971"/>
              <a:gd name="T93" fmla="*/ 208 h 677"/>
              <a:gd name="T94" fmla="*/ 949 w 971"/>
              <a:gd name="T95" fmla="*/ 164 h 677"/>
              <a:gd name="T96" fmla="*/ 917 w 971"/>
              <a:gd name="T97" fmla="*/ 132 h 677"/>
              <a:gd name="T98" fmla="*/ 874 w 971"/>
              <a:gd name="T99" fmla="*/ 112 h 677"/>
              <a:gd name="T100" fmla="*/ 848 w 971"/>
              <a:gd name="T101" fmla="*/ 11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1" h="677">
                <a:moveTo>
                  <a:pt x="121" y="0"/>
                </a:moveTo>
                <a:lnTo>
                  <a:pt x="584" y="0"/>
                </a:lnTo>
                <a:lnTo>
                  <a:pt x="584" y="0"/>
                </a:lnTo>
                <a:lnTo>
                  <a:pt x="608" y="2"/>
                </a:lnTo>
                <a:lnTo>
                  <a:pt x="631" y="11"/>
                </a:lnTo>
                <a:lnTo>
                  <a:pt x="651" y="21"/>
                </a:lnTo>
                <a:lnTo>
                  <a:pt x="670" y="37"/>
                </a:lnTo>
                <a:lnTo>
                  <a:pt x="685" y="54"/>
                </a:lnTo>
                <a:lnTo>
                  <a:pt x="696" y="76"/>
                </a:lnTo>
                <a:lnTo>
                  <a:pt x="703" y="97"/>
                </a:lnTo>
                <a:lnTo>
                  <a:pt x="705" y="121"/>
                </a:lnTo>
                <a:lnTo>
                  <a:pt x="705" y="346"/>
                </a:lnTo>
                <a:lnTo>
                  <a:pt x="705" y="346"/>
                </a:lnTo>
                <a:lnTo>
                  <a:pt x="703" y="370"/>
                </a:lnTo>
                <a:lnTo>
                  <a:pt x="696" y="394"/>
                </a:lnTo>
                <a:lnTo>
                  <a:pt x="685" y="413"/>
                </a:lnTo>
                <a:lnTo>
                  <a:pt x="670" y="433"/>
                </a:lnTo>
                <a:lnTo>
                  <a:pt x="651" y="446"/>
                </a:lnTo>
                <a:lnTo>
                  <a:pt x="631" y="458"/>
                </a:lnTo>
                <a:lnTo>
                  <a:pt x="608" y="465"/>
                </a:lnTo>
                <a:lnTo>
                  <a:pt x="584" y="467"/>
                </a:lnTo>
                <a:lnTo>
                  <a:pt x="238" y="467"/>
                </a:lnTo>
                <a:lnTo>
                  <a:pt x="138" y="567"/>
                </a:lnTo>
                <a:lnTo>
                  <a:pt x="138" y="467"/>
                </a:lnTo>
                <a:lnTo>
                  <a:pt x="121" y="467"/>
                </a:lnTo>
                <a:lnTo>
                  <a:pt x="121" y="467"/>
                </a:lnTo>
                <a:lnTo>
                  <a:pt x="97" y="465"/>
                </a:lnTo>
                <a:lnTo>
                  <a:pt x="73" y="458"/>
                </a:lnTo>
                <a:lnTo>
                  <a:pt x="54" y="446"/>
                </a:lnTo>
                <a:lnTo>
                  <a:pt x="36" y="433"/>
                </a:lnTo>
                <a:lnTo>
                  <a:pt x="21" y="413"/>
                </a:lnTo>
                <a:lnTo>
                  <a:pt x="8" y="394"/>
                </a:lnTo>
                <a:lnTo>
                  <a:pt x="2" y="370"/>
                </a:lnTo>
                <a:lnTo>
                  <a:pt x="0" y="346"/>
                </a:lnTo>
                <a:lnTo>
                  <a:pt x="0" y="121"/>
                </a:lnTo>
                <a:lnTo>
                  <a:pt x="0" y="121"/>
                </a:lnTo>
                <a:lnTo>
                  <a:pt x="2" y="97"/>
                </a:lnTo>
                <a:lnTo>
                  <a:pt x="8" y="76"/>
                </a:lnTo>
                <a:lnTo>
                  <a:pt x="21" y="54"/>
                </a:lnTo>
                <a:lnTo>
                  <a:pt x="36" y="37"/>
                </a:lnTo>
                <a:lnTo>
                  <a:pt x="54" y="21"/>
                </a:lnTo>
                <a:lnTo>
                  <a:pt x="73" y="11"/>
                </a:lnTo>
                <a:lnTo>
                  <a:pt x="97" y="2"/>
                </a:lnTo>
                <a:lnTo>
                  <a:pt x="121" y="0"/>
                </a:lnTo>
                <a:lnTo>
                  <a:pt x="121" y="0"/>
                </a:lnTo>
                <a:close/>
                <a:moveTo>
                  <a:pt x="848" y="110"/>
                </a:moveTo>
                <a:lnTo>
                  <a:pt x="757" y="110"/>
                </a:lnTo>
                <a:lnTo>
                  <a:pt x="757" y="110"/>
                </a:lnTo>
                <a:lnTo>
                  <a:pt x="759" y="127"/>
                </a:lnTo>
                <a:lnTo>
                  <a:pt x="759" y="145"/>
                </a:lnTo>
                <a:lnTo>
                  <a:pt x="759" y="368"/>
                </a:lnTo>
                <a:lnTo>
                  <a:pt x="759" y="368"/>
                </a:lnTo>
                <a:lnTo>
                  <a:pt x="759" y="385"/>
                </a:lnTo>
                <a:lnTo>
                  <a:pt x="757" y="402"/>
                </a:lnTo>
                <a:lnTo>
                  <a:pt x="752" y="417"/>
                </a:lnTo>
                <a:lnTo>
                  <a:pt x="746" y="433"/>
                </a:lnTo>
                <a:lnTo>
                  <a:pt x="740" y="446"/>
                </a:lnTo>
                <a:lnTo>
                  <a:pt x="731" y="461"/>
                </a:lnTo>
                <a:lnTo>
                  <a:pt x="722" y="474"/>
                </a:lnTo>
                <a:lnTo>
                  <a:pt x="711" y="484"/>
                </a:lnTo>
                <a:lnTo>
                  <a:pt x="701" y="495"/>
                </a:lnTo>
                <a:lnTo>
                  <a:pt x="688" y="504"/>
                </a:lnTo>
                <a:lnTo>
                  <a:pt x="672" y="513"/>
                </a:lnTo>
                <a:lnTo>
                  <a:pt x="659" y="519"/>
                </a:lnTo>
                <a:lnTo>
                  <a:pt x="644" y="526"/>
                </a:lnTo>
                <a:lnTo>
                  <a:pt x="629" y="530"/>
                </a:lnTo>
                <a:lnTo>
                  <a:pt x="612" y="532"/>
                </a:lnTo>
                <a:lnTo>
                  <a:pt x="595" y="532"/>
                </a:lnTo>
                <a:lnTo>
                  <a:pt x="292" y="532"/>
                </a:lnTo>
                <a:lnTo>
                  <a:pt x="292" y="532"/>
                </a:lnTo>
                <a:lnTo>
                  <a:pt x="300" y="543"/>
                </a:lnTo>
                <a:lnTo>
                  <a:pt x="311" y="552"/>
                </a:lnTo>
                <a:lnTo>
                  <a:pt x="322" y="558"/>
                </a:lnTo>
                <a:lnTo>
                  <a:pt x="333" y="564"/>
                </a:lnTo>
                <a:lnTo>
                  <a:pt x="346" y="571"/>
                </a:lnTo>
                <a:lnTo>
                  <a:pt x="359" y="575"/>
                </a:lnTo>
                <a:lnTo>
                  <a:pt x="372" y="577"/>
                </a:lnTo>
                <a:lnTo>
                  <a:pt x="385" y="577"/>
                </a:lnTo>
                <a:lnTo>
                  <a:pt x="733" y="577"/>
                </a:lnTo>
                <a:lnTo>
                  <a:pt x="833" y="677"/>
                </a:lnTo>
                <a:lnTo>
                  <a:pt x="833" y="577"/>
                </a:lnTo>
                <a:lnTo>
                  <a:pt x="848" y="577"/>
                </a:lnTo>
                <a:lnTo>
                  <a:pt x="848" y="577"/>
                </a:lnTo>
                <a:lnTo>
                  <a:pt x="874" y="575"/>
                </a:lnTo>
                <a:lnTo>
                  <a:pt x="895" y="569"/>
                </a:lnTo>
                <a:lnTo>
                  <a:pt x="917" y="556"/>
                </a:lnTo>
                <a:lnTo>
                  <a:pt x="934" y="543"/>
                </a:lnTo>
                <a:lnTo>
                  <a:pt x="949" y="523"/>
                </a:lnTo>
                <a:lnTo>
                  <a:pt x="960" y="504"/>
                </a:lnTo>
                <a:lnTo>
                  <a:pt x="967" y="480"/>
                </a:lnTo>
                <a:lnTo>
                  <a:pt x="971" y="456"/>
                </a:lnTo>
                <a:lnTo>
                  <a:pt x="971" y="231"/>
                </a:lnTo>
                <a:lnTo>
                  <a:pt x="971" y="231"/>
                </a:lnTo>
                <a:lnTo>
                  <a:pt x="967" y="208"/>
                </a:lnTo>
                <a:lnTo>
                  <a:pt x="960" y="186"/>
                </a:lnTo>
                <a:lnTo>
                  <a:pt x="949" y="164"/>
                </a:lnTo>
                <a:lnTo>
                  <a:pt x="934" y="147"/>
                </a:lnTo>
                <a:lnTo>
                  <a:pt x="917" y="132"/>
                </a:lnTo>
                <a:lnTo>
                  <a:pt x="895" y="121"/>
                </a:lnTo>
                <a:lnTo>
                  <a:pt x="874" y="112"/>
                </a:lnTo>
                <a:lnTo>
                  <a:pt x="848" y="110"/>
                </a:lnTo>
                <a:lnTo>
                  <a:pt x="848" y="110"/>
                </a:lnTo>
                <a:close/>
              </a:path>
            </a:pathLst>
          </a:custGeom>
          <a:solidFill>
            <a:srgbClr val="0070C0"/>
          </a:solidFill>
          <a:ln>
            <a:noFill/>
          </a:ln>
        </p:spPr>
        <p:txBody>
          <a:bodyPr vert="horz" wrap="square" lIns="121917" tIns="60958" rIns="121917" bIns="60958" numCol="1" anchor="t" anchorCtr="0" compatLnSpc="1"/>
          <a:lstStyle/>
          <a:p>
            <a:endParaRPr lang="zh-CN" altLang="en-US"/>
          </a:p>
        </p:txBody>
      </p:sp>
      <p:sp>
        <p:nvSpPr>
          <p:cNvPr id="18" name="PA_任意多边形 7"/>
          <p:cNvSpPr>
            <a:spLocks noEditPoints="1"/>
          </p:cNvSpPr>
          <p:nvPr>
            <p:custDataLst>
              <p:tags r:id="rId14"/>
            </p:custDataLst>
          </p:nvPr>
        </p:nvSpPr>
        <p:spPr bwMode="auto">
          <a:xfrm>
            <a:off x="4547979" y="1799998"/>
            <a:ext cx="459248" cy="452708"/>
          </a:xfrm>
          <a:custGeom>
            <a:avLst/>
            <a:gdLst>
              <a:gd name="T0" fmla="*/ 887 w 913"/>
              <a:gd name="T1" fmla="*/ 712 h 900"/>
              <a:gd name="T2" fmla="*/ 911 w 913"/>
              <a:gd name="T3" fmla="*/ 772 h 900"/>
              <a:gd name="T4" fmla="*/ 809 w 913"/>
              <a:gd name="T5" fmla="*/ 848 h 900"/>
              <a:gd name="T6" fmla="*/ 591 w 913"/>
              <a:gd name="T7" fmla="*/ 893 h 900"/>
              <a:gd name="T8" fmla="*/ 363 w 913"/>
              <a:gd name="T9" fmla="*/ 896 h 900"/>
              <a:gd name="T10" fmla="*/ 132 w 913"/>
              <a:gd name="T11" fmla="*/ 859 h 900"/>
              <a:gd name="T12" fmla="*/ 9 w 913"/>
              <a:gd name="T13" fmla="*/ 787 h 900"/>
              <a:gd name="T14" fmla="*/ 13 w 913"/>
              <a:gd name="T15" fmla="*/ 723 h 900"/>
              <a:gd name="T16" fmla="*/ 95 w 913"/>
              <a:gd name="T17" fmla="*/ 673 h 900"/>
              <a:gd name="T18" fmla="*/ 76 w 913"/>
              <a:gd name="T19" fmla="*/ 714 h 900"/>
              <a:gd name="T20" fmla="*/ 160 w 913"/>
              <a:gd name="T21" fmla="*/ 766 h 900"/>
              <a:gd name="T22" fmla="*/ 456 w 913"/>
              <a:gd name="T23" fmla="*/ 800 h 900"/>
              <a:gd name="T24" fmla="*/ 772 w 913"/>
              <a:gd name="T25" fmla="*/ 757 h 900"/>
              <a:gd name="T26" fmla="*/ 837 w 913"/>
              <a:gd name="T27" fmla="*/ 705 h 900"/>
              <a:gd name="T28" fmla="*/ 816 w 913"/>
              <a:gd name="T29" fmla="*/ 673 h 900"/>
              <a:gd name="T30" fmla="*/ 290 w 913"/>
              <a:gd name="T31" fmla="*/ 56 h 900"/>
              <a:gd name="T32" fmla="*/ 314 w 913"/>
              <a:gd name="T33" fmla="*/ 132 h 900"/>
              <a:gd name="T34" fmla="*/ 249 w 913"/>
              <a:gd name="T35" fmla="*/ 197 h 900"/>
              <a:gd name="T36" fmla="*/ 173 w 913"/>
              <a:gd name="T37" fmla="*/ 173 h 900"/>
              <a:gd name="T38" fmla="*/ 149 w 913"/>
              <a:gd name="T39" fmla="*/ 97 h 900"/>
              <a:gd name="T40" fmla="*/ 214 w 913"/>
              <a:gd name="T41" fmla="*/ 32 h 900"/>
              <a:gd name="T42" fmla="*/ 647 w 913"/>
              <a:gd name="T43" fmla="*/ 39 h 900"/>
              <a:gd name="T44" fmla="*/ 595 w 913"/>
              <a:gd name="T45" fmla="*/ 115 h 900"/>
              <a:gd name="T46" fmla="*/ 632 w 913"/>
              <a:gd name="T47" fmla="*/ 184 h 900"/>
              <a:gd name="T48" fmla="*/ 712 w 913"/>
              <a:gd name="T49" fmla="*/ 190 h 900"/>
              <a:gd name="T50" fmla="*/ 762 w 913"/>
              <a:gd name="T51" fmla="*/ 115 h 900"/>
              <a:gd name="T52" fmla="*/ 725 w 913"/>
              <a:gd name="T53" fmla="*/ 45 h 900"/>
              <a:gd name="T54" fmla="*/ 597 w 913"/>
              <a:gd name="T55" fmla="*/ 729 h 900"/>
              <a:gd name="T56" fmla="*/ 766 w 913"/>
              <a:gd name="T57" fmla="*/ 487 h 900"/>
              <a:gd name="T58" fmla="*/ 805 w 913"/>
              <a:gd name="T59" fmla="*/ 437 h 900"/>
              <a:gd name="T60" fmla="*/ 803 w 913"/>
              <a:gd name="T61" fmla="*/ 262 h 900"/>
              <a:gd name="T62" fmla="*/ 729 w 913"/>
              <a:gd name="T63" fmla="*/ 212 h 900"/>
              <a:gd name="T64" fmla="*/ 630 w 913"/>
              <a:gd name="T65" fmla="*/ 247 h 900"/>
              <a:gd name="T66" fmla="*/ 632 w 913"/>
              <a:gd name="T67" fmla="*/ 443 h 900"/>
              <a:gd name="T68" fmla="*/ 456 w 913"/>
              <a:gd name="T69" fmla="*/ 0 h 900"/>
              <a:gd name="T70" fmla="*/ 541 w 913"/>
              <a:gd name="T71" fmla="*/ 56 h 900"/>
              <a:gd name="T72" fmla="*/ 532 w 913"/>
              <a:gd name="T73" fmla="*/ 143 h 900"/>
              <a:gd name="T74" fmla="*/ 456 w 913"/>
              <a:gd name="T75" fmla="*/ 182 h 900"/>
              <a:gd name="T76" fmla="*/ 374 w 913"/>
              <a:gd name="T77" fmla="*/ 128 h 900"/>
              <a:gd name="T78" fmla="*/ 383 w 913"/>
              <a:gd name="T79" fmla="*/ 41 h 900"/>
              <a:gd name="T80" fmla="*/ 456 w 913"/>
              <a:gd name="T81" fmla="*/ 0 h 900"/>
              <a:gd name="T82" fmla="*/ 580 w 913"/>
              <a:gd name="T83" fmla="*/ 465 h 900"/>
              <a:gd name="T84" fmla="*/ 593 w 913"/>
              <a:gd name="T85" fmla="*/ 283 h 900"/>
              <a:gd name="T86" fmla="*/ 541 w 913"/>
              <a:gd name="T87" fmla="*/ 206 h 900"/>
              <a:gd name="T88" fmla="*/ 368 w 913"/>
              <a:gd name="T89" fmla="*/ 206 h 900"/>
              <a:gd name="T90" fmla="*/ 316 w 913"/>
              <a:gd name="T91" fmla="*/ 283 h 900"/>
              <a:gd name="T92" fmla="*/ 329 w 913"/>
              <a:gd name="T93" fmla="*/ 465 h 900"/>
              <a:gd name="T94" fmla="*/ 433 w 913"/>
              <a:gd name="T95" fmla="*/ 759 h 900"/>
              <a:gd name="T96" fmla="*/ 314 w 913"/>
              <a:gd name="T97" fmla="*/ 508 h 900"/>
              <a:gd name="T98" fmla="*/ 275 w 913"/>
              <a:gd name="T99" fmla="*/ 420 h 900"/>
              <a:gd name="T100" fmla="*/ 296 w 913"/>
              <a:gd name="T101" fmla="*/ 214 h 900"/>
              <a:gd name="T102" fmla="*/ 149 w 913"/>
              <a:gd name="T103" fmla="*/ 218 h 900"/>
              <a:gd name="T104" fmla="*/ 102 w 913"/>
              <a:gd name="T105" fmla="*/ 292 h 900"/>
              <a:gd name="T106" fmla="*/ 115 w 913"/>
              <a:gd name="T107" fmla="*/ 456 h 900"/>
              <a:gd name="T108" fmla="*/ 208 w 913"/>
              <a:gd name="T109" fmla="*/ 72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3" h="900">
                <a:moveTo>
                  <a:pt x="816" y="673"/>
                </a:moveTo>
                <a:lnTo>
                  <a:pt x="816" y="673"/>
                </a:lnTo>
                <a:lnTo>
                  <a:pt x="837" y="681"/>
                </a:lnTo>
                <a:lnTo>
                  <a:pt x="857" y="690"/>
                </a:lnTo>
                <a:lnTo>
                  <a:pt x="874" y="701"/>
                </a:lnTo>
                <a:lnTo>
                  <a:pt x="887" y="712"/>
                </a:lnTo>
                <a:lnTo>
                  <a:pt x="898" y="723"/>
                </a:lnTo>
                <a:lnTo>
                  <a:pt x="906" y="736"/>
                </a:lnTo>
                <a:lnTo>
                  <a:pt x="911" y="746"/>
                </a:lnTo>
                <a:lnTo>
                  <a:pt x="913" y="759"/>
                </a:lnTo>
                <a:lnTo>
                  <a:pt x="913" y="759"/>
                </a:lnTo>
                <a:lnTo>
                  <a:pt x="911" y="772"/>
                </a:lnTo>
                <a:lnTo>
                  <a:pt x="904" y="787"/>
                </a:lnTo>
                <a:lnTo>
                  <a:pt x="891" y="800"/>
                </a:lnTo>
                <a:lnTo>
                  <a:pt x="876" y="813"/>
                </a:lnTo>
                <a:lnTo>
                  <a:pt x="857" y="826"/>
                </a:lnTo>
                <a:lnTo>
                  <a:pt x="835" y="837"/>
                </a:lnTo>
                <a:lnTo>
                  <a:pt x="809" y="848"/>
                </a:lnTo>
                <a:lnTo>
                  <a:pt x="779" y="859"/>
                </a:lnTo>
                <a:lnTo>
                  <a:pt x="746" y="867"/>
                </a:lnTo>
                <a:lnTo>
                  <a:pt x="712" y="876"/>
                </a:lnTo>
                <a:lnTo>
                  <a:pt x="673" y="883"/>
                </a:lnTo>
                <a:lnTo>
                  <a:pt x="634" y="889"/>
                </a:lnTo>
                <a:lnTo>
                  <a:pt x="591" y="893"/>
                </a:lnTo>
                <a:lnTo>
                  <a:pt x="547" y="896"/>
                </a:lnTo>
                <a:lnTo>
                  <a:pt x="502" y="898"/>
                </a:lnTo>
                <a:lnTo>
                  <a:pt x="456" y="900"/>
                </a:lnTo>
                <a:lnTo>
                  <a:pt x="456" y="900"/>
                </a:lnTo>
                <a:lnTo>
                  <a:pt x="409" y="898"/>
                </a:lnTo>
                <a:lnTo>
                  <a:pt x="363" y="896"/>
                </a:lnTo>
                <a:lnTo>
                  <a:pt x="320" y="893"/>
                </a:lnTo>
                <a:lnTo>
                  <a:pt x="277" y="889"/>
                </a:lnTo>
                <a:lnTo>
                  <a:pt x="238" y="883"/>
                </a:lnTo>
                <a:lnTo>
                  <a:pt x="201" y="876"/>
                </a:lnTo>
                <a:lnTo>
                  <a:pt x="164" y="867"/>
                </a:lnTo>
                <a:lnTo>
                  <a:pt x="132" y="859"/>
                </a:lnTo>
                <a:lnTo>
                  <a:pt x="104" y="848"/>
                </a:lnTo>
                <a:lnTo>
                  <a:pt x="78" y="837"/>
                </a:lnTo>
                <a:lnTo>
                  <a:pt x="54" y="826"/>
                </a:lnTo>
                <a:lnTo>
                  <a:pt x="35" y="813"/>
                </a:lnTo>
                <a:lnTo>
                  <a:pt x="19" y="800"/>
                </a:lnTo>
                <a:lnTo>
                  <a:pt x="9" y="787"/>
                </a:lnTo>
                <a:lnTo>
                  <a:pt x="2" y="772"/>
                </a:lnTo>
                <a:lnTo>
                  <a:pt x="0" y="759"/>
                </a:lnTo>
                <a:lnTo>
                  <a:pt x="0" y="759"/>
                </a:lnTo>
                <a:lnTo>
                  <a:pt x="0" y="746"/>
                </a:lnTo>
                <a:lnTo>
                  <a:pt x="6" y="736"/>
                </a:lnTo>
                <a:lnTo>
                  <a:pt x="13" y="723"/>
                </a:lnTo>
                <a:lnTo>
                  <a:pt x="24" y="712"/>
                </a:lnTo>
                <a:lnTo>
                  <a:pt x="39" y="701"/>
                </a:lnTo>
                <a:lnTo>
                  <a:pt x="54" y="690"/>
                </a:lnTo>
                <a:lnTo>
                  <a:pt x="74" y="681"/>
                </a:lnTo>
                <a:lnTo>
                  <a:pt x="95" y="673"/>
                </a:lnTo>
                <a:lnTo>
                  <a:pt x="95" y="673"/>
                </a:lnTo>
                <a:lnTo>
                  <a:pt x="87" y="679"/>
                </a:lnTo>
                <a:lnTo>
                  <a:pt x="80" y="688"/>
                </a:lnTo>
                <a:lnTo>
                  <a:pt x="76" y="697"/>
                </a:lnTo>
                <a:lnTo>
                  <a:pt x="74" y="705"/>
                </a:lnTo>
                <a:lnTo>
                  <a:pt x="74" y="705"/>
                </a:lnTo>
                <a:lnTo>
                  <a:pt x="76" y="714"/>
                </a:lnTo>
                <a:lnTo>
                  <a:pt x="80" y="723"/>
                </a:lnTo>
                <a:lnTo>
                  <a:pt x="91" y="733"/>
                </a:lnTo>
                <a:lnTo>
                  <a:pt x="104" y="742"/>
                </a:lnTo>
                <a:lnTo>
                  <a:pt x="119" y="751"/>
                </a:lnTo>
                <a:lnTo>
                  <a:pt x="138" y="757"/>
                </a:lnTo>
                <a:lnTo>
                  <a:pt x="160" y="766"/>
                </a:lnTo>
                <a:lnTo>
                  <a:pt x="186" y="772"/>
                </a:lnTo>
                <a:lnTo>
                  <a:pt x="242" y="783"/>
                </a:lnTo>
                <a:lnTo>
                  <a:pt x="307" y="792"/>
                </a:lnTo>
                <a:lnTo>
                  <a:pt x="379" y="798"/>
                </a:lnTo>
                <a:lnTo>
                  <a:pt x="456" y="800"/>
                </a:lnTo>
                <a:lnTo>
                  <a:pt x="456" y="800"/>
                </a:lnTo>
                <a:lnTo>
                  <a:pt x="532" y="798"/>
                </a:lnTo>
                <a:lnTo>
                  <a:pt x="604" y="792"/>
                </a:lnTo>
                <a:lnTo>
                  <a:pt x="668" y="783"/>
                </a:lnTo>
                <a:lnTo>
                  <a:pt x="727" y="772"/>
                </a:lnTo>
                <a:lnTo>
                  <a:pt x="751" y="766"/>
                </a:lnTo>
                <a:lnTo>
                  <a:pt x="772" y="757"/>
                </a:lnTo>
                <a:lnTo>
                  <a:pt x="792" y="751"/>
                </a:lnTo>
                <a:lnTo>
                  <a:pt x="809" y="742"/>
                </a:lnTo>
                <a:lnTo>
                  <a:pt x="820" y="733"/>
                </a:lnTo>
                <a:lnTo>
                  <a:pt x="831" y="723"/>
                </a:lnTo>
                <a:lnTo>
                  <a:pt x="835" y="714"/>
                </a:lnTo>
                <a:lnTo>
                  <a:pt x="837" y="705"/>
                </a:lnTo>
                <a:lnTo>
                  <a:pt x="837" y="705"/>
                </a:lnTo>
                <a:lnTo>
                  <a:pt x="837" y="697"/>
                </a:lnTo>
                <a:lnTo>
                  <a:pt x="833" y="688"/>
                </a:lnTo>
                <a:lnTo>
                  <a:pt x="824" y="679"/>
                </a:lnTo>
                <a:lnTo>
                  <a:pt x="816" y="673"/>
                </a:lnTo>
                <a:lnTo>
                  <a:pt x="816" y="673"/>
                </a:lnTo>
                <a:close/>
                <a:moveTo>
                  <a:pt x="231" y="32"/>
                </a:moveTo>
                <a:lnTo>
                  <a:pt x="231" y="32"/>
                </a:lnTo>
                <a:lnTo>
                  <a:pt x="249" y="32"/>
                </a:lnTo>
                <a:lnTo>
                  <a:pt x="264" y="39"/>
                </a:lnTo>
                <a:lnTo>
                  <a:pt x="277" y="45"/>
                </a:lnTo>
                <a:lnTo>
                  <a:pt x="290" y="56"/>
                </a:lnTo>
                <a:lnTo>
                  <a:pt x="301" y="69"/>
                </a:lnTo>
                <a:lnTo>
                  <a:pt x="307" y="82"/>
                </a:lnTo>
                <a:lnTo>
                  <a:pt x="314" y="97"/>
                </a:lnTo>
                <a:lnTo>
                  <a:pt x="314" y="115"/>
                </a:lnTo>
                <a:lnTo>
                  <a:pt x="314" y="115"/>
                </a:lnTo>
                <a:lnTo>
                  <a:pt x="314" y="132"/>
                </a:lnTo>
                <a:lnTo>
                  <a:pt x="307" y="147"/>
                </a:lnTo>
                <a:lnTo>
                  <a:pt x="301" y="162"/>
                </a:lnTo>
                <a:lnTo>
                  <a:pt x="290" y="173"/>
                </a:lnTo>
                <a:lnTo>
                  <a:pt x="277" y="184"/>
                </a:lnTo>
                <a:lnTo>
                  <a:pt x="264" y="190"/>
                </a:lnTo>
                <a:lnTo>
                  <a:pt x="249" y="197"/>
                </a:lnTo>
                <a:lnTo>
                  <a:pt x="231" y="197"/>
                </a:lnTo>
                <a:lnTo>
                  <a:pt x="231" y="197"/>
                </a:lnTo>
                <a:lnTo>
                  <a:pt x="214" y="197"/>
                </a:lnTo>
                <a:lnTo>
                  <a:pt x="199" y="190"/>
                </a:lnTo>
                <a:lnTo>
                  <a:pt x="186" y="184"/>
                </a:lnTo>
                <a:lnTo>
                  <a:pt x="173" y="173"/>
                </a:lnTo>
                <a:lnTo>
                  <a:pt x="162" y="162"/>
                </a:lnTo>
                <a:lnTo>
                  <a:pt x="156" y="147"/>
                </a:lnTo>
                <a:lnTo>
                  <a:pt x="149" y="132"/>
                </a:lnTo>
                <a:lnTo>
                  <a:pt x="149" y="115"/>
                </a:lnTo>
                <a:lnTo>
                  <a:pt x="149" y="115"/>
                </a:lnTo>
                <a:lnTo>
                  <a:pt x="149" y="97"/>
                </a:lnTo>
                <a:lnTo>
                  <a:pt x="156" y="82"/>
                </a:lnTo>
                <a:lnTo>
                  <a:pt x="162" y="69"/>
                </a:lnTo>
                <a:lnTo>
                  <a:pt x="173" y="56"/>
                </a:lnTo>
                <a:lnTo>
                  <a:pt x="186" y="45"/>
                </a:lnTo>
                <a:lnTo>
                  <a:pt x="199" y="39"/>
                </a:lnTo>
                <a:lnTo>
                  <a:pt x="214" y="32"/>
                </a:lnTo>
                <a:lnTo>
                  <a:pt x="231" y="32"/>
                </a:lnTo>
                <a:lnTo>
                  <a:pt x="231" y="32"/>
                </a:lnTo>
                <a:close/>
                <a:moveTo>
                  <a:pt x="679" y="32"/>
                </a:moveTo>
                <a:lnTo>
                  <a:pt x="679" y="32"/>
                </a:lnTo>
                <a:lnTo>
                  <a:pt x="662" y="32"/>
                </a:lnTo>
                <a:lnTo>
                  <a:pt x="647" y="39"/>
                </a:lnTo>
                <a:lnTo>
                  <a:pt x="632" y="45"/>
                </a:lnTo>
                <a:lnTo>
                  <a:pt x="621" y="56"/>
                </a:lnTo>
                <a:lnTo>
                  <a:pt x="610" y="69"/>
                </a:lnTo>
                <a:lnTo>
                  <a:pt x="601" y="82"/>
                </a:lnTo>
                <a:lnTo>
                  <a:pt x="597" y="97"/>
                </a:lnTo>
                <a:lnTo>
                  <a:pt x="595" y="115"/>
                </a:lnTo>
                <a:lnTo>
                  <a:pt x="595" y="115"/>
                </a:lnTo>
                <a:lnTo>
                  <a:pt x="597" y="132"/>
                </a:lnTo>
                <a:lnTo>
                  <a:pt x="601" y="147"/>
                </a:lnTo>
                <a:lnTo>
                  <a:pt x="610" y="162"/>
                </a:lnTo>
                <a:lnTo>
                  <a:pt x="621" y="173"/>
                </a:lnTo>
                <a:lnTo>
                  <a:pt x="632" y="184"/>
                </a:lnTo>
                <a:lnTo>
                  <a:pt x="647" y="190"/>
                </a:lnTo>
                <a:lnTo>
                  <a:pt x="662" y="197"/>
                </a:lnTo>
                <a:lnTo>
                  <a:pt x="679" y="197"/>
                </a:lnTo>
                <a:lnTo>
                  <a:pt x="679" y="197"/>
                </a:lnTo>
                <a:lnTo>
                  <a:pt x="694" y="197"/>
                </a:lnTo>
                <a:lnTo>
                  <a:pt x="712" y="190"/>
                </a:lnTo>
                <a:lnTo>
                  <a:pt x="725" y="184"/>
                </a:lnTo>
                <a:lnTo>
                  <a:pt x="738" y="173"/>
                </a:lnTo>
                <a:lnTo>
                  <a:pt x="749" y="162"/>
                </a:lnTo>
                <a:lnTo>
                  <a:pt x="755" y="147"/>
                </a:lnTo>
                <a:lnTo>
                  <a:pt x="759" y="132"/>
                </a:lnTo>
                <a:lnTo>
                  <a:pt x="762" y="115"/>
                </a:lnTo>
                <a:lnTo>
                  <a:pt x="762" y="115"/>
                </a:lnTo>
                <a:lnTo>
                  <a:pt x="759" y="97"/>
                </a:lnTo>
                <a:lnTo>
                  <a:pt x="755" y="82"/>
                </a:lnTo>
                <a:lnTo>
                  <a:pt x="749" y="69"/>
                </a:lnTo>
                <a:lnTo>
                  <a:pt x="738" y="56"/>
                </a:lnTo>
                <a:lnTo>
                  <a:pt x="725" y="45"/>
                </a:lnTo>
                <a:lnTo>
                  <a:pt x="712" y="39"/>
                </a:lnTo>
                <a:lnTo>
                  <a:pt x="694" y="32"/>
                </a:lnTo>
                <a:lnTo>
                  <a:pt x="679" y="32"/>
                </a:lnTo>
                <a:lnTo>
                  <a:pt x="679" y="32"/>
                </a:lnTo>
                <a:close/>
                <a:moveTo>
                  <a:pt x="597" y="508"/>
                </a:moveTo>
                <a:lnTo>
                  <a:pt x="597" y="729"/>
                </a:lnTo>
                <a:lnTo>
                  <a:pt x="656" y="729"/>
                </a:lnTo>
                <a:lnTo>
                  <a:pt x="679" y="575"/>
                </a:lnTo>
                <a:lnTo>
                  <a:pt x="701" y="729"/>
                </a:lnTo>
                <a:lnTo>
                  <a:pt x="766" y="729"/>
                </a:lnTo>
                <a:lnTo>
                  <a:pt x="766" y="487"/>
                </a:lnTo>
                <a:lnTo>
                  <a:pt x="766" y="487"/>
                </a:lnTo>
                <a:lnTo>
                  <a:pt x="774" y="480"/>
                </a:lnTo>
                <a:lnTo>
                  <a:pt x="783" y="474"/>
                </a:lnTo>
                <a:lnTo>
                  <a:pt x="790" y="465"/>
                </a:lnTo>
                <a:lnTo>
                  <a:pt x="796" y="456"/>
                </a:lnTo>
                <a:lnTo>
                  <a:pt x="803" y="448"/>
                </a:lnTo>
                <a:lnTo>
                  <a:pt x="805" y="437"/>
                </a:lnTo>
                <a:lnTo>
                  <a:pt x="807" y="426"/>
                </a:lnTo>
                <a:lnTo>
                  <a:pt x="809" y="415"/>
                </a:lnTo>
                <a:lnTo>
                  <a:pt x="809" y="292"/>
                </a:lnTo>
                <a:lnTo>
                  <a:pt x="809" y="292"/>
                </a:lnTo>
                <a:lnTo>
                  <a:pt x="807" y="277"/>
                </a:lnTo>
                <a:lnTo>
                  <a:pt x="803" y="262"/>
                </a:lnTo>
                <a:lnTo>
                  <a:pt x="794" y="249"/>
                </a:lnTo>
                <a:lnTo>
                  <a:pt x="785" y="236"/>
                </a:lnTo>
                <a:lnTo>
                  <a:pt x="774" y="227"/>
                </a:lnTo>
                <a:lnTo>
                  <a:pt x="759" y="218"/>
                </a:lnTo>
                <a:lnTo>
                  <a:pt x="746" y="214"/>
                </a:lnTo>
                <a:lnTo>
                  <a:pt x="729" y="212"/>
                </a:lnTo>
                <a:lnTo>
                  <a:pt x="632" y="212"/>
                </a:lnTo>
                <a:lnTo>
                  <a:pt x="632" y="212"/>
                </a:lnTo>
                <a:lnTo>
                  <a:pt x="614" y="214"/>
                </a:lnTo>
                <a:lnTo>
                  <a:pt x="614" y="214"/>
                </a:lnTo>
                <a:lnTo>
                  <a:pt x="623" y="231"/>
                </a:lnTo>
                <a:lnTo>
                  <a:pt x="630" y="247"/>
                </a:lnTo>
                <a:lnTo>
                  <a:pt x="634" y="266"/>
                </a:lnTo>
                <a:lnTo>
                  <a:pt x="634" y="283"/>
                </a:lnTo>
                <a:lnTo>
                  <a:pt x="634" y="420"/>
                </a:lnTo>
                <a:lnTo>
                  <a:pt x="634" y="420"/>
                </a:lnTo>
                <a:lnTo>
                  <a:pt x="634" y="433"/>
                </a:lnTo>
                <a:lnTo>
                  <a:pt x="632" y="443"/>
                </a:lnTo>
                <a:lnTo>
                  <a:pt x="625" y="467"/>
                </a:lnTo>
                <a:lnTo>
                  <a:pt x="612" y="491"/>
                </a:lnTo>
                <a:lnTo>
                  <a:pt x="597" y="508"/>
                </a:lnTo>
                <a:lnTo>
                  <a:pt x="597" y="508"/>
                </a:lnTo>
                <a:close/>
                <a:moveTo>
                  <a:pt x="456" y="0"/>
                </a:moveTo>
                <a:lnTo>
                  <a:pt x="456" y="0"/>
                </a:lnTo>
                <a:lnTo>
                  <a:pt x="476" y="2"/>
                </a:lnTo>
                <a:lnTo>
                  <a:pt x="493" y="9"/>
                </a:lnTo>
                <a:lnTo>
                  <a:pt x="508" y="17"/>
                </a:lnTo>
                <a:lnTo>
                  <a:pt x="521" y="28"/>
                </a:lnTo>
                <a:lnTo>
                  <a:pt x="532" y="41"/>
                </a:lnTo>
                <a:lnTo>
                  <a:pt x="541" y="56"/>
                </a:lnTo>
                <a:lnTo>
                  <a:pt x="545" y="74"/>
                </a:lnTo>
                <a:lnTo>
                  <a:pt x="547" y="91"/>
                </a:lnTo>
                <a:lnTo>
                  <a:pt x="547" y="91"/>
                </a:lnTo>
                <a:lnTo>
                  <a:pt x="545" y="110"/>
                </a:lnTo>
                <a:lnTo>
                  <a:pt x="541" y="128"/>
                </a:lnTo>
                <a:lnTo>
                  <a:pt x="532" y="143"/>
                </a:lnTo>
                <a:lnTo>
                  <a:pt x="521" y="156"/>
                </a:lnTo>
                <a:lnTo>
                  <a:pt x="508" y="167"/>
                </a:lnTo>
                <a:lnTo>
                  <a:pt x="493" y="175"/>
                </a:lnTo>
                <a:lnTo>
                  <a:pt x="476" y="180"/>
                </a:lnTo>
                <a:lnTo>
                  <a:pt x="456" y="182"/>
                </a:lnTo>
                <a:lnTo>
                  <a:pt x="456" y="182"/>
                </a:lnTo>
                <a:lnTo>
                  <a:pt x="439" y="180"/>
                </a:lnTo>
                <a:lnTo>
                  <a:pt x="422" y="175"/>
                </a:lnTo>
                <a:lnTo>
                  <a:pt x="407" y="167"/>
                </a:lnTo>
                <a:lnTo>
                  <a:pt x="394" y="156"/>
                </a:lnTo>
                <a:lnTo>
                  <a:pt x="383" y="143"/>
                </a:lnTo>
                <a:lnTo>
                  <a:pt x="374" y="128"/>
                </a:lnTo>
                <a:lnTo>
                  <a:pt x="368" y="110"/>
                </a:lnTo>
                <a:lnTo>
                  <a:pt x="368" y="91"/>
                </a:lnTo>
                <a:lnTo>
                  <a:pt x="368" y="91"/>
                </a:lnTo>
                <a:lnTo>
                  <a:pt x="368" y="74"/>
                </a:lnTo>
                <a:lnTo>
                  <a:pt x="374" y="56"/>
                </a:lnTo>
                <a:lnTo>
                  <a:pt x="383" y="41"/>
                </a:lnTo>
                <a:lnTo>
                  <a:pt x="394" y="28"/>
                </a:lnTo>
                <a:lnTo>
                  <a:pt x="407" y="17"/>
                </a:lnTo>
                <a:lnTo>
                  <a:pt x="422" y="9"/>
                </a:lnTo>
                <a:lnTo>
                  <a:pt x="439" y="2"/>
                </a:lnTo>
                <a:lnTo>
                  <a:pt x="456" y="0"/>
                </a:lnTo>
                <a:lnTo>
                  <a:pt x="456" y="0"/>
                </a:lnTo>
                <a:close/>
                <a:moveTo>
                  <a:pt x="547" y="495"/>
                </a:moveTo>
                <a:lnTo>
                  <a:pt x="547" y="495"/>
                </a:lnTo>
                <a:lnTo>
                  <a:pt x="556" y="489"/>
                </a:lnTo>
                <a:lnTo>
                  <a:pt x="565" y="482"/>
                </a:lnTo>
                <a:lnTo>
                  <a:pt x="573" y="474"/>
                </a:lnTo>
                <a:lnTo>
                  <a:pt x="580" y="465"/>
                </a:lnTo>
                <a:lnTo>
                  <a:pt x="586" y="454"/>
                </a:lnTo>
                <a:lnTo>
                  <a:pt x="591" y="443"/>
                </a:lnTo>
                <a:lnTo>
                  <a:pt x="593" y="430"/>
                </a:lnTo>
                <a:lnTo>
                  <a:pt x="593" y="420"/>
                </a:lnTo>
                <a:lnTo>
                  <a:pt x="593" y="283"/>
                </a:lnTo>
                <a:lnTo>
                  <a:pt x="593" y="283"/>
                </a:lnTo>
                <a:lnTo>
                  <a:pt x="591" y="266"/>
                </a:lnTo>
                <a:lnTo>
                  <a:pt x="586" y="251"/>
                </a:lnTo>
                <a:lnTo>
                  <a:pt x="578" y="236"/>
                </a:lnTo>
                <a:lnTo>
                  <a:pt x="569" y="223"/>
                </a:lnTo>
                <a:lnTo>
                  <a:pt x="556" y="212"/>
                </a:lnTo>
                <a:lnTo>
                  <a:pt x="541" y="206"/>
                </a:lnTo>
                <a:lnTo>
                  <a:pt x="524" y="199"/>
                </a:lnTo>
                <a:lnTo>
                  <a:pt x="508" y="199"/>
                </a:lnTo>
                <a:lnTo>
                  <a:pt x="402" y="199"/>
                </a:lnTo>
                <a:lnTo>
                  <a:pt x="402" y="199"/>
                </a:lnTo>
                <a:lnTo>
                  <a:pt x="385" y="199"/>
                </a:lnTo>
                <a:lnTo>
                  <a:pt x="368" y="206"/>
                </a:lnTo>
                <a:lnTo>
                  <a:pt x="355" y="212"/>
                </a:lnTo>
                <a:lnTo>
                  <a:pt x="342" y="223"/>
                </a:lnTo>
                <a:lnTo>
                  <a:pt x="331" y="236"/>
                </a:lnTo>
                <a:lnTo>
                  <a:pt x="322" y="251"/>
                </a:lnTo>
                <a:lnTo>
                  <a:pt x="318" y="266"/>
                </a:lnTo>
                <a:lnTo>
                  <a:pt x="316" y="283"/>
                </a:lnTo>
                <a:lnTo>
                  <a:pt x="316" y="420"/>
                </a:lnTo>
                <a:lnTo>
                  <a:pt x="316" y="420"/>
                </a:lnTo>
                <a:lnTo>
                  <a:pt x="316" y="430"/>
                </a:lnTo>
                <a:lnTo>
                  <a:pt x="320" y="443"/>
                </a:lnTo>
                <a:lnTo>
                  <a:pt x="325" y="454"/>
                </a:lnTo>
                <a:lnTo>
                  <a:pt x="329" y="465"/>
                </a:lnTo>
                <a:lnTo>
                  <a:pt x="335" y="474"/>
                </a:lnTo>
                <a:lnTo>
                  <a:pt x="344" y="482"/>
                </a:lnTo>
                <a:lnTo>
                  <a:pt x="353" y="489"/>
                </a:lnTo>
                <a:lnTo>
                  <a:pt x="363" y="495"/>
                </a:lnTo>
                <a:lnTo>
                  <a:pt x="363" y="759"/>
                </a:lnTo>
                <a:lnTo>
                  <a:pt x="433" y="759"/>
                </a:lnTo>
                <a:lnTo>
                  <a:pt x="456" y="593"/>
                </a:lnTo>
                <a:lnTo>
                  <a:pt x="482" y="759"/>
                </a:lnTo>
                <a:lnTo>
                  <a:pt x="547" y="759"/>
                </a:lnTo>
                <a:lnTo>
                  <a:pt x="547" y="495"/>
                </a:lnTo>
                <a:lnTo>
                  <a:pt x="547" y="495"/>
                </a:lnTo>
                <a:close/>
                <a:moveTo>
                  <a:pt x="314" y="508"/>
                </a:moveTo>
                <a:lnTo>
                  <a:pt x="314" y="508"/>
                </a:lnTo>
                <a:lnTo>
                  <a:pt x="296" y="491"/>
                </a:lnTo>
                <a:lnTo>
                  <a:pt x="286" y="467"/>
                </a:lnTo>
                <a:lnTo>
                  <a:pt x="277" y="443"/>
                </a:lnTo>
                <a:lnTo>
                  <a:pt x="277" y="433"/>
                </a:lnTo>
                <a:lnTo>
                  <a:pt x="275" y="420"/>
                </a:lnTo>
                <a:lnTo>
                  <a:pt x="275" y="283"/>
                </a:lnTo>
                <a:lnTo>
                  <a:pt x="275" y="283"/>
                </a:lnTo>
                <a:lnTo>
                  <a:pt x="277" y="266"/>
                </a:lnTo>
                <a:lnTo>
                  <a:pt x="281" y="247"/>
                </a:lnTo>
                <a:lnTo>
                  <a:pt x="288" y="231"/>
                </a:lnTo>
                <a:lnTo>
                  <a:pt x="296" y="214"/>
                </a:lnTo>
                <a:lnTo>
                  <a:pt x="296" y="214"/>
                </a:lnTo>
                <a:lnTo>
                  <a:pt x="277" y="212"/>
                </a:lnTo>
                <a:lnTo>
                  <a:pt x="182" y="212"/>
                </a:lnTo>
                <a:lnTo>
                  <a:pt x="182" y="212"/>
                </a:lnTo>
                <a:lnTo>
                  <a:pt x="164" y="214"/>
                </a:lnTo>
                <a:lnTo>
                  <a:pt x="149" y="218"/>
                </a:lnTo>
                <a:lnTo>
                  <a:pt x="136" y="227"/>
                </a:lnTo>
                <a:lnTo>
                  <a:pt x="125" y="236"/>
                </a:lnTo>
                <a:lnTo>
                  <a:pt x="115" y="249"/>
                </a:lnTo>
                <a:lnTo>
                  <a:pt x="108" y="262"/>
                </a:lnTo>
                <a:lnTo>
                  <a:pt x="104" y="277"/>
                </a:lnTo>
                <a:lnTo>
                  <a:pt x="102" y="292"/>
                </a:lnTo>
                <a:lnTo>
                  <a:pt x="102" y="415"/>
                </a:lnTo>
                <a:lnTo>
                  <a:pt x="102" y="415"/>
                </a:lnTo>
                <a:lnTo>
                  <a:pt x="102" y="426"/>
                </a:lnTo>
                <a:lnTo>
                  <a:pt x="106" y="437"/>
                </a:lnTo>
                <a:lnTo>
                  <a:pt x="108" y="448"/>
                </a:lnTo>
                <a:lnTo>
                  <a:pt x="115" y="456"/>
                </a:lnTo>
                <a:lnTo>
                  <a:pt x="119" y="465"/>
                </a:lnTo>
                <a:lnTo>
                  <a:pt x="128" y="474"/>
                </a:lnTo>
                <a:lnTo>
                  <a:pt x="136" y="480"/>
                </a:lnTo>
                <a:lnTo>
                  <a:pt x="145" y="487"/>
                </a:lnTo>
                <a:lnTo>
                  <a:pt x="145" y="729"/>
                </a:lnTo>
                <a:lnTo>
                  <a:pt x="208" y="729"/>
                </a:lnTo>
                <a:lnTo>
                  <a:pt x="231" y="575"/>
                </a:lnTo>
                <a:lnTo>
                  <a:pt x="255" y="729"/>
                </a:lnTo>
                <a:lnTo>
                  <a:pt x="314" y="729"/>
                </a:lnTo>
                <a:lnTo>
                  <a:pt x="314" y="508"/>
                </a:lnTo>
                <a:close/>
              </a:path>
            </a:pathLst>
          </a:custGeom>
          <a:solidFill>
            <a:srgbClr val="0070C0"/>
          </a:solidFill>
          <a:ln>
            <a:noFill/>
          </a:ln>
        </p:spPr>
        <p:txBody>
          <a:bodyPr vert="horz" wrap="square" lIns="121917" tIns="60958" rIns="121917" bIns="60958" numCol="1" anchor="t" anchorCtr="0" compatLnSpc="1"/>
          <a:lstStyle/>
          <a:p>
            <a:endParaRPr lang="zh-CN" altLang="en-US">
              <a:solidFill>
                <a:schemeClr val="tx2">
                  <a:lumMod val="75000"/>
                </a:schemeClr>
              </a:solidFill>
            </a:endParaRPr>
          </a:p>
        </p:txBody>
      </p:sp>
      <p:sp>
        <p:nvSpPr>
          <p:cNvPr id="19" name="PA_任意多边形 12"/>
          <p:cNvSpPr>
            <a:spLocks noEditPoints="1"/>
          </p:cNvSpPr>
          <p:nvPr>
            <p:custDataLst>
              <p:tags r:id="rId15"/>
            </p:custDataLst>
          </p:nvPr>
        </p:nvSpPr>
        <p:spPr bwMode="auto">
          <a:xfrm>
            <a:off x="7307355" y="1735174"/>
            <a:ext cx="457739" cy="508541"/>
          </a:xfrm>
          <a:custGeom>
            <a:avLst/>
            <a:gdLst>
              <a:gd name="T0" fmla="*/ 428 w 910"/>
              <a:gd name="T1" fmla="*/ 152 h 1011"/>
              <a:gd name="T2" fmla="*/ 910 w 910"/>
              <a:gd name="T3" fmla="*/ 485 h 1011"/>
              <a:gd name="T4" fmla="*/ 910 w 910"/>
              <a:gd name="T5" fmla="*/ 429 h 1011"/>
              <a:gd name="T6" fmla="*/ 705 w 910"/>
              <a:gd name="T7" fmla="*/ 280 h 1011"/>
              <a:gd name="T8" fmla="*/ 584 w 910"/>
              <a:gd name="T9" fmla="*/ 178 h 1011"/>
              <a:gd name="T10" fmla="*/ 659 w 910"/>
              <a:gd name="T11" fmla="*/ 48 h 1011"/>
              <a:gd name="T12" fmla="*/ 151 w 910"/>
              <a:gd name="T13" fmla="*/ 485 h 1011"/>
              <a:gd name="T14" fmla="*/ 75 w 910"/>
              <a:gd name="T15" fmla="*/ 204 h 1011"/>
              <a:gd name="T16" fmla="*/ 47 w 910"/>
              <a:gd name="T17" fmla="*/ 254 h 1011"/>
              <a:gd name="T18" fmla="*/ 253 w 910"/>
              <a:gd name="T19" fmla="*/ 48 h 1011"/>
              <a:gd name="T20" fmla="*/ 456 w 910"/>
              <a:gd name="T21" fmla="*/ 221 h 1011"/>
              <a:gd name="T22" fmla="*/ 549 w 910"/>
              <a:gd name="T23" fmla="*/ 243 h 1011"/>
              <a:gd name="T24" fmla="*/ 627 w 910"/>
              <a:gd name="T25" fmla="*/ 293 h 1011"/>
              <a:gd name="T26" fmla="*/ 670 w 910"/>
              <a:gd name="T27" fmla="*/ 349 h 1011"/>
              <a:gd name="T28" fmla="*/ 698 w 910"/>
              <a:gd name="T29" fmla="*/ 440 h 1011"/>
              <a:gd name="T30" fmla="*/ 690 w 910"/>
              <a:gd name="T31" fmla="*/ 531 h 1011"/>
              <a:gd name="T32" fmla="*/ 649 w 910"/>
              <a:gd name="T33" fmla="*/ 613 h 1011"/>
              <a:gd name="T34" fmla="*/ 586 w 910"/>
              <a:gd name="T35" fmla="*/ 695 h 1011"/>
              <a:gd name="T36" fmla="*/ 621 w 910"/>
              <a:gd name="T37" fmla="*/ 710 h 1011"/>
              <a:gd name="T38" fmla="*/ 627 w 910"/>
              <a:gd name="T39" fmla="*/ 771 h 1011"/>
              <a:gd name="T40" fmla="*/ 621 w 910"/>
              <a:gd name="T41" fmla="*/ 801 h 1011"/>
              <a:gd name="T42" fmla="*/ 627 w 910"/>
              <a:gd name="T43" fmla="*/ 861 h 1011"/>
              <a:gd name="T44" fmla="*/ 324 w 910"/>
              <a:gd name="T45" fmla="*/ 920 h 1011"/>
              <a:gd name="T46" fmla="*/ 294 w 910"/>
              <a:gd name="T47" fmla="*/ 885 h 1011"/>
              <a:gd name="T48" fmla="*/ 292 w 910"/>
              <a:gd name="T49" fmla="*/ 846 h 1011"/>
              <a:gd name="T50" fmla="*/ 298 w 910"/>
              <a:gd name="T51" fmla="*/ 814 h 1011"/>
              <a:gd name="T52" fmla="*/ 292 w 910"/>
              <a:gd name="T53" fmla="*/ 777 h 1011"/>
              <a:gd name="T54" fmla="*/ 300 w 910"/>
              <a:gd name="T55" fmla="*/ 732 h 1011"/>
              <a:gd name="T56" fmla="*/ 331 w 910"/>
              <a:gd name="T57" fmla="*/ 673 h 1011"/>
              <a:gd name="T58" fmla="*/ 266 w 910"/>
              <a:gd name="T59" fmla="*/ 615 h 1011"/>
              <a:gd name="T60" fmla="*/ 222 w 910"/>
              <a:gd name="T61" fmla="*/ 531 h 1011"/>
              <a:gd name="T62" fmla="*/ 214 w 910"/>
              <a:gd name="T63" fmla="*/ 440 h 1011"/>
              <a:gd name="T64" fmla="*/ 242 w 910"/>
              <a:gd name="T65" fmla="*/ 349 h 1011"/>
              <a:gd name="T66" fmla="*/ 285 w 910"/>
              <a:gd name="T67" fmla="*/ 293 h 1011"/>
              <a:gd name="T68" fmla="*/ 361 w 910"/>
              <a:gd name="T69" fmla="*/ 241 h 1011"/>
              <a:gd name="T70" fmla="*/ 456 w 910"/>
              <a:gd name="T71" fmla="*/ 221 h 1011"/>
              <a:gd name="T72" fmla="*/ 530 w 910"/>
              <a:gd name="T73" fmla="*/ 942 h 1011"/>
              <a:gd name="T74" fmla="*/ 517 w 910"/>
              <a:gd name="T75" fmla="*/ 980 h 1011"/>
              <a:gd name="T76" fmla="*/ 473 w 910"/>
              <a:gd name="T77" fmla="*/ 1011 h 1011"/>
              <a:gd name="T78" fmla="*/ 434 w 910"/>
              <a:gd name="T79" fmla="*/ 1006 h 1011"/>
              <a:gd name="T80" fmla="*/ 398 w 910"/>
              <a:gd name="T81" fmla="*/ 974 h 1011"/>
              <a:gd name="T82" fmla="*/ 527 w 910"/>
              <a:gd name="T83" fmla="*/ 939 h 1011"/>
              <a:gd name="T84" fmla="*/ 341 w 910"/>
              <a:gd name="T85" fmla="*/ 866 h 1011"/>
              <a:gd name="T86" fmla="*/ 579 w 910"/>
              <a:gd name="T87" fmla="*/ 849 h 1011"/>
              <a:gd name="T88" fmla="*/ 579 w 910"/>
              <a:gd name="T89" fmla="*/ 838 h 1011"/>
              <a:gd name="T90" fmla="*/ 341 w 910"/>
              <a:gd name="T91" fmla="*/ 775 h 1011"/>
              <a:gd name="T92" fmla="*/ 579 w 910"/>
              <a:gd name="T93" fmla="*/ 758 h 1011"/>
              <a:gd name="T94" fmla="*/ 579 w 910"/>
              <a:gd name="T95" fmla="*/ 74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0" h="1011">
                <a:moveTo>
                  <a:pt x="428" y="0"/>
                </a:moveTo>
                <a:lnTo>
                  <a:pt x="484" y="0"/>
                </a:lnTo>
                <a:lnTo>
                  <a:pt x="484" y="152"/>
                </a:lnTo>
                <a:lnTo>
                  <a:pt x="428" y="152"/>
                </a:lnTo>
                <a:lnTo>
                  <a:pt x="428" y="0"/>
                </a:lnTo>
                <a:lnTo>
                  <a:pt x="428" y="0"/>
                </a:lnTo>
                <a:close/>
                <a:moveTo>
                  <a:pt x="910" y="429"/>
                </a:moveTo>
                <a:lnTo>
                  <a:pt x="910" y="485"/>
                </a:lnTo>
                <a:lnTo>
                  <a:pt x="761" y="485"/>
                </a:lnTo>
                <a:lnTo>
                  <a:pt x="761" y="429"/>
                </a:lnTo>
                <a:lnTo>
                  <a:pt x="910" y="429"/>
                </a:lnTo>
                <a:lnTo>
                  <a:pt x="910" y="429"/>
                </a:lnTo>
                <a:close/>
                <a:moveTo>
                  <a:pt x="837" y="206"/>
                </a:moveTo>
                <a:lnTo>
                  <a:pt x="865" y="254"/>
                </a:lnTo>
                <a:lnTo>
                  <a:pt x="733" y="329"/>
                </a:lnTo>
                <a:lnTo>
                  <a:pt x="705" y="280"/>
                </a:lnTo>
                <a:lnTo>
                  <a:pt x="837" y="206"/>
                </a:lnTo>
                <a:lnTo>
                  <a:pt x="837" y="206"/>
                </a:lnTo>
                <a:close/>
                <a:moveTo>
                  <a:pt x="659" y="48"/>
                </a:moveTo>
                <a:lnTo>
                  <a:pt x="584" y="178"/>
                </a:lnTo>
                <a:lnTo>
                  <a:pt x="634" y="206"/>
                </a:lnTo>
                <a:lnTo>
                  <a:pt x="707" y="76"/>
                </a:lnTo>
                <a:lnTo>
                  <a:pt x="659" y="48"/>
                </a:lnTo>
                <a:lnTo>
                  <a:pt x="659" y="48"/>
                </a:lnTo>
                <a:close/>
                <a:moveTo>
                  <a:pt x="0" y="485"/>
                </a:moveTo>
                <a:lnTo>
                  <a:pt x="0" y="429"/>
                </a:lnTo>
                <a:lnTo>
                  <a:pt x="151" y="429"/>
                </a:lnTo>
                <a:lnTo>
                  <a:pt x="151" y="485"/>
                </a:lnTo>
                <a:lnTo>
                  <a:pt x="0" y="485"/>
                </a:lnTo>
                <a:lnTo>
                  <a:pt x="0" y="485"/>
                </a:lnTo>
                <a:close/>
                <a:moveTo>
                  <a:pt x="47" y="254"/>
                </a:moveTo>
                <a:lnTo>
                  <a:pt x="75" y="204"/>
                </a:lnTo>
                <a:lnTo>
                  <a:pt x="205" y="280"/>
                </a:lnTo>
                <a:lnTo>
                  <a:pt x="177" y="327"/>
                </a:lnTo>
                <a:lnTo>
                  <a:pt x="47" y="254"/>
                </a:lnTo>
                <a:lnTo>
                  <a:pt x="47" y="254"/>
                </a:lnTo>
                <a:close/>
                <a:moveTo>
                  <a:pt x="203" y="76"/>
                </a:moveTo>
                <a:lnTo>
                  <a:pt x="279" y="206"/>
                </a:lnTo>
                <a:lnTo>
                  <a:pt x="328" y="178"/>
                </a:lnTo>
                <a:lnTo>
                  <a:pt x="253" y="48"/>
                </a:lnTo>
                <a:lnTo>
                  <a:pt x="203" y="76"/>
                </a:lnTo>
                <a:lnTo>
                  <a:pt x="203" y="76"/>
                </a:lnTo>
                <a:close/>
                <a:moveTo>
                  <a:pt x="456" y="221"/>
                </a:moveTo>
                <a:lnTo>
                  <a:pt x="456" y="221"/>
                </a:lnTo>
                <a:lnTo>
                  <a:pt x="478" y="223"/>
                </a:lnTo>
                <a:lnTo>
                  <a:pt x="502" y="228"/>
                </a:lnTo>
                <a:lnTo>
                  <a:pt x="525" y="234"/>
                </a:lnTo>
                <a:lnTo>
                  <a:pt x="549" y="243"/>
                </a:lnTo>
                <a:lnTo>
                  <a:pt x="571" y="254"/>
                </a:lnTo>
                <a:lnTo>
                  <a:pt x="592" y="264"/>
                </a:lnTo>
                <a:lnTo>
                  <a:pt x="612" y="277"/>
                </a:lnTo>
                <a:lnTo>
                  <a:pt x="627" y="293"/>
                </a:lnTo>
                <a:lnTo>
                  <a:pt x="627" y="293"/>
                </a:lnTo>
                <a:lnTo>
                  <a:pt x="644" y="310"/>
                </a:lnTo>
                <a:lnTo>
                  <a:pt x="657" y="329"/>
                </a:lnTo>
                <a:lnTo>
                  <a:pt x="670" y="349"/>
                </a:lnTo>
                <a:lnTo>
                  <a:pt x="681" y="370"/>
                </a:lnTo>
                <a:lnTo>
                  <a:pt x="688" y="392"/>
                </a:lnTo>
                <a:lnTo>
                  <a:pt x="694" y="416"/>
                </a:lnTo>
                <a:lnTo>
                  <a:pt x="698" y="440"/>
                </a:lnTo>
                <a:lnTo>
                  <a:pt x="698" y="466"/>
                </a:lnTo>
                <a:lnTo>
                  <a:pt x="698" y="466"/>
                </a:lnTo>
                <a:lnTo>
                  <a:pt x="696" y="498"/>
                </a:lnTo>
                <a:lnTo>
                  <a:pt x="690" y="531"/>
                </a:lnTo>
                <a:lnTo>
                  <a:pt x="679" y="561"/>
                </a:lnTo>
                <a:lnTo>
                  <a:pt x="666" y="589"/>
                </a:lnTo>
                <a:lnTo>
                  <a:pt x="666" y="589"/>
                </a:lnTo>
                <a:lnTo>
                  <a:pt x="649" y="613"/>
                </a:lnTo>
                <a:lnTo>
                  <a:pt x="631" y="634"/>
                </a:lnTo>
                <a:lnTo>
                  <a:pt x="610" y="654"/>
                </a:lnTo>
                <a:lnTo>
                  <a:pt x="586" y="669"/>
                </a:lnTo>
                <a:lnTo>
                  <a:pt x="586" y="695"/>
                </a:lnTo>
                <a:lnTo>
                  <a:pt x="595" y="695"/>
                </a:lnTo>
                <a:lnTo>
                  <a:pt x="614" y="693"/>
                </a:lnTo>
                <a:lnTo>
                  <a:pt x="621" y="710"/>
                </a:lnTo>
                <a:lnTo>
                  <a:pt x="621" y="710"/>
                </a:lnTo>
                <a:lnTo>
                  <a:pt x="627" y="730"/>
                </a:lnTo>
                <a:lnTo>
                  <a:pt x="629" y="751"/>
                </a:lnTo>
                <a:lnTo>
                  <a:pt x="629" y="751"/>
                </a:lnTo>
                <a:lnTo>
                  <a:pt x="627" y="771"/>
                </a:lnTo>
                <a:lnTo>
                  <a:pt x="621" y="790"/>
                </a:lnTo>
                <a:lnTo>
                  <a:pt x="618" y="794"/>
                </a:lnTo>
                <a:lnTo>
                  <a:pt x="621" y="801"/>
                </a:lnTo>
                <a:lnTo>
                  <a:pt x="621" y="801"/>
                </a:lnTo>
                <a:lnTo>
                  <a:pt x="627" y="820"/>
                </a:lnTo>
                <a:lnTo>
                  <a:pt x="629" y="842"/>
                </a:lnTo>
                <a:lnTo>
                  <a:pt x="629" y="842"/>
                </a:lnTo>
                <a:lnTo>
                  <a:pt x="627" y="861"/>
                </a:lnTo>
                <a:lnTo>
                  <a:pt x="621" y="881"/>
                </a:lnTo>
                <a:lnTo>
                  <a:pt x="614" y="894"/>
                </a:lnTo>
                <a:lnTo>
                  <a:pt x="599" y="896"/>
                </a:lnTo>
                <a:lnTo>
                  <a:pt x="324" y="920"/>
                </a:lnTo>
                <a:lnTo>
                  <a:pt x="307" y="922"/>
                </a:lnTo>
                <a:lnTo>
                  <a:pt x="298" y="905"/>
                </a:lnTo>
                <a:lnTo>
                  <a:pt x="298" y="905"/>
                </a:lnTo>
                <a:lnTo>
                  <a:pt x="294" y="885"/>
                </a:lnTo>
                <a:lnTo>
                  <a:pt x="292" y="868"/>
                </a:lnTo>
                <a:lnTo>
                  <a:pt x="292" y="868"/>
                </a:lnTo>
                <a:lnTo>
                  <a:pt x="292" y="857"/>
                </a:lnTo>
                <a:lnTo>
                  <a:pt x="292" y="846"/>
                </a:lnTo>
                <a:lnTo>
                  <a:pt x="296" y="836"/>
                </a:lnTo>
                <a:lnTo>
                  <a:pt x="300" y="823"/>
                </a:lnTo>
                <a:lnTo>
                  <a:pt x="303" y="820"/>
                </a:lnTo>
                <a:lnTo>
                  <a:pt x="298" y="814"/>
                </a:lnTo>
                <a:lnTo>
                  <a:pt x="298" y="814"/>
                </a:lnTo>
                <a:lnTo>
                  <a:pt x="294" y="797"/>
                </a:lnTo>
                <a:lnTo>
                  <a:pt x="292" y="777"/>
                </a:lnTo>
                <a:lnTo>
                  <a:pt x="292" y="777"/>
                </a:lnTo>
                <a:lnTo>
                  <a:pt x="292" y="766"/>
                </a:lnTo>
                <a:lnTo>
                  <a:pt x="292" y="755"/>
                </a:lnTo>
                <a:lnTo>
                  <a:pt x="296" y="745"/>
                </a:lnTo>
                <a:lnTo>
                  <a:pt x="300" y="732"/>
                </a:lnTo>
                <a:lnTo>
                  <a:pt x="307" y="719"/>
                </a:lnTo>
                <a:lnTo>
                  <a:pt x="320" y="719"/>
                </a:lnTo>
                <a:lnTo>
                  <a:pt x="331" y="717"/>
                </a:lnTo>
                <a:lnTo>
                  <a:pt x="331" y="673"/>
                </a:lnTo>
                <a:lnTo>
                  <a:pt x="331" y="673"/>
                </a:lnTo>
                <a:lnTo>
                  <a:pt x="307" y="656"/>
                </a:lnTo>
                <a:lnTo>
                  <a:pt x="285" y="637"/>
                </a:lnTo>
                <a:lnTo>
                  <a:pt x="266" y="615"/>
                </a:lnTo>
                <a:lnTo>
                  <a:pt x="248" y="591"/>
                </a:lnTo>
                <a:lnTo>
                  <a:pt x="248" y="591"/>
                </a:lnTo>
                <a:lnTo>
                  <a:pt x="233" y="563"/>
                </a:lnTo>
                <a:lnTo>
                  <a:pt x="222" y="531"/>
                </a:lnTo>
                <a:lnTo>
                  <a:pt x="216" y="498"/>
                </a:lnTo>
                <a:lnTo>
                  <a:pt x="214" y="466"/>
                </a:lnTo>
                <a:lnTo>
                  <a:pt x="214" y="466"/>
                </a:lnTo>
                <a:lnTo>
                  <a:pt x="214" y="440"/>
                </a:lnTo>
                <a:lnTo>
                  <a:pt x="218" y="416"/>
                </a:lnTo>
                <a:lnTo>
                  <a:pt x="225" y="392"/>
                </a:lnTo>
                <a:lnTo>
                  <a:pt x="233" y="370"/>
                </a:lnTo>
                <a:lnTo>
                  <a:pt x="242" y="349"/>
                </a:lnTo>
                <a:lnTo>
                  <a:pt x="255" y="329"/>
                </a:lnTo>
                <a:lnTo>
                  <a:pt x="270" y="310"/>
                </a:lnTo>
                <a:lnTo>
                  <a:pt x="285" y="293"/>
                </a:lnTo>
                <a:lnTo>
                  <a:pt x="285" y="293"/>
                </a:lnTo>
                <a:lnTo>
                  <a:pt x="303" y="277"/>
                </a:lnTo>
                <a:lnTo>
                  <a:pt x="320" y="264"/>
                </a:lnTo>
                <a:lnTo>
                  <a:pt x="341" y="251"/>
                </a:lnTo>
                <a:lnTo>
                  <a:pt x="361" y="241"/>
                </a:lnTo>
                <a:lnTo>
                  <a:pt x="385" y="232"/>
                </a:lnTo>
                <a:lnTo>
                  <a:pt x="409" y="228"/>
                </a:lnTo>
                <a:lnTo>
                  <a:pt x="432" y="223"/>
                </a:lnTo>
                <a:lnTo>
                  <a:pt x="456" y="221"/>
                </a:lnTo>
                <a:lnTo>
                  <a:pt x="456" y="221"/>
                </a:lnTo>
                <a:close/>
                <a:moveTo>
                  <a:pt x="527" y="939"/>
                </a:moveTo>
                <a:lnTo>
                  <a:pt x="527" y="939"/>
                </a:lnTo>
                <a:lnTo>
                  <a:pt x="530" y="942"/>
                </a:lnTo>
                <a:lnTo>
                  <a:pt x="530" y="942"/>
                </a:lnTo>
                <a:lnTo>
                  <a:pt x="527" y="957"/>
                </a:lnTo>
                <a:lnTo>
                  <a:pt x="523" y="970"/>
                </a:lnTo>
                <a:lnTo>
                  <a:pt x="517" y="980"/>
                </a:lnTo>
                <a:lnTo>
                  <a:pt x="508" y="991"/>
                </a:lnTo>
                <a:lnTo>
                  <a:pt x="497" y="1000"/>
                </a:lnTo>
                <a:lnTo>
                  <a:pt x="486" y="1006"/>
                </a:lnTo>
                <a:lnTo>
                  <a:pt x="473" y="1011"/>
                </a:lnTo>
                <a:lnTo>
                  <a:pt x="458" y="1011"/>
                </a:lnTo>
                <a:lnTo>
                  <a:pt x="458" y="1011"/>
                </a:lnTo>
                <a:lnTo>
                  <a:pt x="445" y="1011"/>
                </a:lnTo>
                <a:lnTo>
                  <a:pt x="434" y="1006"/>
                </a:lnTo>
                <a:lnTo>
                  <a:pt x="424" y="1002"/>
                </a:lnTo>
                <a:lnTo>
                  <a:pt x="413" y="993"/>
                </a:lnTo>
                <a:lnTo>
                  <a:pt x="404" y="985"/>
                </a:lnTo>
                <a:lnTo>
                  <a:pt x="398" y="974"/>
                </a:lnTo>
                <a:lnTo>
                  <a:pt x="393" y="963"/>
                </a:lnTo>
                <a:lnTo>
                  <a:pt x="389" y="950"/>
                </a:lnTo>
                <a:lnTo>
                  <a:pt x="527" y="939"/>
                </a:lnTo>
                <a:lnTo>
                  <a:pt x="527" y="939"/>
                </a:lnTo>
                <a:close/>
                <a:moveTo>
                  <a:pt x="579" y="838"/>
                </a:moveTo>
                <a:lnTo>
                  <a:pt x="341" y="857"/>
                </a:lnTo>
                <a:lnTo>
                  <a:pt x="341" y="857"/>
                </a:lnTo>
                <a:lnTo>
                  <a:pt x="341" y="866"/>
                </a:lnTo>
                <a:lnTo>
                  <a:pt x="341" y="866"/>
                </a:lnTo>
                <a:lnTo>
                  <a:pt x="341" y="868"/>
                </a:lnTo>
                <a:lnTo>
                  <a:pt x="579" y="849"/>
                </a:lnTo>
                <a:lnTo>
                  <a:pt x="579" y="849"/>
                </a:lnTo>
                <a:lnTo>
                  <a:pt x="579" y="842"/>
                </a:lnTo>
                <a:lnTo>
                  <a:pt x="579" y="842"/>
                </a:lnTo>
                <a:lnTo>
                  <a:pt x="579" y="838"/>
                </a:lnTo>
                <a:lnTo>
                  <a:pt x="579" y="838"/>
                </a:lnTo>
                <a:close/>
                <a:moveTo>
                  <a:pt x="579" y="747"/>
                </a:moveTo>
                <a:lnTo>
                  <a:pt x="341" y="766"/>
                </a:lnTo>
                <a:lnTo>
                  <a:pt x="341" y="766"/>
                </a:lnTo>
                <a:lnTo>
                  <a:pt x="341" y="775"/>
                </a:lnTo>
                <a:lnTo>
                  <a:pt x="341" y="775"/>
                </a:lnTo>
                <a:lnTo>
                  <a:pt x="341" y="777"/>
                </a:lnTo>
                <a:lnTo>
                  <a:pt x="579" y="758"/>
                </a:lnTo>
                <a:lnTo>
                  <a:pt x="579" y="758"/>
                </a:lnTo>
                <a:lnTo>
                  <a:pt x="579" y="751"/>
                </a:lnTo>
                <a:lnTo>
                  <a:pt x="579" y="751"/>
                </a:lnTo>
                <a:lnTo>
                  <a:pt x="579" y="747"/>
                </a:lnTo>
                <a:lnTo>
                  <a:pt x="579" y="747"/>
                </a:lnTo>
                <a:close/>
              </a:path>
            </a:pathLst>
          </a:custGeom>
          <a:solidFill>
            <a:srgbClr val="0070C0"/>
          </a:solidFill>
          <a:ln>
            <a:noFill/>
          </a:ln>
        </p:spPr>
        <p:txBody>
          <a:bodyPr vert="horz" wrap="square" lIns="121917" tIns="60958" rIns="121917" bIns="60958" numCol="1" anchor="t" anchorCtr="0" compatLnSpc="1"/>
          <a:lstStyle/>
          <a:p>
            <a:endParaRPr lang="zh-CN" altLang="en-US"/>
          </a:p>
        </p:txBody>
      </p:sp>
      <p:sp>
        <p:nvSpPr>
          <p:cNvPr id="20" name="PA_任意多边形 15"/>
          <p:cNvSpPr>
            <a:spLocks noEditPoints="1"/>
          </p:cNvSpPr>
          <p:nvPr>
            <p:custDataLst>
              <p:tags r:id="rId16"/>
            </p:custDataLst>
          </p:nvPr>
        </p:nvSpPr>
        <p:spPr bwMode="auto">
          <a:xfrm>
            <a:off x="1777597" y="1762422"/>
            <a:ext cx="452708" cy="452708"/>
          </a:xfrm>
          <a:custGeom>
            <a:avLst/>
            <a:gdLst>
              <a:gd name="T0" fmla="*/ 714 w 900"/>
              <a:gd name="T1" fmla="*/ 188 h 900"/>
              <a:gd name="T2" fmla="*/ 820 w 900"/>
              <a:gd name="T3" fmla="*/ 489 h 900"/>
              <a:gd name="T4" fmla="*/ 628 w 900"/>
              <a:gd name="T5" fmla="*/ 776 h 900"/>
              <a:gd name="T6" fmla="*/ 305 w 900"/>
              <a:gd name="T7" fmla="*/ 794 h 900"/>
              <a:gd name="T8" fmla="*/ 87 w 900"/>
              <a:gd name="T9" fmla="*/ 526 h 900"/>
              <a:gd name="T10" fmla="*/ 165 w 900"/>
              <a:gd name="T11" fmla="*/ 214 h 900"/>
              <a:gd name="T12" fmla="*/ 450 w 900"/>
              <a:gd name="T13" fmla="*/ 78 h 900"/>
              <a:gd name="T14" fmla="*/ 900 w 900"/>
              <a:gd name="T15" fmla="*/ 471 h 900"/>
              <a:gd name="T16" fmla="*/ 809 w 900"/>
              <a:gd name="T17" fmla="*/ 619 h 900"/>
              <a:gd name="T18" fmla="*/ 889 w 900"/>
              <a:gd name="T19" fmla="*/ 346 h 900"/>
              <a:gd name="T20" fmla="*/ 835 w 900"/>
              <a:gd name="T21" fmla="*/ 359 h 900"/>
              <a:gd name="T22" fmla="*/ 805 w 900"/>
              <a:gd name="T23" fmla="*/ 173 h 900"/>
              <a:gd name="T24" fmla="*/ 647 w 900"/>
              <a:gd name="T25" fmla="*/ 106 h 900"/>
              <a:gd name="T26" fmla="*/ 593 w 900"/>
              <a:gd name="T27" fmla="*/ 24 h 900"/>
              <a:gd name="T28" fmla="*/ 435 w 900"/>
              <a:gd name="T29" fmla="*/ 0 h 900"/>
              <a:gd name="T30" fmla="*/ 407 w 900"/>
              <a:gd name="T31" fmla="*/ 2 h 900"/>
              <a:gd name="T32" fmla="*/ 379 w 900"/>
              <a:gd name="T33" fmla="*/ 6 h 900"/>
              <a:gd name="T34" fmla="*/ 381 w 900"/>
              <a:gd name="T35" fmla="*/ 60 h 900"/>
              <a:gd name="T36" fmla="*/ 405 w 900"/>
              <a:gd name="T37" fmla="*/ 58 h 900"/>
              <a:gd name="T38" fmla="*/ 431 w 900"/>
              <a:gd name="T39" fmla="*/ 56 h 900"/>
              <a:gd name="T40" fmla="*/ 483 w 900"/>
              <a:gd name="T41" fmla="*/ 56 h 900"/>
              <a:gd name="T42" fmla="*/ 227 w 900"/>
              <a:gd name="T43" fmla="*/ 58 h 900"/>
              <a:gd name="T44" fmla="*/ 212 w 900"/>
              <a:gd name="T45" fmla="*/ 134 h 900"/>
              <a:gd name="T46" fmla="*/ 63 w 900"/>
              <a:gd name="T47" fmla="*/ 220 h 900"/>
              <a:gd name="T48" fmla="*/ 59 w 900"/>
              <a:gd name="T49" fmla="*/ 391 h 900"/>
              <a:gd name="T50" fmla="*/ 0 w 900"/>
              <a:gd name="T51" fmla="*/ 469 h 900"/>
              <a:gd name="T52" fmla="*/ 115 w 900"/>
              <a:gd name="T53" fmla="*/ 660 h 900"/>
              <a:gd name="T54" fmla="*/ 0 w 900"/>
              <a:gd name="T55" fmla="*/ 469 h 900"/>
              <a:gd name="T56" fmla="*/ 262 w 900"/>
              <a:gd name="T57" fmla="*/ 861 h 900"/>
              <a:gd name="T58" fmla="*/ 163 w 900"/>
              <a:gd name="T59" fmla="*/ 720 h 900"/>
              <a:gd name="T60" fmla="*/ 359 w 900"/>
              <a:gd name="T61" fmla="*/ 891 h 900"/>
              <a:gd name="T62" fmla="*/ 388 w 900"/>
              <a:gd name="T63" fmla="*/ 895 h 900"/>
              <a:gd name="T64" fmla="*/ 416 w 900"/>
              <a:gd name="T65" fmla="*/ 900 h 900"/>
              <a:gd name="T66" fmla="*/ 444 w 900"/>
              <a:gd name="T67" fmla="*/ 900 h 900"/>
              <a:gd name="T68" fmla="*/ 474 w 900"/>
              <a:gd name="T69" fmla="*/ 900 h 900"/>
              <a:gd name="T70" fmla="*/ 502 w 900"/>
              <a:gd name="T71" fmla="*/ 898 h 900"/>
              <a:gd name="T72" fmla="*/ 530 w 900"/>
              <a:gd name="T73" fmla="*/ 893 h 900"/>
              <a:gd name="T74" fmla="*/ 558 w 900"/>
              <a:gd name="T75" fmla="*/ 889 h 900"/>
              <a:gd name="T76" fmla="*/ 556 w 900"/>
              <a:gd name="T77" fmla="*/ 833 h 900"/>
              <a:gd name="T78" fmla="*/ 533 w 900"/>
              <a:gd name="T79" fmla="*/ 837 h 900"/>
              <a:gd name="T80" fmla="*/ 509 w 900"/>
              <a:gd name="T81" fmla="*/ 841 h 900"/>
              <a:gd name="T82" fmla="*/ 483 w 900"/>
              <a:gd name="T83" fmla="*/ 846 h 900"/>
              <a:gd name="T84" fmla="*/ 459 w 900"/>
              <a:gd name="T85" fmla="*/ 846 h 900"/>
              <a:gd name="T86" fmla="*/ 433 w 900"/>
              <a:gd name="T87" fmla="*/ 846 h 900"/>
              <a:gd name="T88" fmla="*/ 407 w 900"/>
              <a:gd name="T89" fmla="*/ 844 h 900"/>
              <a:gd name="T90" fmla="*/ 383 w 900"/>
              <a:gd name="T91" fmla="*/ 841 h 900"/>
              <a:gd name="T92" fmla="*/ 359 w 900"/>
              <a:gd name="T93" fmla="*/ 835 h 900"/>
              <a:gd name="T94" fmla="*/ 751 w 900"/>
              <a:gd name="T95" fmla="*/ 785 h 900"/>
              <a:gd name="T96" fmla="*/ 675 w 900"/>
              <a:gd name="T97" fmla="*/ 776 h 900"/>
              <a:gd name="T98" fmla="*/ 597 w 900"/>
              <a:gd name="T99" fmla="*/ 292 h 900"/>
              <a:gd name="T100" fmla="*/ 429 w 900"/>
              <a:gd name="T101" fmla="*/ 156 h 900"/>
              <a:gd name="T102" fmla="*/ 308 w 900"/>
              <a:gd name="T103" fmla="*/ 294 h 900"/>
              <a:gd name="T104" fmla="*/ 344 w 900"/>
              <a:gd name="T105" fmla="*/ 426 h 900"/>
              <a:gd name="T106" fmla="*/ 470 w 900"/>
              <a:gd name="T107" fmla="*/ 526 h 900"/>
              <a:gd name="T108" fmla="*/ 452 w 900"/>
              <a:gd name="T109" fmla="*/ 619 h 900"/>
              <a:gd name="T110" fmla="*/ 308 w 900"/>
              <a:gd name="T111" fmla="*/ 538 h 900"/>
              <a:gd name="T112" fmla="*/ 364 w 900"/>
              <a:gd name="T113" fmla="*/ 668 h 900"/>
              <a:gd name="T114" fmla="*/ 563 w 900"/>
              <a:gd name="T115" fmla="*/ 664 h 900"/>
              <a:gd name="T116" fmla="*/ 613 w 900"/>
              <a:gd name="T117" fmla="*/ 523 h 900"/>
              <a:gd name="T118" fmla="*/ 548 w 900"/>
              <a:gd name="T119" fmla="*/ 413 h 900"/>
              <a:gd name="T120" fmla="*/ 431 w 900"/>
              <a:gd name="T121" fmla="*/ 303 h 900"/>
              <a:gd name="T122" fmla="*/ 472 w 900"/>
              <a:gd name="T123" fmla="*/ 27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0" h="900">
                <a:moveTo>
                  <a:pt x="450" y="78"/>
                </a:moveTo>
                <a:lnTo>
                  <a:pt x="450" y="78"/>
                </a:lnTo>
                <a:lnTo>
                  <a:pt x="489" y="80"/>
                </a:lnTo>
                <a:lnTo>
                  <a:pt x="526" y="86"/>
                </a:lnTo>
                <a:lnTo>
                  <a:pt x="561" y="95"/>
                </a:lnTo>
                <a:lnTo>
                  <a:pt x="595" y="108"/>
                </a:lnTo>
                <a:lnTo>
                  <a:pt x="628" y="123"/>
                </a:lnTo>
                <a:lnTo>
                  <a:pt x="658" y="143"/>
                </a:lnTo>
                <a:lnTo>
                  <a:pt x="688" y="164"/>
                </a:lnTo>
                <a:lnTo>
                  <a:pt x="714" y="188"/>
                </a:lnTo>
                <a:lnTo>
                  <a:pt x="738" y="214"/>
                </a:lnTo>
                <a:lnTo>
                  <a:pt x="760" y="242"/>
                </a:lnTo>
                <a:lnTo>
                  <a:pt x="777" y="272"/>
                </a:lnTo>
                <a:lnTo>
                  <a:pt x="794" y="305"/>
                </a:lnTo>
                <a:lnTo>
                  <a:pt x="805" y="339"/>
                </a:lnTo>
                <a:lnTo>
                  <a:pt x="816" y="376"/>
                </a:lnTo>
                <a:lnTo>
                  <a:pt x="820" y="413"/>
                </a:lnTo>
                <a:lnTo>
                  <a:pt x="822" y="450"/>
                </a:lnTo>
                <a:lnTo>
                  <a:pt x="822" y="450"/>
                </a:lnTo>
                <a:lnTo>
                  <a:pt x="820" y="489"/>
                </a:lnTo>
                <a:lnTo>
                  <a:pt x="816" y="526"/>
                </a:lnTo>
                <a:lnTo>
                  <a:pt x="805" y="560"/>
                </a:lnTo>
                <a:lnTo>
                  <a:pt x="794" y="595"/>
                </a:lnTo>
                <a:lnTo>
                  <a:pt x="777" y="627"/>
                </a:lnTo>
                <a:lnTo>
                  <a:pt x="760" y="657"/>
                </a:lnTo>
                <a:lnTo>
                  <a:pt x="738" y="688"/>
                </a:lnTo>
                <a:lnTo>
                  <a:pt x="714" y="714"/>
                </a:lnTo>
                <a:lnTo>
                  <a:pt x="688" y="738"/>
                </a:lnTo>
                <a:lnTo>
                  <a:pt x="658" y="759"/>
                </a:lnTo>
                <a:lnTo>
                  <a:pt x="628" y="776"/>
                </a:lnTo>
                <a:lnTo>
                  <a:pt x="595" y="794"/>
                </a:lnTo>
                <a:lnTo>
                  <a:pt x="561" y="807"/>
                </a:lnTo>
                <a:lnTo>
                  <a:pt x="526" y="815"/>
                </a:lnTo>
                <a:lnTo>
                  <a:pt x="489" y="820"/>
                </a:lnTo>
                <a:lnTo>
                  <a:pt x="450" y="822"/>
                </a:lnTo>
                <a:lnTo>
                  <a:pt x="450" y="822"/>
                </a:lnTo>
                <a:lnTo>
                  <a:pt x="414" y="820"/>
                </a:lnTo>
                <a:lnTo>
                  <a:pt x="377" y="815"/>
                </a:lnTo>
                <a:lnTo>
                  <a:pt x="340" y="807"/>
                </a:lnTo>
                <a:lnTo>
                  <a:pt x="305" y="794"/>
                </a:lnTo>
                <a:lnTo>
                  <a:pt x="273" y="776"/>
                </a:lnTo>
                <a:lnTo>
                  <a:pt x="243" y="759"/>
                </a:lnTo>
                <a:lnTo>
                  <a:pt x="214" y="738"/>
                </a:lnTo>
                <a:lnTo>
                  <a:pt x="189" y="714"/>
                </a:lnTo>
                <a:lnTo>
                  <a:pt x="165" y="688"/>
                </a:lnTo>
                <a:lnTo>
                  <a:pt x="143" y="657"/>
                </a:lnTo>
                <a:lnTo>
                  <a:pt x="124" y="627"/>
                </a:lnTo>
                <a:lnTo>
                  <a:pt x="108" y="595"/>
                </a:lnTo>
                <a:lnTo>
                  <a:pt x="95" y="560"/>
                </a:lnTo>
                <a:lnTo>
                  <a:pt x="87" y="526"/>
                </a:lnTo>
                <a:lnTo>
                  <a:pt x="80" y="489"/>
                </a:lnTo>
                <a:lnTo>
                  <a:pt x="78" y="450"/>
                </a:lnTo>
                <a:lnTo>
                  <a:pt x="78" y="450"/>
                </a:lnTo>
                <a:lnTo>
                  <a:pt x="80" y="413"/>
                </a:lnTo>
                <a:lnTo>
                  <a:pt x="87" y="376"/>
                </a:lnTo>
                <a:lnTo>
                  <a:pt x="95" y="339"/>
                </a:lnTo>
                <a:lnTo>
                  <a:pt x="108" y="305"/>
                </a:lnTo>
                <a:lnTo>
                  <a:pt x="124" y="272"/>
                </a:lnTo>
                <a:lnTo>
                  <a:pt x="143" y="242"/>
                </a:lnTo>
                <a:lnTo>
                  <a:pt x="165" y="214"/>
                </a:lnTo>
                <a:lnTo>
                  <a:pt x="189" y="188"/>
                </a:lnTo>
                <a:lnTo>
                  <a:pt x="214" y="164"/>
                </a:lnTo>
                <a:lnTo>
                  <a:pt x="243" y="143"/>
                </a:lnTo>
                <a:lnTo>
                  <a:pt x="273" y="123"/>
                </a:lnTo>
                <a:lnTo>
                  <a:pt x="305" y="108"/>
                </a:lnTo>
                <a:lnTo>
                  <a:pt x="340" y="95"/>
                </a:lnTo>
                <a:lnTo>
                  <a:pt x="377" y="86"/>
                </a:lnTo>
                <a:lnTo>
                  <a:pt x="414" y="80"/>
                </a:lnTo>
                <a:lnTo>
                  <a:pt x="450" y="78"/>
                </a:lnTo>
                <a:lnTo>
                  <a:pt x="450" y="78"/>
                </a:lnTo>
                <a:close/>
                <a:moveTo>
                  <a:pt x="842" y="673"/>
                </a:moveTo>
                <a:lnTo>
                  <a:pt x="842" y="673"/>
                </a:lnTo>
                <a:lnTo>
                  <a:pt x="855" y="649"/>
                </a:lnTo>
                <a:lnTo>
                  <a:pt x="866" y="625"/>
                </a:lnTo>
                <a:lnTo>
                  <a:pt x="874" y="601"/>
                </a:lnTo>
                <a:lnTo>
                  <a:pt x="883" y="575"/>
                </a:lnTo>
                <a:lnTo>
                  <a:pt x="889" y="549"/>
                </a:lnTo>
                <a:lnTo>
                  <a:pt x="896" y="523"/>
                </a:lnTo>
                <a:lnTo>
                  <a:pt x="898" y="497"/>
                </a:lnTo>
                <a:lnTo>
                  <a:pt x="900" y="471"/>
                </a:lnTo>
                <a:lnTo>
                  <a:pt x="900" y="471"/>
                </a:lnTo>
                <a:lnTo>
                  <a:pt x="900" y="465"/>
                </a:lnTo>
                <a:lnTo>
                  <a:pt x="846" y="465"/>
                </a:lnTo>
                <a:lnTo>
                  <a:pt x="846" y="465"/>
                </a:lnTo>
                <a:lnTo>
                  <a:pt x="844" y="497"/>
                </a:lnTo>
                <a:lnTo>
                  <a:pt x="840" y="528"/>
                </a:lnTo>
                <a:lnTo>
                  <a:pt x="831" y="558"/>
                </a:lnTo>
                <a:lnTo>
                  <a:pt x="822" y="588"/>
                </a:lnTo>
                <a:lnTo>
                  <a:pt x="822" y="588"/>
                </a:lnTo>
                <a:lnTo>
                  <a:pt x="809" y="619"/>
                </a:lnTo>
                <a:lnTo>
                  <a:pt x="794" y="647"/>
                </a:lnTo>
                <a:lnTo>
                  <a:pt x="842" y="673"/>
                </a:lnTo>
                <a:lnTo>
                  <a:pt x="842" y="673"/>
                </a:lnTo>
                <a:close/>
                <a:moveTo>
                  <a:pt x="900" y="454"/>
                </a:moveTo>
                <a:lnTo>
                  <a:pt x="900" y="450"/>
                </a:lnTo>
                <a:lnTo>
                  <a:pt x="900" y="450"/>
                </a:lnTo>
                <a:lnTo>
                  <a:pt x="900" y="424"/>
                </a:lnTo>
                <a:lnTo>
                  <a:pt x="898" y="398"/>
                </a:lnTo>
                <a:lnTo>
                  <a:pt x="894" y="372"/>
                </a:lnTo>
                <a:lnTo>
                  <a:pt x="889" y="346"/>
                </a:lnTo>
                <a:lnTo>
                  <a:pt x="881" y="320"/>
                </a:lnTo>
                <a:lnTo>
                  <a:pt x="872" y="294"/>
                </a:lnTo>
                <a:lnTo>
                  <a:pt x="864" y="270"/>
                </a:lnTo>
                <a:lnTo>
                  <a:pt x="853" y="246"/>
                </a:lnTo>
                <a:lnTo>
                  <a:pt x="803" y="270"/>
                </a:lnTo>
                <a:lnTo>
                  <a:pt x="803" y="270"/>
                </a:lnTo>
                <a:lnTo>
                  <a:pt x="814" y="292"/>
                </a:lnTo>
                <a:lnTo>
                  <a:pt x="822" y="313"/>
                </a:lnTo>
                <a:lnTo>
                  <a:pt x="829" y="335"/>
                </a:lnTo>
                <a:lnTo>
                  <a:pt x="835" y="359"/>
                </a:lnTo>
                <a:lnTo>
                  <a:pt x="840" y="381"/>
                </a:lnTo>
                <a:lnTo>
                  <a:pt x="844" y="404"/>
                </a:lnTo>
                <a:lnTo>
                  <a:pt x="846" y="426"/>
                </a:lnTo>
                <a:lnTo>
                  <a:pt x="846" y="450"/>
                </a:lnTo>
                <a:lnTo>
                  <a:pt x="846" y="454"/>
                </a:lnTo>
                <a:lnTo>
                  <a:pt x="900" y="454"/>
                </a:lnTo>
                <a:lnTo>
                  <a:pt x="900" y="454"/>
                </a:lnTo>
                <a:close/>
                <a:moveTo>
                  <a:pt x="822" y="197"/>
                </a:moveTo>
                <a:lnTo>
                  <a:pt x="822" y="197"/>
                </a:lnTo>
                <a:lnTo>
                  <a:pt x="805" y="173"/>
                </a:lnTo>
                <a:lnTo>
                  <a:pt x="786" y="149"/>
                </a:lnTo>
                <a:lnTo>
                  <a:pt x="766" y="130"/>
                </a:lnTo>
                <a:lnTo>
                  <a:pt x="745" y="110"/>
                </a:lnTo>
                <a:lnTo>
                  <a:pt x="721" y="91"/>
                </a:lnTo>
                <a:lnTo>
                  <a:pt x="699" y="73"/>
                </a:lnTo>
                <a:lnTo>
                  <a:pt x="673" y="58"/>
                </a:lnTo>
                <a:lnTo>
                  <a:pt x="647" y="45"/>
                </a:lnTo>
                <a:lnTo>
                  <a:pt x="623" y="95"/>
                </a:lnTo>
                <a:lnTo>
                  <a:pt x="623" y="95"/>
                </a:lnTo>
                <a:lnTo>
                  <a:pt x="647" y="106"/>
                </a:lnTo>
                <a:lnTo>
                  <a:pt x="669" y="121"/>
                </a:lnTo>
                <a:lnTo>
                  <a:pt x="688" y="134"/>
                </a:lnTo>
                <a:lnTo>
                  <a:pt x="710" y="151"/>
                </a:lnTo>
                <a:lnTo>
                  <a:pt x="727" y="169"/>
                </a:lnTo>
                <a:lnTo>
                  <a:pt x="745" y="186"/>
                </a:lnTo>
                <a:lnTo>
                  <a:pt x="762" y="205"/>
                </a:lnTo>
                <a:lnTo>
                  <a:pt x="777" y="227"/>
                </a:lnTo>
                <a:lnTo>
                  <a:pt x="822" y="197"/>
                </a:lnTo>
                <a:lnTo>
                  <a:pt x="822" y="197"/>
                </a:lnTo>
                <a:close/>
                <a:moveTo>
                  <a:pt x="593" y="24"/>
                </a:moveTo>
                <a:lnTo>
                  <a:pt x="593" y="24"/>
                </a:lnTo>
                <a:lnTo>
                  <a:pt x="558" y="13"/>
                </a:lnTo>
                <a:lnTo>
                  <a:pt x="524" y="6"/>
                </a:lnTo>
                <a:lnTo>
                  <a:pt x="487" y="2"/>
                </a:lnTo>
                <a:lnTo>
                  <a:pt x="450" y="0"/>
                </a:lnTo>
                <a:lnTo>
                  <a:pt x="448" y="0"/>
                </a:lnTo>
                <a:lnTo>
                  <a:pt x="444" y="0"/>
                </a:lnTo>
                <a:lnTo>
                  <a:pt x="442" y="0"/>
                </a:lnTo>
                <a:lnTo>
                  <a:pt x="439" y="0"/>
                </a:lnTo>
                <a:lnTo>
                  <a:pt x="435" y="0"/>
                </a:lnTo>
                <a:lnTo>
                  <a:pt x="433" y="0"/>
                </a:lnTo>
                <a:lnTo>
                  <a:pt x="431" y="0"/>
                </a:lnTo>
                <a:lnTo>
                  <a:pt x="426" y="0"/>
                </a:lnTo>
                <a:lnTo>
                  <a:pt x="424" y="2"/>
                </a:lnTo>
                <a:lnTo>
                  <a:pt x="422" y="2"/>
                </a:lnTo>
                <a:lnTo>
                  <a:pt x="418" y="2"/>
                </a:lnTo>
                <a:lnTo>
                  <a:pt x="416" y="2"/>
                </a:lnTo>
                <a:lnTo>
                  <a:pt x="414" y="2"/>
                </a:lnTo>
                <a:lnTo>
                  <a:pt x="411" y="2"/>
                </a:lnTo>
                <a:lnTo>
                  <a:pt x="407" y="2"/>
                </a:lnTo>
                <a:lnTo>
                  <a:pt x="405" y="2"/>
                </a:lnTo>
                <a:lnTo>
                  <a:pt x="403" y="2"/>
                </a:lnTo>
                <a:lnTo>
                  <a:pt x="398" y="4"/>
                </a:lnTo>
                <a:lnTo>
                  <a:pt x="396" y="4"/>
                </a:lnTo>
                <a:lnTo>
                  <a:pt x="394" y="4"/>
                </a:lnTo>
                <a:lnTo>
                  <a:pt x="390" y="4"/>
                </a:lnTo>
                <a:lnTo>
                  <a:pt x="388" y="4"/>
                </a:lnTo>
                <a:lnTo>
                  <a:pt x="385" y="4"/>
                </a:lnTo>
                <a:lnTo>
                  <a:pt x="381" y="6"/>
                </a:lnTo>
                <a:lnTo>
                  <a:pt x="379" y="6"/>
                </a:lnTo>
                <a:lnTo>
                  <a:pt x="377" y="6"/>
                </a:lnTo>
                <a:lnTo>
                  <a:pt x="375" y="6"/>
                </a:lnTo>
                <a:lnTo>
                  <a:pt x="370" y="6"/>
                </a:lnTo>
                <a:lnTo>
                  <a:pt x="368" y="8"/>
                </a:lnTo>
                <a:lnTo>
                  <a:pt x="366" y="8"/>
                </a:lnTo>
                <a:lnTo>
                  <a:pt x="364" y="8"/>
                </a:lnTo>
                <a:lnTo>
                  <a:pt x="375" y="63"/>
                </a:lnTo>
                <a:lnTo>
                  <a:pt x="377" y="63"/>
                </a:lnTo>
                <a:lnTo>
                  <a:pt x="379" y="63"/>
                </a:lnTo>
                <a:lnTo>
                  <a:pt x="381" y="60"/>
                </a:lnTo>
                <a:lnTo>
                  <a:pt x="383" y="60"/>
                </a:lnTo>
                <a:lnTo>
                  <a:pt x="385" y="60"/>
                </a:lnTo>
                <a:lnTo>
                  <a:pt x="388" y="60"/>
                </a:lnTo>
                <a:lnTo>
                  <a:pt x="390" y="60"/>
                </a:lnTo>
                <a:lnTo>
                  <a:pt x="392" y="58"/>
                </a:lnTo>
                <a:lnTo>
                  <a:pt x="396" y="58"/>
                </a:lnTo>
                <a:lnTo>
                  <a:pt x="398" y="58"/>
                </a:lnTo>
                <a:lnTo>
                  <a:pt x="401" y="58"/>
                </a:lnTo>
                <a:lnTo>
                  <a:pt x="403" y="58"/>
                </a:lnTo>
                <a:lnTo>
                  <a:pt x="405" y="58"/>
                </a:lnTo>
                <a:lnTo>
                  <a:pt x="407" y="58"/>
                </a:lnTo>
                <a:lnTo>
                  <a:pt x="409" y="56"/>
                </a:lnTo>
                <a:lnTo>
                  <a:pt x="414" y="56"/>
                </a:lnTo>
                <a:lnTo>
                  <a:pt x="416" y="56"/>
                </a:lnTo>
                <a:lnTo>
                  <a:pt x="418" y="56"/>
                </a:lnTo>
                <a:lnTo>
                  <a:pt x="420" y="56"/>
                </a:lnTo>
                <a:lnTo>
                  <a:pt x="422" y="56"/>
                </a:lnTo>
                <a:lnTo>
                  <a:pt x="424" y="56"/>
                </a:lnTo>
                <a:lnTo>
                  <a:pt x="429" y="56"/>
                </a:lnTo>
                <a:lnTo>
                  <a:pt x="431" y="56"/>
                </a:lnTo>
                <a:lnTo>
                  <a:pt x="433" y="56"/>
                </a:lnTo>
                <a:lnTo>
                  <a:pt x="435" y="56"/>
                </a:lnTo>
                <a:lnTo>
                  <a:pt x="437" y="56"/>
                </a:lnTo>
                <a:lnTo>
                  <a:pt x="439" y="56"/>
                </a:lnTo>
                <a:lnTo>
                  <a:pt x="444" y="54"/>
                </a:lnTo>
                <a:lnTo>
                  <a:pt x="446" y="54"/>
                </a:lnTo>
                <a:lnTo>
                  <a:pt x="448" y="54"/>
                </a:lnTo>
                <a:lnTo>
                  <a:pt x="450" y="54"/>
                </a:lnTo>
                <a:lnTo>
                  <a:pt x="450" y="54"/>
                </a:lnTo>
                <a:lnTo>
                  <a:pt x="483" y="56"/>
                </a:lnTo>
                <a:lnTo>
                  <a:pt x="515" y="60"/>
                </a:lnTo>
                <a:lnTo>
                  <a:pt x="545" y="67"/>
                </a:lnTo>
                <a:lnTo>
                  <a:pt x="576" y="76"/>
                </a:lnTo>
                <a:lnTo>
                  <a:pt x="593" y="24"/>
                </a:lnTo>
                <a:lnTo>
                  <a:pt x="593" y="24"/>
                </a:lnTo>
                <a:close/>
                <a:moveTo>
                  <a:pt x="308" y="24"/>
                </a:moveTo>
                <a:lnTo>
                  <a:pt x="308" y="24"/>
                </a:lnTo>
                <a:lnTo>
                  <a:pt x="282" y="34"/>
                </a:lnTo>
                <a:lnTo>
                  <a:pt x="253" y="45"/>
                </a:lnTo>
                <a:lnTo>
                  <a:pt x="227" y="58"/>
                </a:lnTo>
                <a:lnTo>
                  <a:pt x="204" y="73"/>
                </a:lnTo>
                <a:lnTo>
                  <a:pt x="180" y="91"/>
                </a:lnTo>
                <a:lnTo>
                  <a:pt x="158" y="108"/>
                </a:lnTo>
                <a:lnTo>
                  <a:pt x="137" y="127"/>
                </a:lnTo>
                <a:lnTo>
                  <a:pt x="115" y="149"/>
                </a:lnTo>
                <a:lnTo>
                  <a:pt x="156" y="186"/>
                </a:lnTo>
                <a:lnTo>
                  <a:pt x="156" y="186"/>
                </a:lnTo>
                <a:lnTo>
                  <a:pt x="173" y="169"/>
                </a:lnTo>
                <a:lnTo>
                  <a:pt x="193" y="151"/>
                </a:lnTo>
                <a:lnTo>
                  <a:pt x="212" y="134"/>
                </a:lnTo>
                <a:lnTo>
                  <a:pt x="234" y="119"/>
                </a:lnTo>
                <a:lnTo>
                  <a:pt x="256" y="106"/>
                </a:lnTo>
                <a:lnTo>
                  <a:pt x="277" y="95"/>
                </a:lnTo>
                <a:lnTo>
                  <a:pt x="301" y="84"/>
                </a:lnTo>
                <a:lnTo>
                  <a:pt x="325" y="76"/>
                </a:lnTo>
                <a:lnTo>
                  <a:pt x="308" y="24"/>
                </a:lnTo>
                <a:lnTo>
                  <a:pt x="308" y="24"/>
                </a:lnTo>
                <a:close/>
                <a:moveTo>
                  <a:pt x="80" y="195"/>
                </a:moveTo>
                <a:lnTo>
                  <a:pt x="80" y="195"/>
                </a:lnTo>
                <a:lnTo>
                  <a:pt x="63" y="220"/>
                </a:lnTo>
                <a:lnTo>
                  <a:pt x="50" y="244"/>
                </a:lnTo>
                <a:lnTo>
                  <a:pt x="37" y="272"/>
                </a:lnTo>
                <a:lnTo>
                  <a:pt x="26" y="298"/>
                </a:lnTo>
                <a:lnTo>
                  <a:pt x="18" y="326"/>
                </a:lnTo>
                <a:lnTo>
                  <a:pt x="11" y="355"/>
                </a:lnTo>
                <a:lnTo>
                  <a:pt x="5" y="383"/>
                </a:lnTo>
                <a:lnTo>
                  <a:pt x="2" y="411"/>
                </a:lnTo>
                <a:lnTo>
                  <a:pt x="57" y="415"/>
                </a:lnTo>
                <a:lnTo>
                  <a:pt x="57" y="415"/>
                </a:lnTo>
                <a:lnTo>
                  <a:pt x="59" y="391"/>
                </a:lnTo>
                <a:lnTo>
                  <a:pt x="65" y="365"/>
                </a:lnTo>
                <a:lnTo>
                  <a:pt x="70" y="342"/>
                </a:lnTo>
                <a:lnTo>
                  <a:pt x="78" y="316"/>
                </a:lnTo>
                <a:lnTo>
                  <a:pt x="87" y="294"/>
                </a:lnTo>
                <a:lnTo>
                  <a:pt x="98" y="270"/>
                </a:lnTo>
                <a:lnTo>
                  <a:pt x="111" y="249"/>
                </a:lnTo>
                <a:lnTo>
                  <a:pt x="126" y="227"/>
                </a:lnTo>
                <a:lnTo>
                  <a:pt x="80" y="195"/>
                </a:lnTo>
                <a:lnTo>
                  <a:pt x="80" y="195"/>
                </a:lnTo>
                <a:close/>
                <a:moveTo>
                  <a:pt x="0" y="469"/>
                </a:moveTo>
                <a:lnTo>
                  <a:pt x="0" y="469"/>
                </a:lnTo>
                <a:lnTo>
                  <a:pt x="2" y="500"/>
                </a:lnTo>
                <a:lnTo>
                  <a:pt x="7" y="528"/>
                </a:lnTo>
                <a:lnTo>
                  <a:pt x="13" y="556"/>
                </a:lnTo>
                <a:lnTo>
                  <a:pt x="20" y="584"/>
                </a:lnTo>
                <a:lnTo>
                  <a:pt x="31" y="612"/>
                </a:lnTo>
                <a:lnTo>
                  <a:pt x="41" y="638"/>
                </a:lnTo>
                <a:lnTo>
                  <a:pt x="54" y="664"/>
                </a:lnTo>
                <a:lnTo>
                  <a:pt x="70" y="690"/>
                </a:lnTo>
                <a:lnTo>
                  <a:pt x="115" y="660"/>
                </a:lnTo>
                <a:lnTo>
                  <a:pt x="115" y="660"/>
                </a:lnTo>
                <a:lnTo>
                  <a:pt x="102" y="638"/>
                </a:lnTo>
                <a:lnTo>
                  <a:pt x="91" y="616"/>
                </a:lnTo>
                <a:lnTo>
                  <a:pt x="80" y="593"/>
                </a:lnTo>
                <a:lnTo>
                  <a:pt x="72" y="569"/>
                </a:lnTo>
                <a:lnTo>
                  <a:pt x="65" y="543"/>
                </a:lnTo>
                <a:lnTo>
                  <a:pt x="61" y="519"/>
                </a:lnTo>
                <a:lnTo>
                  <a:pt x="57" y="493"/>
                </a:lnTo>
                <a:lnTo>
                  <a:pt x="54" y="467"/>
                </a:lnTo>
                <a:lnTo>
                  <a:pt x="0" y="469"/>
                </a:lnTo>
                <a:lnTo>
                  <a:pt x="0" y="469"/>
                </a:lnTo>
                <a:close/>
                <a:moveTo>
                  <a:pt x="102" y="738"/>
                </a:moveTo>
                <a:lnTo>
                  <a:pt x="102" y="738"/>
                </a:lnTo>
                <a:lnTo>
                  <a:pt x="121" y="759"/>
                </a:lnTo>
                <a:lnTo>
                  <a:pt x="143" y="779"/>
                </a:lnTo>
                <a:lnTo>
                  <a:pt x="165" y="798"/>
                </a:lnTo>
                <a:lnTo>
                  <a:pt x="189" y="815"/>
                </a:lnTo>
                <a:lnTo>
                  <a:pt x="212" y="833"/>
                </a:lnTo>
                <a:lnTo>
                  <a:pt x="236" y="846"/>
                </a:lnTo>
                <a:lnTo>
                  <a:pt x="262" y="861"/>
                </a:lnTo>
                <a:lnTo>
                  <a:pt x="290" y="872"/>
                </a:lnTo>
                <a:lnTo>
                  <a:pt x="310" y="820"/>
                </a:lnTo>
                <a:lnTo>
                  <a:pt x="310" y="820"/>
                </a:lnTo>
                <a:lnTo>
                  <a:pt x="286" y="811"/>
                </a:lnTo>
                <a:lnTo>
                  <a:pt x="262" y="798"/>
                </a:lnTo>
                <a:lnTo>
                  <a:pt x="240" y="785"/>
                </a:lnTo>
                <a:lnTo>
                  <a:pt x="219" y="772"/>
                </a:lnTo>
                <a:lnTo>
                  <a:pt x="199" y="757"/>
                </a:lnTo>
                <a:lnTo>
                  <a:pt x="180" y="740"/>
                </a:lnTo>
                <a:lnTo>
                  <a:pt x="163" y="720"/>
                </a:lnTo>
                <a:lnTo>
                  <a:pt x="145" y="701"/>
                </a:lnTo>
                <a:lnTo>
                  <a:pt x="102" y="738"/>
                </a:lnTo>
                <a:lnTo>
                  <a:pt x="102" y="738"/>
                </a:lnTo>
                <a:close/>
                <a:moveTo>
                  <a:pt x="344" y="889"/>
                </a:moveTo>
                <a:lnTo>
                  <a:pt x="346" y="889"/>
                </a:lnTo>
                <a:lnTo>
                  <a:pt x="349" y="889"/>
                </a:lnTo>
                <a:lnTo>
                  <a:pt x="351" y="889"/>
                </a:lnTo>
                <a:lnTo>
                  <a:pt x="355" y="891"/>
                </a:lnTo>
                <a:lnTo>
                  <a:pt x="357" y="891"/>
                </a:lnTo>
                <a:lnTo>
                  <a:pt x="359" y="891"/>
                </a:lnTo>
                <a:lnTo>
                  <a:pt x="362" y="891"/>
                </a:lnTo>
                <a:lnTo>
                  <a:pt x="366" y="893"/>
                </a:lnTo>
                <a:lnTo>
                  <a:pt x="368" y="893"/>
                </a:lnTo>
                <a:lnTo>
                  <a:pt x="370" y="893"/>
                </a:lnTo>
                <a:lnTo>
                  <a:pt x="375" y="893"/>
                </a:lnTo>
                <a:lnTo>
                  <a:pt x="377" y="895"/>
                </a:lnTo>
                <a:lnTo>
                  <a:pt x="379" y="895"/>
                </a:lnTo>
                <a:lnTo>
                  <a:pt x="381" y="895"/>
                </a:lnTo>
                <a:lnTo>
                  <a:pt x="385" y="895"/>
                </a:lnTo>
                <a:lnTo>
                  <a:pt x="388" y="895"/>
                </a:lnTo>
                <a:lnTo>
                  <a:pt x="390" y="898"/>
                </a:lnTo>
                <a:lnTo>
                  <a:pt x="394" y="898"/>
                </a:lnTo>
                <a:lnTo>
                  <a:pt x="396" y="898"/>
                </a:lnTo>
                <a:lnTo>
                  <a:pt x="398" y="898"/>
                </a:lnTo>
                <a:lnTo>
                  <a:pt x="403" y="898"/>
                </a:lnTo>
                <a:lnTo>
                  <a:pt x="405" y="898"/>
                </a:lnTo>
                <a:lnTo>
                  <a:pt x="407" y="900"/>
                </a:lnTo>
                <a:lnTo>
                  <a:pt x="411" y="900"/>
                </a:lnTo>
                <a:lnTo>
                  <a:pt x="414" y="900"/>
                </a:lnTo>
                <a:lnTo>
                  <a:pt x="416" y="900"/>
                </a:lnTo>
                <a:lnTo>
                  <a:pt x="418" y="900"/>
                </a:lnTo>
                <a:lnTo>
                  <a:pt x="422" y="900"/>
                </a:lnTo>
                <a:lnTo>
                  <a:pt x="424" y="900"/>
                </a:lnTo>
                <a:lnTo>
                  <a:pt x="426" y="900"/>
                </a:lnTo>
                <a:lnTo>
                  <a:pt x="431" y="900"/>
                </a:lnTo>
                <a:lnTo>
                  <a:pt x="433" y="900"/>
                </a:lnTo>
                <a:lnTo>
                  <a:pt x="435" y="900"/>
                </a:lnTo>
                <a:lnTo>
                  <a:pt x="439" y="900"/>
                </a:lnTo>
                <a:lnTo>
                  <a:pt x="442" y="900"/>
                </a:lnTo>
                <a:lnTo>
                  <a:pt x="444" y="900"/>
                </a:lnTo>
                <a:lnTo>
                  <a:pt x="448" y="900"/>
                </a:lnTo>
                <a:lnTo>
                  <a:pt x="450" y="900"/>
                </a:lnTo>
                <a:lnTo>
                  <a:pt x="452" y="900"/>
                </a:lnTo>
                <a:lnTo>
                  <a:pt x="457" y="900"/>
                </a:lnTo>
                <a:lnTo>
                  <a:pt x="459" y="900"/>
                </a:lnTo>
                <a:lnTo>
                  <a:pt x="463" y="900"/>
                </a:lnTo>
                <a:lnTo>
                  <a:pt x="465" y="900"/>
                </a:lnTo>
                <a:lnTo>
                  <a:pt x="468" y="900"/>
                </a:lnTo>
                <a:lnTo>
                  <a:pt x="472" y="900"/>
                </a:lnTo>
                <a:lnTo>
                  <a:pt x="474" y="900"/>
                </a:lnTo>
                <a:lnTo>
                  <a:pt x="476" y="900"/>
                </a:lnTo>
                <a:lnTo>
                  <a:pt x="481" y="900"/>
                </a:lnTo>
                <a:lnTo>
                  <a:pt x="483" y="900"/>
                </a:lnTo>
                <a:lnTo>
                  <a:pt x="485" y="900"/>
                </a:lnTo>
                <a:lnTo>
                  <a:pt x="487" y="900"/>
                </a:lnTo>
                <a:lnTo>
                  <a:pt x="491" y="900"/>
                </a:lnTo>
                <a:lnTo>
                  <a:pt x="494" y="900"/>
                </a:lnTo>
                <a:lnTo>
                  <a:pt x="496" y="898"/>
                </a:lnTo>
                <a:lnTo>
                  <a:pt x="500" y="898"/>
                </a:lnTo>
                <a:lnTo>
                  <a:pt x="502" y="898"/>
                </a:lnTo>
                <a:lnTo>
                  <a:pt x="504" y="898"/>
                </a:lnTo>
                <a:lnTo>
                  <a:pt x="509" y="898"/>
                </a:lnTo>
                <a:lnTo>
                  <a:pt x="511" y="898"/>
                </a:lnTo>
                <a:lnTo>
                  <a:pt x="513" y="895"/>
                </a:lnTo>
                <a:lnTo>
                  <a:pt x="517" y="895"/>
                </a:lnTo>
                <a:lnTo>
                  <a:pt x="520" y="895"/>
                </a:lnTo>
                <a:lnTo>
                  <a:pt x="522" y="895"/>
                </a:lnTo>
                <a:lnTo>
                  <a:pt x="524" y="895"/>
                </a:lnTo>
                <a:lnTo>
                  <a:pt x="528" y="893"/>
                </a:lnTo>
                <a:lnTo>
                  <a:pt x="530" y="893"/>
                </a:lnTo>
                <a:lnTo>
                  <a:pt x="533" y="893"/>
                </a:lnTo>
                <a:lnTo>
                  <a:pt x="537" y="893"/>
                </a:lnTo>
                <a:lnTo>
                  <a:pt x="539" y="891"/>
                </a:lnTo>
                <a:lnTo>
                  <a:pt x="541" y="891"/>
                </a:lnTo>
                <a:lnTo>
                  <a:pt x="543" y="891"/>
                </a:lnTo>
                <a:lnTo>
                  <a:pt x="548" y="891"/>
                </a:lnTo>
                <a:lnTo>
                  <a:pt x="550" y="889"/>
                </a:lnTo>
                <a:lnTo>
                  <a:pt x="552" y="889"/>
                </a:lnTo>
                <a:lnTo>
                  <a:pt x="554" y="889"/>
                </a:lnTo>
                <a:lnTo>
                  <a:pt x="558" y="889"/>
                </a:lnTo>
                <a:lnTo>
                  <a:pt x="561" y="887"/>
                </a:lnTo>
                <a:lnTo>
                  <a:pt x="563" y="887"/>
                </a:lnTo>
                <a:lnTo>
                  <a:pt x="565" y="887"/>
                </a:lnTo>
                <a:lnTo>
                  <a:pt x="569" y="885"/>
                </a:lnTo>
                <a:lnTo>
                  <a:pt x="571" y="885"/>
                </a:lnTo>
                <a:lnTo>
                  <a:pt x="574" y="885"/>
                </a:lnTo>
                <a:lnTo>
                  <a:pt x="576" y="882"/>
                </a:lnTo>
                <a:lnTo>
                  <a:pt x="561" y="831"/>
                </a:lnTo>
                <a:lnTo>
                  <a:pt x="558" y="831"/>
                </a:lnTo>
                <a:lnTo>
                  <a:pt x="556" y="833"/>
                </a:lnTo>
                <a:lnTo>
                  <a:pt x="554" y="833"/>
                </a:lnTo>
                <a:lnTo>
                  <a:pt x="552" y="833"/>
                </a:lnTo>
                <a:lnTo>
                  <a:pt x="550" y="833"/>
                </a:lnTo>
                <a:lnTo>
                  <a:pt x="548" y="835"/>
                </a:lnTo>
                <a:lnTo>
                  <a:pt x="545" y="835"/>
                </a:lnTo>
                <a:lnTo>
                  <a:pt x="543" y="835"/>
                </a:lnTo>
                <a:lnTo>
                  <a:pt x="539" y="837"/>
                </a:lnTo>
                <a:lnTo>
                  <a:pt x="537" y="837"/>
                </a:lnTo>
                <a:lnTo>
                  <a:pt x="535" y="837"/>
                </a:lnTo>
                <a:lnTo>
                  <a:pt x="533" y="837"/>
                </a:lnTo>
                <a:lnTo>
                  <a:pt x="530" y="839"/>
                </a:lnTo>
                <a:lnTo>
                  <a:pt x="528" y="839"/>
                </a:lnTo>
                <a:lnTo>
                  <a:pt x="526" y="839"/>
                </a:lnTo>
                <a:lnTo>
                  <a:pt x="524" y="839"/>
                </a:lnTo>
                <a:lnTo>
                  <a:pt x="522" y="839"/>
                </a:lnTo>
                <a:lnTo>
                  <a:pt x="517" y="841"/>
                </a:lnTo>
                <a:lnTo>
                  <a:pt x="515" y="841"/>
                </a:lnTo>
                <a:lnTo>
                  <a:pt x="513" y="841"/>
                </a:lnTo>
                <a:lnTo>
                  <a:pt x="511" y="841"/>
                </a:lnTo>
                <a:lnTo>
                  <a:pt x="509" y="841"/>
                </a:lnTo>
                <a:lnTo>
                  <a:pt x="507" y="841"/>
                </a:lnTo>
                <a:lnTo>
                  <a:pt x="504" y="844"/>
                </a:lnTo>
                <a:lnTo>
                  <a:pt x="500" y="844"/>
                </a:lnTo>
                <a:lnTo>
                  <a:pt x="498" y="844"/>
                </a:lnTo>
                <a:lnTo>
                  <a:pt x="496" y="844"/>
                </a:lnTo>
                <a:lnTo>
                  <a:pt x="494" y="844"/>
                </a:lnTo>
                <a:lnTo>
                  <a:pt x="491" y="844"/>
                </a:lnTo>
                <a:lnTo>
                  <a:pt x="489" y="844"/>
                </a:lnTo>
                <a:lnTo>
                  <a:pt x="487" y="844"/>
                </a:lnTo>
                <a:lnTo>
                  <a:pt x="483" y="846"/>
                </a:lnTo>
                <a:lnTo>
                  <a:pt x="481" y="846"/>
                </a:lnTo>
                <a:lnTo>
                  <a:pt x="478" y="846"/>
                </a:lnTo>
                <a:lnTo>
                  <a:pt x="476" y="846"/>
                </a:lnTo>
                <a:lnTo>
                  <a:pt x="474" y="846"/>
                </a:lnTo>
                <a:lnTo>
                  <a:pt x="472" y="846"/>
                </a:lnTo>
                <a:lnTo>
                  <a:pt x="468" y="846"/>
                </a:lnTo>
                <a:lnTo>
                  <a:pt x="465" y="846"/>
                </a:lnTo>
                <a:lnTo>
                  <a:pt x="463" y="846"/>
                </a:lnTo>
                <a:lnTo>
                  <a:pt x="461" y="846"/>
                </a:lnTo>
                <a:lnTo>
                  <a:pt x="459" y="846"/>
                </a:lnTo>
                <a:lnTo>
                  <a:pt x="457" y="846"/>
                </a:lnTo>
                <a:lnTo>
                  <a:pt x="452" y="846"/>
                </a:lnTo>
                <a:lnTo>
                  <a:pt x="450" y="846"/>
                </a:lnTo>
                <a:lnTo>
                  <a:pt x="448" y="846"/>
                </a:lnTo>
                <a:lnTo>
                  <a:pt x="446" y="846"/>
                </a:lnTo>
                <a:lnTo>
                  <a:pt x="444" y="846"/>
                </a:lnTo>
                <a:lnTo>
                  <a:pt x="439" y="846"/>
                </a:lnTo>
                <a:lnTo>
                  <a:pt x="437" y="846"/>
                </a:lnTo>
                <a:lnTo>
                  <a:pt x="435" y="846"/>
                </a:lnTo>
                <a:lnTo>
                  <a:pt x="433" y="846"/>
                </a:lnTo>
                <a:lnTo>
                  <a:pt x="431" y="846"/>
                </a:lnTo>
                <a:lnTo>
                  <a:pt x="429" y="846"/>
                </a:lnTo>
                <a:lnTo>
                  <a:pt x="424" y="846"/>
                </a:lnTo>
                <a:lnTo>
                  <a:pt x="422" y="846"/>
                </a:lnTo>
                <a:lnTo>
                  <a:pt x="420" y="846"/>
                </a:lnTo>
                <a:lnTo>
                  <a:pt x="418" y="846"/>
                </a:lnTo>
                <a:lnTo>
                  <a:pt x="416" y="844"/>
                </a:lnTo>
                <a:lnTo>
                  <a:pt x="414" y="844"/>
                </a:lnTo>
                <a:lnTo>
                  <a:pt x="409" y="844"/>
                </a:lnTo>
                <a:lnTo>
                  <a:pt x="407" y="844"/>
                </a:lnTo>
                <a:lnTo>
                  <a:pt x="405" y="844"/>
                </a:lnTo>
                <a:lnTo>
                  <a:pt x="403" y="844"/>
                </a:lnTo>
                <a:lnTo>
                  <a:pt x="401" y="844"/>
                </a:lnTo>
                <a:lnTo>
                  <a:pt x="398" y="844"/>
                </a:lnTo>
                <a:lnTo>
                  <a:pt x="396" y="841"/>
                </a:lnTo>
                <a:lnTo>
                  <a:pt x="392" y="841"/>
                </a:lnTo>
                <a:lnTo>
                  <a:pt x="390" y="841"/>
                </a:lnTo>
                <a:lnTo>
                  <a:pt x="388" y="841"/>
                </a:lnTo>
                <a:lnTo>
                  <a:pt x="385" y="841"/>
                </a:lnTo>
                <a:lnTo>
                  <a:pt x="383" y="841"/>
                </a:lnTo>
                <a:lnTo>
                  <a:pt x="381" y="839"/>
                </a:lnTo>
                <a:lnTo>
                  <a:pt x="379" y="839"/>
                </a:lnTo>
                <a:lnTo>
                  <a:pt x="377" y="839"/>
                </a:lnTo>
                <a:lnTo>
                  <a:pt x="372" y="839"/>
                </a:lnTo>
                <a:lnTo>
                  <a:pt x="370" y="839"/>
                </a:lnTo>
                <a:lnTo>
                  <a:pt x="368" y="837"/>
                </a:lnTo>
                <a:lnTo>
                  <a:pt x="366" y="837"/>
                </a:lnTo>
                <a:lnTo>
                  <a:pt x="364" y="837"/>
                </a:lnTo>
                <a:lnTo>
                  <a:pt x="362" y="837"/>
                </a:lnTo>
                <a:lnTo>
                  <a:pt x="359" y="835"/>
                </a:lnTo>
                <a:lnTo>
                  <a:pt x="357" y="835"/>
                </a:lnTo>
                <a:lnTo>
                  <a:pt x="344" y="889"/>
                </a:lnTo>
                <a:lnTo>
                  <a:pt x="344" y="889"/>
                </a:lnTo>
                <a:close/>
                <a:moveTo>
                  <a:pt x="630" y="863"/>
                </a:moveTo>
                <a:lnTo>
                  <a:pt x="630" y="863"/>
                </a:lnTo>
                <a:lnTo>
                  <a:pt x="656" y="852"/>
                </a:lnTo>
                <a:lnTo>
                  <a:pt x="682" y="837"/>
                </a:lnTo>
                <a:lnTo>
                  <a:pt x="706" y="822"/>
                </a:lnTo>
                <a:lnTo>
                  <a:pt x="729" y="805"/>
                </a:lnTo>
                <a:lnTo>
                  <a:pt x="751" y="785"/>
                </a:lnTo>
                <a:lnTo>
                  <a:pt x="773" y="766"/>
                </a:lnTo>
                <a:lnTo>
                  <a:pt x="792" y="744"/>
                </a:lnTo>
                <a:lnTo>
                  <a:pt x="809" y="722"/>
                </a:lnTo>
                <a:lnTo>
                  <a:pt x="766" y="688"/>
                </a:lnTo>
                <a:lnTo>
                  <a:pt x="766" y="688"/>
                </a:lnTo>
                <a:lnTo>
                  <a:pt x="751" y="709"/>
                </a:lnTo>
                <a:lnTo>
                  <a:pt x="734" y="727"/>
                </a:lnTo>
                <a:lnTo>
                  <a:pt x="714" y="744"/>
                </a:lnTo>
                <a:lnTo>
                  <a:pt x="695" y="761"/>
                </a:lnTo>
                <a:lnTo>
                  <a:pt x="675" y="776"/>
                </a:lnTo>
                <a:lnTo>
                  <a:pt x="654" y="789"/>
                </a:lnTo>
                <a:lnTo>
                  <a:pt x="630" y="802"/>
                </a:lnTo>
                <a:lnTo>
                  <a:pt x="608" y="813"/>
                </a:lnTo>
                <a:lnTo>
                  <a:pt x="630" y="863"/>
                </a:lnTo>
                <a:lnTo>
                  <a:pt x="630" y="863"/>
                </a:lnTo>
                <a:close/>
                <a:moveTo>
                  <a:pt x="597" y="342"/>
                </a:moveTo>
                <a:lnTo>
                  <a:pt x="597" y="342"/>
                </a:lnTo>
                <a:lnTo>
                  <a:pt x="600" y="318"/>
                </a:lnTo>
                <a:lnTo>
                  <a:pt x="600" y="318"/>
                </a:lnTo>
                <a:lnTo>
                  <a:pt x="597" y="292"/>
                </a:lnTo>
                <a:lnTo>
                  <a:pt x="593" y="270"/>
                </a:lnTo>
                <a:lnTo>
                  <a:pt x="584" y="251"/>
                </a:lnTo>
                <a:lnTo>
                  <a:pt x="571" y="233"/>
                </a:lnTo>
                <a:lnTo>
                  <a:pt x="571" y="233"/>
                </a:lnTo>
                <a:lnTo>
                  <a:pt x="556" y="220"/>
                </a:lnTo>
                <a:lnTo>
                  <a:pt x="537" y="207"/>
                </a:lnTo>
                <a:lnTo>
                  <a:pt x="513" y="201"/>
                </a:lnTo>
                <a:lnTo>
                  <a:pt x="487" y="195"/>
                </a:lnTo>
                <a:lnTo>
                  <a:pt x="487" y="156"/>
                </a:lnTo>
                <a:lnTo>
                  <a:pt x="429" y="156"/>
                </a:lnTo>
                <a:lnTo>
                  <a:pt x="429" y="195"/>
                </a:lnTo>
                <a:lnTo>
                  <a:pt x="429" y="195"/>
                </a:lnTo>
                <a:lnTo>
                  <a:pt x="401" y="201"/>
                </a:lnTo>
                <a:lnTo>
                  <a:pt x="375" y="210"/>
                </a:lnTo>
                <a:lnTo>
                  <a:pt x="353" y="220"/>
                </a:lnTo>
                <a:lnTo>
                  <a:pt x="336" y="233"/>
                </a:lnTo>
                <a:lnTo>
                  <a:pt x="336" y="233"/>
                </a:lnTo>
                <a:lnTo>
                  <a:pt x="323" y="251"/>
                </a:lnTo>
                <a:lnTo>
                  <a:pt x="312" y="270"/>
                </a:lnTo>
                <a:lnTo>
                  <a:pt x="308" y="294"/>
                </a:lnTo>
                <a:lnTo>
                  <a:pt x="305" y="320"/>
                </a:lnTo>
                <a:lnTo>
                  <a:pt x="305" y="320"/>
                </a:lnTo>
                <a:lnTo>
                  <a:pt x="305" y="339"/>
                </a:lnTo>
                <a:lnTo>
                  <a:pt x="310" y="357"/>
                </a:lnTo>
                <a:lnTo>
                  <a:pt x="314" y="372"/>
                </a:lnTo>
                <a:lnTo>
                  <a:pt x="320" y="387"/>
                </a:lnTo>
                <a:lnTo>
                  <a:pt x="320" y="387"/>
                </a:lnTo>
                <a:lnTo>
                  <a:pt x="327" y="402"/>
                </a:lnTo>
                <a:lnTo>
                  <a:pt x="336" y="415"/>
                </a:lnTo>
                <a:lnTo>
                  <a:pt x="344" y="426"/>
                </a:lnTo>
                <a:lnTo>
                  <a:pt x="355" y="435"/>
                </a:lnTo>
                <a:lnTo>
                  <a:pt x="355" y="435"/>
                </a:lnTo>
                <a:lnTo>
                  <a:pt x="383" y="456"/>
                </a:lnTo>
                <a:lnTo>
                  <a:pt x="431" y="487"/>
                </a:lnTo>
                <a:lnTo>
                  <a:pt x="431" y="487"/>
                </a:lnTo>
                <a:lnTo>
                  <a:pt x="446" y="497"/>
                </a:lnTo>
                <a:lnTo>
                  <a:pt x="457" y="506"/>
                </a:lnTo>
                <a:lnTo>
                  <a:pt x="465" y="517"/>
                </a:lnTo>
                <a:lnTo>
                  <a:pt x="470" y="526"/>
                </a:lnTo>
                <a:lnTo>
                  <a:pt x="470" y="526"/>
                </a:lnTo>
                <a:lnTo>
                  <a:pt x="474" y="549"/>
                </a:lnTo>
                <a:lnTo>
                  <a:pt x="476" y="584"/>
                </a:lnTo>
                <a:lnTo>
                  <a:pt x="476" y="584"/>
                </a:lnTo>
                <a:lnTo>
                  <a:pt x="474" y="599"/>
                </a:lnTo>
                <a:lnTo>
                  <a:pt x="470" y="610"/>
                </a:lnTo>
                <a:lnTo>
                  <a:pt x="470" y="610"/>
                </a:lnTo>
                <a:lnTo>
                  <a:pt x="468" y="612"/>
                </a:lnTo>
                <a:lnTo>
                  <a:pt x="463" y="616"/>
                </a:lnTo>
                <a:lnTo>
                  <a:pt x="452" y="619"/>
                </a:lnTo>
                <a:lnTo>
                  <a:pt x="452" y="619"/>
                </a:lnTo>
                <a:lnTo>
                  <a:pt x="446" y="616"/>
                </a:lnTo>
                <a:lnTo>
                  <a:pt x="439" y="614"/>
                </a:lnTo>
                <a:lnTo>
                  <a:pt x="435" y="610"/>
                </a:lnTo>
                <a:lnTo>
                  <a:pt x="433" y="606"/>
                </a:lnTo>
                <a:lnTo>
                  <a:pt x="433" y="606"/>
                </a:lnTo>
                <a:lnTo>
                  <a:pt x="431" y="584"/>
                </a:lnTo>
                <a:lnTo>
                  <a:pt x="429" y="545"/>
                </a:lnTo>
                <a:lnTo>
                  <a:pt x="429" y="515"/>
                </a:lnTo>
                <a:lnTo>
                  <a:pt x="308" y="515"/>
                </a:lnTo>
                <a:lnTo>
                  <a:pt x="308" y="538"/>
                </a:lnTo>
                <a:lnTo>
                  <a:pt x="308" y="538"/>
                </a:lnTo>
                <a:lnTo>
                  <a:pt x="310" y="575"/>
                </a:lnTo>
                <a:lnTo>
                  <a:pt x="312" y="593"/>
                </a:lnTo>
                <a:lnTo>
                  <a:pt x="316" y="608"/>
                </a:lnTo>
                <a:lnTo>
                  <a:pt x="320" y="621"/>
                </a:lnTo>
                <a:lnTo>
                  <a:pt x="327" y="634"/>
                </a:lnTo>
                <a:lnTo>
                  <a:pt x="336" y="644"/>
                </a:lnTo>
                <a:lnTo>
                  <a:pt x="344" y="653"/>
                </a:lnTo>
                <a:lnTo>
                  <a:pt x="344" y="653"/>
                </a:lnTo>
                <a:lnTo>
                  <a:pt x="364" y="668"/>
                </a:lnTo>
                <a:lnTo>
                  <a:pt x="383" y="679"/>
                </a:lnTo>
                <a:lnTo>
                  <a:pt x="405" y="688"/>
                </a:lnTo>
                <a:lnTo>
                  <a:pt x="429" y="690"/>
                </a:lnTo>
                <a:lnTo>
                  <a:pt x="429" y="738"/>
                </a:lnTo>
                <a:lnTo>
                  <a:pt x="487" y="738"/>
                </a:lnTo>
                <a:lnTo>
                  <a:pt x="487" y="692"/>
                </a:lnTo>
                <a:lnTo>
                  <a:pt x="487" y="692"/>
                </a:lnTo>
                <a:lnTo>
                  <a:pt x="515" y="686"/>
                </a:lnTo>
                <a:lnTo>
                  <a:pt x="541" y="677"/>
                </a:lnTo>
                <a:lnTo>
                  <a:pt x="563" y="664"/>
                </a:lnTo>
                <a:lnTo>
                  <a:pt x="574" y="655"/>
                </a:lnTo>
                <a:lnTo>
                  <a:pt x="580" y="647"/>
                </a:lnTo>
                <a:lnTo>
                  <a:pt x="580" y="647"/>
                </a:lnTo>
                <a:lnTo>
                  <a:pt x="589" y="636"/>
                </a:lnTo>
                <a:lnTo>
                  <a:pt x="595" y="625"/>
                </a:lnTo>
                <a:lnTo>
                  <a:pt x="604" y="601"/>
                </a:lnTo>
                <a:lnTo>
                  <a:pt x="610" y="573"/>
                </a:lnTo>
                <a:lnTo>
                  <a:pt x="613" y="543"/>
                </a:lnTo>
                <a:lnTo>
                  <a:pt x="613" y="543"/>
                </a:lnTo>
                <a:lnTo>
                  <a:pt x="613" y="523"/>
                </a:lnTo>
                <a:lnTo>
                  <a:pt x="610" y="506"/>
                </a:lnTo>
                <a:lnTo>
                  <a:pt x="606" y="489"/>
                </a:lnTo>
                <a:lnTo>
                  <a:pt x="602" y="474"/>
                </a:lnTo>
                <a:lnTo>
                  <a:pt x="602" y="474"/>
                </a:lnTo>
                <a:lnTo>
                  <a:pt x="595" y="461"/>
                </a:lnTo>
                <a:lnTo>
                  <a:pt x="589" y="450"/>
                </a:lnTo>
                <a:lnTo>
                  <a:pt x="580" y="441"/>
                </a:lnTo>
                <a:lnTo>
                  <a:pt x="571" y="432"/>
                </a:lnTo>
                <a:lnTo>
                  <a:pt x="571" y="432"/>
                </a:lnTo>
                <a:lnTo>
                  <a:pt x="548" y="413"/>
                </a:lnTo>
                <a:lnTo>
                  <a:pt x="509" y="389"/>
                </a:lnTo>
                <a:lnTo>
                  <a:pt x="509" y="389"/>
                </a:lnTo>
                <a:lnTo>
                  <a:pt x="465" y="361"/>
                </a:lnTo>
                <a:lnTo>
                  <a:pt x="442" y="344"/>
                </a:lnTo>
                <a:lnTo>
                  <a:pt x="442" y="344"/>
                </a:lnTo>
                <a:lnTo>
                  <a:pt x="437" y="337"/>
                </a:lnTo>
                <a:lnTo>
                  <a:pt x="433" y="329"/>
                </a:lnTo>
                <a:lnTo>
                  <a:pt x="431" y="318"/>
                </a:lnTo>
                <a:lnTo>
                  <a:pt x="431" y="303"/>
                </a:lnTo>
                <a:lnTo>
                  <a:pt x="431" y="303"/>
                </a:lnTo>
                <a:lnTo>
                  <a:pt x="433" y="288"/>
                </a:lnTo>
                <a:lnTo>
                  <a:pt x="437" y="277"/>
                </a:lnTo>
                <a:lnTo>
                  <a:pt x="437" y="277"/>
                </a:lnTo>
                <a:lnTo>
                  <a:pt x="444" y="270"/>
                </a:lnTo>
                <a:lnTo>
                  <a:pt x="452" y="268"/>
                </a:lnTo>
                <a:lnTo>
                  <a:pt x="452" y="268"/>
                </a:lnTo>
                <a:lnTo>
                  <a:pt x="459" y="270"/>
                </a:lnTo>
                <a:lnTo>
                  <a:pt x="465" y="270"/>
                </a:lnTo>
                <a:lnTo>
                  <a:pt x="470" y="275"/>
                </a:lnTo>
                <a:lnTo>
                  <a:pt x="472" y="279"/>
                </a:lnTo>
                <a:lnTo>
                  <a:pt x="472" y="279"/>
                </a:lnTo>
                <a:lnTo>
                  <a:pt x="474" y="294"/>
                </a:lnTo>
                <a:lnTo>
                  <a:pt x="476" y="322"/>
                </a:lnTo>
                <a:lnTo>
                  <a:pt x="476" y="342"/>
                </a:lnTo>
                <a:lnTo>
                  <a:pt x="597" y="342"/>
                </a:lnTo>
                <a:close/>
              </a:path>
            </a:pathLst>
          </a:custGeom>
          <a:solidFill>
            <a:srgbClr val="0070C0"/>
          </a:solidFill>
          <a:ln>
            <a:noFill/>
          </a:ln>
        </p:spPr>
        <p:txBody>
          <a:bodyPr vert="horz" wrap="square" lIns="121917" tIns="60958" rIns="121917" bIns="60958" numCol="1" anchor="t" anchorCtr="0" compatLnSpc="1"/>
          <a:lstStyle/>
          <a:p>
            <a:endParaRPr lang="zh-CN" altLang="en-US"/>
          </a:p>
        </p:txBody>
      </p:sp>
      <p:sp>
        <p:nvSpPr>
          <p:cNvPr id="21" name="TextBox 20"/>
          <p:cNvSpPr txBox="1"/>
          <p:nvPr/>
        </p:nvSpPr>
        <p:spPr>
          <a:xfrm>
            <a:off x="1097763" y="260648"/>
            <a:ext cx="1631210" cy="538605"/>
          </a:xfrm>
          <a:prstGeom prst="rect">
            <a:avLst/>
          </a:prstGeom>
          <a:noFill/>
        </p:spPr>
        <p:txBody>
          <a:bodyPr wrap="none" lIns="121917" tIns="60958" rIns="121917" bIns="60958" rtlCol="0">
            <a:spAutoFit/>
          </a:bodyPr>
          <a:lstStyle/>
          <a:p>
            <a:r>
              <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rPr>
              <a:t>产品要素</a:t>
            </a:r>
            <a:endPar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2" name="PA_TextPlaceholder 32"/>
          <p:cNvSpPr txBox="1"/>
          <p:nvPr>
            <p:custDataLst>
              <p:tags r:id="rId17"/>
            </p:custDataLst>
          </p:nvPr>
        </p:nvSpPr>
        <p:spPr>
          <a:xfrm>
            <a:off x="3778143" y="5340312"/>
            <a:ext cx="2060659" cy="116102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600" dirty="0">
                <a:solidFill>
                  <a:srgbClr val="262626"/>
                </a:solidFill>
                <a:latin typeface="微软雅黑" panose="020B0503020204020204" pitchFamily="34" charset="-122"/>
                <a:ea typeface="微软雅黑" panose="020B0503020204020204" pitchFamily="34" charset="-122"/>
                <a:cs typeface="Roboto light"/>
              </a:rPr>
              <a:t>最高不超过</a:t>
            </a:r>
            <a:r>
              <a:rPr lang="en-US" altLang="zh-CN" sz="1600" dirty="0">
                <a:solidFill>
                  <a:srgbClr val="262626"/>
                </a:solidFill>
                <a:latin typeface="微软雅黑" panose="020B0503020204020204" pitchFamily="34" charset="-122"/>
                <a:ea typeface="微软雅黑" panose="020B0503020204020204" pitchFamily="34" charset="-122"/>
                <a:cs typeface="Roboto light"/>
              </a:rPr>
              <a:t>LPR</a:t>
            </a:r>
            <a:r>
              <a:rPr lang="zh-CN" altLang="en-US" sz="1600" dirty="0">
                <a:solidFill>
                  <a:srgbClr val="262626"/>
                </a:solidFill>
                <a:latin typeface="微软雅黑" panose="020B0503020204020204" pitchFamily="34" charset="-122"/>
                <a:ea typeface="微软雅黑" panose="020B0503020204020204" pitchFamily="34" charset="-122"/>
                <a:cs typeface="Roboto light"/>
              </a:rPr>
              <a:t>加点</a:t>
            </a:r>
            <a:r>
              <a:rPr lang="en-US" altLang="zh-CN" sz="1600" dirty="0">
                <a:solidFill>
                  <a:srgbClr val="262626"/>
                </a:solidFill>
                <a:latin typeface="微软雅黑" panose="020B0503020204020204" pitchFamily="34" charset="-122"/>
                <a:ea typeface="微软雅黑" panose="020B0503020204020204" pitchFamily="34" charset="-122"/>
                <a:cs typeface="Roboto light"/>
              </a:rPr>
              <a:t>150</a:t>
            </a:r>
            <a:r>
              <a:rPr lang="zh-CN" altLang="en-US" sz="1600" dirty="0">
                <a:solidFill>
                  <a:srgbClr val="262626"/>
                </a:solidFill>
                <a:latin typeface="微软雅黑" panose="020B0503020204020204" pitchFamily="34" charset="-122"/>
                <a:ea typeface="微软雅黑" panose="020B0503020204020204" pitchFamily="34" charset="-122"/>
                <a:cs typeface="Roboto light"/>
              </a:rPr>
              <a:t>个基点执行</a:t>
            </a:r>
            <a:endParaRPr lang="zh-CN" altLang="en-US" sz="1600" dirty="0">
              <a:solidFill>
                <a:srgbClr val="262626"/>
              </a:solidFill>
              <a:latin typeface="微软雅黑" panose="020B0503020204020204" pitchFamily="34" charset="-122"/>
              <a:ea typeface="微软雅黑" panose="020B0503020204020204" pitchFamily="34" charset="-122"/>
              <a:cs typeface="Roboto light"/>
            </a:endParaRPr>
          </a:p>
        </p:txBody>
      </p:sp>
      <p:sp>
        <p:nvSpPr>
          <p:cNvPr id="23" name="PA_TextPlaceholder 33"/>
          <p:cNvSpPr txBox="1"/>
          <p:nvPr>
            <p:custDataLst>
              <p:tags r:id="rId18"/>
            </p:custDataLst>
          </p:nvPr>
        </p:nvSpPr>
        <p:spPr>
          <a:xfrm>
            <a:off x="3778143" y="4877425"/>
            <a:ext cx="2060659" cy="37152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zh-CN" altLang="en-US" sz="1900" b="1" dirty="0">
                <a:solidFill>
                  <a:srgbClr val="C00000"/>
                </a:solidFill>
                <a:latin typeface="微软雅黑" panose="020B0503020204020204" pitchFamily="34" charset="-122"/>
                <a:ea typeface="微软雅黑" panose="020B0503020204020204" pitchFamily="34" charset="-122"/>
                <a:cs typeface="Roboto medium"/>
              </a:rPr>
              <a:t>利率</a:t>
            </a:r>
            <a:endParaRPr lang="en-AU" sz="1900" b="1" dirty="0">
              <a:solidFill>
                <a:srgbClr val="C00000"/>
              </a:solidFill>
              <a:latin typeface="微软雅黑" panose="020B0503020204020204" pitchFamily="34" charset="-122"/>
              <a:ea typeface="微软雅黑" panose="020B0503020204020204" pitchFamily="34" charset="-122"/>
              <a:cs typeface="Roboto medium"/>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8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11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12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13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grpId="0" nodeType="withEffect">
                                  <p:stCondLst>
                                    <p:cond delay="140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grpId="0" nodeType="withEffect">
                                  <p:stCondLst>
                                    <p:cond delay="160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17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grpId="0" nodeType="withEffect">
                                  <p:stCondLst>
                                    <p:cond delay="180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grpId="0" nodeType="withEffect">
                                  <p:stCondLst>
                                    <p:cond delay="19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10" presetClass="entr" presetSubtype="0" fill="hold" grpId="0" nodeType="withEffect">
                                  <p:stCondLst>
                                    <p:cond delay="200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par>
                                <p:cTn id="47" presetID="10" presetClass="entr" presetSubtype="0" fill="hold" grpId="0" nodeType="withEffect">
                                  <p:stCondLst>
                                    <p:cond delay="210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childTnLst>
                                </p:cTn>
                              </p:par>
                              <p:par>
                                <p:cTn id="50" presetID="10" presetClass="entr" presetSubtype="0" fill="hold" grpId="0" nodeType="withEffect">
                                  <p:stCondLst>
                                    <p:cond delay="220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grpId="0" nodeType="withEffect">
                                  <p:stCondLst>
                                    <p:cond delay="150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10" presetClass="entr" presetSubtype="0" fill="hold" grpId="0" nodeType="withEffect">
                                  <p:stCondLst>
                                    <p:cond delay="160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6" grpId="0" animBg="1" autoUpdateAnimBg="0"/>
      <p:bldP spid="7" grpId="0" animBg="1" autoUpdateAnimBg="0"/>
      <p:bldP spid="8" grpId="0" animBg="1" autoUpdateAnimBg="0"/>
      <p:bldP spid="9" grpId="0" animBg="1" autoUpdateAnimBg="0"/>
      <p:bldP spid="10" grpId="0"/>
      <p:bldP spid="11" grpId="0"/>
      <p:bldP spid="12" grpId="0"/>
      <p:bldP spid="13" grpId="0"/>
      <p:bldP spid="14" grpId="0"/>
      <p:bldP spid="15" grpId="0"/>
      <p:bldP spid="16" grpId="0"/>
      <p:bldP spid="17" grpId="0" animBg="1"/>
      <p:bldP spid="18" grpId="0" animBg="1"/>
      <p:bldP spid="19" grpId="0" animBg="1"/>
      <p:bldP spid="20" grpId="0" animBg="1"/>
      <p:bldP spid="22" grpId="0"/>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097763" y="260648"/>
            <a:ext cx="1631210" cy="538605"/>
          </a:xfrm>
          <a:prstGeom prst="rect">
            <a:avLst/>
          </a:prstGeom>
          <a:noFill/>
        </p:spPr>
        <p:txBody>
          <a:bodyPr wrap="none" lIns="121917" tIns="60958" rIns="121917" bIns="60958" rtlCol="0">
            <a:spAutoFit/>
          </a:bodyPr>
          <a:lstStyle/>
          <a:p>
            <a:r>
              <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rPr>
              <a:t>产品特色</a:t>
            </a:r>
            <a:endPar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6" name="Group 15"/>
          <p:cNvGrpSpPr/>
          <p:nvPr/>
        </p:nvGrpSpPr>
        <p:grpSpPr>
          <a:xfrm rot="2700000" flipV="1">
            <a:off x="5230269" y="2010443"/>
            <a:ext cx="288000" cy="1440000"/>
            <a:chOff x="2476500" y="2038350"/>
            <a:chExt cx="571500" cy="1828800"/>
          </a:xfrm>
          <a:solidFill>
            <a:schemeClr val="accent1"/>
          </a:solidFill>
        </p:grpSpPr>
        <p:sp>
          <p:nvSpPr>
            <p:cNvPr id="7" name="Bent Arrow 5"/>
            <p:cNvSpPr/>
            <p:nvPr/>
          </p:nvSpPr>
          <p:spPr bwMode="auto">
            <a:xfrm flipV="1">
              <a:off x="2476500" y="2038350"/>
              <a:ext cx="533400" cy="1828800"/>
            </a:xfrm>
            <a:prstGeom prst="bentArrow">
              <a:avLst>
                <a:gd name="adj1" fmla="val 13663"/>
                <a:gd name="adj2" fmla="val 25006"/>
                <a:gd name="adj3" fmla="val 43568"/>
                <a:gd name="adj4" fmla="val 0"/>
              </a:avLst>
            </a:prstGeom>
            <a:grpFill/>
            <a:ln w="9525">
              <a:noFill/>
              <a:round/>
            </a:ln>
          </p:spPr>
          <p:txBody>
            <a:bodyPr/>
            <a:lstStyle/>
            <a:p>
              <a:pPr algn="ctr" defTabSz="914400">
                <a:defRPr/>
              </a:pPr>
              <a:endParaRPr lang="en-US">
                <a:latin typeface="+mn-lt"/>
              </a:endParaRPr>
            </a:p>
          </p:txBody>
        </p:sp>
        <p:sp>
          <p:nvSpPr>
            <p:cNvPr id="8" name="Rectangle 6"/>
            <p:cNvSpPr/>
            <p:nvPr/>
          </p:nvSpPr>
          <p:spPr bwMode="auto">
            <a:xfrm>
              <a:off x="2514600" y="2038350"/>
              <a:ext cx="533400" cy="45719"/>
            </a:xfrm>
            <a:prstGeom prst="rect">
              <a:avLst/>
            </a:prstGeom>
            <a:grpFill/>
            <a:ln w="9525">
              <a:noFill/>
              <a:round/>
            </a:ln>
          </p:spPr>
          <p:txBody>
            <a:bodyPr/>
            <a:lstStyle/>
            <a:p>
              <a:pPr algn="ctr" defTabSz="914400">
                <a:defRPr/>
              </a:pPr>
              <a:endParaRPr lang="en-US">
                <a:latin typeface="+mn-lt"/>
              </a:endParaRPr>
            </a:p>
          </p:txBody>
        </p:sp>
      </p:grpSp>
      <p:grpSp>
        <p:nvGrpSpPr>
          <p:cNvPr id="9" name="Group 18"/>
          <p:cNvGrpSpPr/>
          <p:nvPr/>
        </p:nvGrpSpPr>
        <p:grpSpPr>
          <a:xfrm rot="18900000" flipV="1">
            <a:off x="5236715" y="3902208"/>
            <a:ext cx="288000" cy="1344000"/>
            <a:chOff x="2476500" y="2038350"/>
            <a:chExt cx="571500" cy="1828800"/>
          </a:xfrm>
          <a:solidFill>
            <a:schemeClr val="accent4"/>
          </a:solidFill>
        </p:grpSpPr>
        <p:sp>
          <p:nvSpPr>
            <p:cNvPr id="10" name="Bent Arrow 8"/>
            <p:cNvSpPr/>
            <p:nvPr/>
          </p:nvSpPr>
          <p:spPr bwMode="auto">
            <a:xfrm flipV="1">
              <a:off x="2476500" y="2038350"/>
              <a:ext cx="533400" cy="1828800"/>
            </a:xfrm>
            <a:prstGeom prst="bentArrow">
              <a:avLst>
                <a:gd name="adj1" fmla="val 13663"/>
                <a:gd name="adj2" fmla="val 25006"/>
                <a:gd name="adj3" fmla="val 43568"/>
                <a:gd name="adj4" fmla="val 0"/>
              </a:avLst>
            </a:prstGeom>
            <a:grpFill/>
            <a:ln w="9525">
              <a:noFill/>
              <a:round/>
            </a:ln>
          </p:spPr>
          <p:txBody>
            <a:bodyPr/>
            <a:lstStyle/>
            <a:p>
              <a:pPr algn="ctr" defTabSz="914400">
                <a:defRPr/>
              </a:pPr>
              <a:endParaRPr lang="en-US">
                <a:latin typeface="+mn-lt"/>
              </a:endParaRPr>
            </a:p>
          </p:txBody>
        </p:sp>
        <p:sp>
          <p:nvSpPr>
            <p:cNvPr id="11" name="Rectangle 9"/>
            <p:cNvSpPr/>
            <p:nvPr/>
          </p:nvSpPr>
          <p:spPr bwMode="auto">
            <a:xfrm>
              <a:off x="2514600" y="2038350"/>
              <a:ext cx="533400" cy="45719"/>
            </a:xfrm>
            <a:prstGeom prst="rect">
              <a:avLst/>
            </a:prstGeom>
            <a:grpFill/>
            <a:ln w="9525">
              <a:noFill/>
              <a:round/>
            </a:ln>
          </p:spPr>
          <p:txBody>
            <a:bodyPr/>
            <a:lstStyle/>
            <a:p>
              <a:pPr algn="ctr" defTabSz="914400">
                <a:defRPr/>
              </a:pPr>
              <a:endParaRPr lang="en-US">
                <a:latin typeface="+mn-lt"/>
              </a:endParaRPr>
            </a:p>
          </p:txBody>
        </p:sp>
      </p:grpSp>
      <p:grpSp>
        <p:nvGrpSpPr>
          <p:cNvPr id="12" name="Group 21"/>
          <p:cNvGrpSpPr/>
          <p:nvPr/>
        </p:nvGrpSpPr>
        <p:grpSpPr>
          <a:xfrm rot="18900000" flipH="1">
            <a:off x="6980028" y="2117059"/>
            <a:ext cx="288000" cy="1296000"/>
            <a:chOff x="2476500" y="2038350"/>
            <a:chExt cx="571500" cy="1828800"/>
          </a:xfrm>
          <a:solidFill>
            <a:schemeClr val="accent2"/>
          </a:solidFill>
        </p:grpSpPr>
        <p:sp>
          <p:nvSpPr>
            <p:cNvPr id="13" name="Bent Arrow 11"/>
            <p:cNvSpPr/>
            <p:nvPr/>
          </p:nvSpPr>
          <p:spPr bwMode="auto">
            <a:xfrm flipV="1">
              <a:off x="2476500" y="2038350"/>
              <a:ext cx="533400" cy="1828800"/>
            </a:xfrm>
            <a:prstGeom prst="bentArrow">
              <a:avLst>
                <a:gd name="adj1" fmla="val 13663"/>
                <a:gd name="adj2" fmla="val 25006"/>
                <a:gd name="adj3" fmla="val 43568"/>
                <a:gd name="adj4" fmla="val 0"/>
              </a:avLst>
            </a:prstGeom>
            <a:grpFill/>
            <a:ln w="9525">
              <a:noFill/>
              <a:round/>
            </a:ln>
          </p:spPr>
          <p:txBody>
            <a:bodyPr/>
            <a:lstStyle/>
            <a:p>
              <a:pPr algn="ctr" defTabSz="914400">
                <a:defRPr/>
              </a:pPr>
              <a:endParaRPr lang="en-US">
                <a:latin typeface="+mn-lt"/>
              </a:endParaRPr>
            </a:p>
          </p:txBody>
        </p:sp>
        <p:sp>
          <p:nvSpPr>
            <p:cNvPr id="14" name="Rectangle 12"/>
            <p:cNvSpPr/>
            <p:nvPr/>
          </p:nvSpPr>
          <p:spPr bwMode="auto">
            <a:xfrm>
              <a:off x="2514600" y="2038350"/>
              <a:ext cx="533400" cy="45719"/>
            </a:xfrm>
            <a:prstGeom prst="rect">
              <a:avLst/>
            </a:prstGeom>
            <a:grpFill/>
            <a:ln w="9525">
              <a:noFill/>
              <a:round/>
            </a:ln>
          </p:spPr>
          <p:txBody>
            <a:bodyPr/>
            <a:lstStyle/>
            <a:p>
              <a:pPr algn="ctr" defTabSz="914400">
                <a:defRPr/>
              </a:pPr>
              <a:endParaRPr lang="en-US">
                <a:latin typeface="+mn-lt"/>
              </a:endParaRPr>
            </a:p>
          </p:txBody>
        </p:sp>
      </p:grpSp>
      <p:grpSp>
        <p:nvGrpSpPr>
          <p:cNvPr id="15" name="Group 24"/>
          <p:cNvGrpSpPr/>
          <p:nvPr/>
        </p:nvGrpSpPr>
        <p:grpSpPr>
          <a:xfrm rot="2700000" flipH="1">
            <a:off x="6973240" y="3826251"/>
            <a:ext cx="288000" cy="1440000"/>
            <a:chOff x="2476500" y="2038350"/>
            <a:chExt cx="571500" cy="1828800"/>
          </a:xfrm>
          <a:solidFill>
            <a:schemeClr val="accent3"/>
          </a:solidFill>
        </p:grpSpPr>
        <p:sp>
          <p:nvSpPr>
            <p:cNvPr id="16" name="Bent Arrow 14"/>
            <p:cNvSpPr/>
            <p:nvPr/>
          </p:nvSpPr>
          <p:spPr bwMode="auto">
            <a:xfrm flipV="1">
              <a:off x="2476500" y="2038350"/>
              <a:ext cx="533400" cy="1828800"/>
            </a:xfrm>
            <a:prstGeom prst="bentArrow">
              <a:avLst>
                <a:gd name="adj1" fmla="val 13663"/>
                <a:gd name="adj2" fmla="val 25006"/>
                <a:gd name="adj3" fmla="val 43568"/>
                <a:gd name="adj4" fmla="val 0"/>
              </a:avLst>
            </a:prstGeom>
            <a:grpFill/>
            <a:ln w="9525">
              <a:noFill/>
              <a:round/>
            </a:ln>
          </p:spPr>
          <p:txBody>
            <a:bodyPr/>
            <a:lstStyle/>
            <a:p>
              <a:pPr algn="ctr" defTabSz="914400">
                <a:defRPr/>
              </a:pPr>
              <a:endParaRPr lang="en-US">
                <a:latin typeface="+mn-lt"/>
              </a:endParaRPr>
            </a:p>
          </p:txBody>
        </p:sp>
        <p:sp>
          <p:nvSpPr>
            <p:cNvPr id="17" name="Rectangle 15"/>
            <p:cNvSpPr/>
            <p:nvPr/>
          </p:nvSpPr>
          <p:spPr bwMode="auto">
            <a:xfrm>
              <a:off x="2514600" y="2038350"/>
              <a:ext cx="533400" cy="45719"/>
            </a:xfrm>
            <a:prstGeom prst="rect">
              <a:avLst/>
            </a:prstGeom>
            <a:grpFill/>
            <a:ln w="9525">
              <a:noFill/>
              <a:round/>
            </a:ln>
          </p:spPr>
          <p:txBody>
            <a:bodyPr/>
            <a:lstStyle/>
            <a:p>
              <a:pPr algn="ctr" defTabSz="914400">
                <a:defRPr/>
              </a:pPr>
              <a:endParaRPr lang="en-US">
                <a:latin typeface="+mn-lt"/>
              </a:endParaRPr>
            </a:p>
          </p:txBody>
        </p:sp>
      </p:grpSp>
      <p:grpSp>
        <p:nvGrpSpPr>
          <p:cNvPr id="18" name="Group 59"/>
          <p:cNvGrpSpPr/>
          <p:nvPr/>
        </p:nvGrpSpPr>
        <p:grpSpPr bwMode="auto">
          <a:xfrm>
            <a:off x="8286749" y="1927820"/>
            <a:ext cx="3473880" cy="1143075"/>
            <a:chOff x="1603804" y="2220558"/>
            <a:chExt cx="2955174" cy="1142748"/>
          </a:xfrm>
        </p:grpSpPr>
        <p:sp>
          <p:nvSpPr>
            <p:cNvPr id="19" name="Text Placeholder 2"/>
            <p:cNvSpPr txBox="1"/>
            <p:nvPr/>
          </p:nvSpPr>
          <p:spPr>
            <a:xfrm>
              <a:off x="1603804" y="2220558"/>
              <a:ext cx="2955174" cy="339739"/>
            </a:xfrm>
            <a:prstGeom prst="rect">
              <a:avLst/>
            </a:prstGeom>
            <a:noFill/>
          </p:spPr>
          <p:txBody>
            <a:bodyPr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defRPr/>
              </a:pPr>
              <a:r>
                <a:rPr lang="zh-CN" altLang="en-US"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rPr>
                <a:t>无需抵押，担保灵活</a:t>
              </a:r>
              <a:endParaRPr lang="en-GB" altLang="zh-CN"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endParaRPr>
            </a:p>
          </p:txBody>
        </p:sp>
        <p:sp>
          <p:nvSpPr>
            <p:cNvPr id="20" name="TextBox 19"/>
            <p:cNvSpPr txBox="1"/>
            <p:nvPr/>
          </p:nvSpPr>
          <p:spPr>
            <a:xfrm>
              <a:off x="1680026" y="2624853"/>
              <a:ext cx="2878952" cy="738453"/>
            </a:xfrm>
            <a:prstGeom prst="rect">
              <a:avLst/>
            </a:prstGeom>
            <a:noFill/>
          </p:spPr>
          <p:txBody>
            <a:bodyPr lIns="0" tIns="0" rIns="0" bIns="0">
              <a:spAutoFit/>
            </a:bodyPr>
            <a:lstStyle/>
            <a:p>
              <a:pPr defTabSz="1450975">
                <a:defRP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rPr>
                <a:t>无需抵押最高可贷</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rPr>
                <a:t>300</a:t>
              </a: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rPr>
                <a:t>万，仅以实际控制人及股东提供连带责任保证担保即可</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endParaRPr>
            </a:p>
          </p:txBody>
        </p:sp>
      </p:grpSp>
      <p:grpSp>
        <p:nvGrpSpPr>
          <p:cNvPr id="21" name="Group 62"/>
          <p:cNvGrpSpPr/>
          <p:nvPr/>
        </p:nvGrpSpPr>
        <p:grpSpPr bwMode="auto">
          <a:xfrm>
            <a:off x="8286749" y="4527359"/>
            <a:ext cx="3473880" cy="917864"/>
            <a:chOff x="1603804" y="2220559"/>
            <a:chExt cx="2955174" cy="917602"/>
          </a:xfrm>
        </p:grpSpPr>
        <p:sp>
          <p:nvSpPr>
            <p:cNvPr id="22" name="Text Placeholder 2"/>
            <p:cNvSpPr txBox="1"/>
            <p:nvPr/>
          </p:nvSpPr>
          <p:spPr>
            <a:xfrm>
              <a:off x="1603804" y="2220559"/>
              <a:ext cx="2955174" cy="339732"/>
            </a:xfrm>
            <a:prstGeom prst="rect">
              <a:avLst/>
            </a:prstGeom>
            <a:noFill/>
          </p:spPr>
          <p:txBody>
            <a:bodyPr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defRPr/>
              </a:pPr>
              <a:r>
                <a:rPr lang="zh-CN" altLang="en-US"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rPr>
                <a:t>降低成本，高效便捷</a:t>
              </a:r>
              <a:endParaRPr lang="en-GB" altLang="zh-CN"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endParaRPr>
            </a:p>
          </p:txBody>
        </p:sp>
        <p:sp>
          <p:nvSpPr>
            <p:cNvPr id="23" name="TextBox 22"/>
            <p:cNvSpPr txBox="1"/>
            <p:nvPr/>
          </p:nvSpPr>
          <p:spPr>
            <a:xfrm>
              <a:off x="1680026" y="2645859"/>
              <a:ext cx="2878952" cy="492302"/>
            </a:xfrm>
            <a:prstGeom prst="rect">
              <a:avLst/>
            </a:prstGeom>
            <a:noFill/>
          </p:spPr>
          <p:txBody>
            <a:bodyPr lIns="0" tIns="0" rIns="0" bIns="0">
              <a:spAutoFit/>
            </a:bodyPr>
            <a:lstStyle/>
            <a:p>
              <a:pPr defTabSz="1450975">
                <a:defRP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rPr>
                <a:t>普惠金融利率优惠，授信期内可随借随还，高效便捷</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endParaRPr>
            </a:p>
          </p:txBody>
        </p:sp>
      </p:grpSp>
      <p:grpSp>
        <p:nvGrpSpPr>
          <p:cNvPr id="24" name="Group 65"/>
          <p:cNvGrpSpPr/>
          <p:nvPr/>
        </p:nvGrpSpPr>
        <p:grpSpPr bwMode="auto">
          <a:xfrm>
            <a:off x="549086" y="4527359"/>
            <a:ext cx="3581188" cy="1164085"/>
            <a:chOff x="1679271" y="2220559"/>
            <a:chExt cx="3582235" cy="1163753"/>
          </a:xfrm>
        </p:grpSpPr>
        <p:sp>
          <p:nvSpPr>
            <p:cNvPr id="25" name="Text Placeholder 2"/>
            <p:cNvSpPr txBox="1"/>
            <p:nvPr/>
          </p:nvSpPr>
          <p:spPr>
            <a:xfrm>
              <a:off x="2625697" y="2220559"/>
              <a:ext cx="2635809" cy="261943"/>
            </a:xfrm>
            <a:prstGeom prst="rect">
              <a:avLst/>
            </a:prstGeom>
            <a:noFill/>
          </p:spPr>
          <p:txBody>
            <a:bodyPr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defRPr/>
              </a:pPr>
              <a:r>
                <a:rPr lang="zh-CN" altLang="en-US"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rPr>
                <a:t>政府增信，贴息支持</a:t>
              </a:r>
              <a:endParaRPr lang="en-GB" altLang="zh-CN"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endParaRPr>
            </a:p>
          </p:txBody>
        </p:sp>
        <p:sp>
          <p:nvSpPr>
            <p:cNvPr id="26" name="TextBox 25"/>
            <p:cNvSpPr txBox="1"/>
            <p:nvPr/>
          </p:nvSpPr>
          <p:spPr>
            <a:xfrm>
              <a:off x="1679271" y="2645859"/>
              <a:ext cx="3565487" cy="738453"/>
            </a:xfrm>
            <a:prstGeom prst="rect">
              <a:avLst/>
            </a:prstGeom>
            <a:noFill/>
          </p:spPr>
          <p:txBody>
            <a:bodyPr wrap="square" lIns="0" tIns="0" rIns="0" bIns="0">
              <a:spAutoFit/>
            </a:bodyPr>
            <a:lstStyle/>
            <a:p>
              <a:pPr algn="r" defTabSz="1450975">
                <a:defRP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rPr>
                <a:t>可通过政府风险补偿金、财政补贴等方式增信担保，符合条件的企业可享受财政贴息支持</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endParaRPr>
            </a:p>
          </p:txBody>
        </p:sp>
      </p:grpSp>
      <p:grpSp>
        <p:nvGrpSpPr>
          <p:cNvPr id="27" name="Group 68"/>
          <p:cNvGrpSpPr/>
          <p:nvPr/>
        </p:nvGrpSpPr>
        <p:grpSpPr bwMode="auto">
          <a:xfrm>
            <a:off x="527380" y="1927823"/>
            <a:ext cx="3586152" cy="1117136"/>
            <a:chOff x="1679270" y="2220559"/>
            <a:chExt cx="3587199" cy="1116816"/>
          </a:xfrm>
        </p:grpSpPr>
        <p:sp>
          <p:nvSpPr>
            <p:cNvPr id="28" name="Text Placeholder 2"/>
            <p:cNvSpPr txBox="1"/>
            <p:nvPr/>
          </p:nvSpPr>
          <p:spPr>
            <a:xfrm>
              <a:off x="1679270" y="2220559"/>
              <a:ext cx="3587199" cy="261945"/>
            </a:xfrm>
            <a:prstGeom prst="rect">
              <a:avLst/>
            </a:prstGeom>
            <a:noFill/>
          </p:spPr>
          <p:txBody>
            <a:bodyPr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defRPr/>
              </a:pPr>
              <a:r>
                <a:rPr lang="zh-CN" altLang="en-US"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rPr>
                <a:t>标准流程，评价科学</a:t>
              </a:r>
              <a:endParaRPr lang="en-GB" altLang="zh-CN" sz="1900" b="1" dirty="0">
                <a:solidFill>
                  <a:schemeClr val="tx1">
                    <a:lumMod val="75000"/>
                    <a:lumOff val="25000"/>
                  </a:schemeClr>
                </a:solidFill>
                <a:latin typeface="微软雅黑" panose="020B0503020204020204" pitchFamily="34" charset="-122"/>
                <a:ea typeface="微软雅黑" panose="020B0503020204020204" pitchFamily="34" charset="-122"/>
                <a:cs typeface="Clear Sans" panose="020B0503030202020304" pitchFamily="34" charset="0"/>
              </a:endParaRPr>
            </a:p>
          </p:txBody>
        </p:sp>
        <p:sp>
          <p:nvSpPr>
            <p:cNvPr id="29" name="TextBox 28"/>
            <p:cNvSpPr txBox="1"/>
            <p:nvPr/>
          </p:nvSpPr>
          <p:spPr>
            <a:xfrm>
              <a:off x="1679270" y="2598924"/>
              <a:ext cx="3587198" cy="738451"/>
            </a:xfrm>
            <a:prstGeom prst="rect">
              <a:avLst/>
            </a:prstGeom>
            <a:noFill/>
          </p:spPr>
          <p:txBody>
            <a:bodyPr wrap="square" lIns="0" tIns="0" rIns="0" bIns="0">
              <a:spAutoFit/>
            </a:bodyPr>
            <a:lstStyle/>
            <a:p>
              <a:pPr algn="r" defTabSz="1450975">
                <a:defRPr/>
              </a:pP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rPr>
                <a:t>专为科技企业量身打造，采用评分卡模式，通过量化科技企业核心能力指标，给予企业更客观评价</a:t>
              </a: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Open Sans" pitchFamily="34" charset="0"/>
              </a:endParaRPr>
            </a:p>
          </p:txBody>
        </p:sp>
      </p:grpSp>
      <p:grpSp>
        <p:nvGrpSpPr>
          <p:cNvPr id="30" name="Group 1"/>
          <p:cNvGrpSpPr/>
          <p:nvPr/>
        </p:nvGrpSpPr>
        <p:grpSpPr bwMode="auto">
          <a:xfrm>
            <a:off x="6606168" y="3138880"/>
            <a:ext cx="1056000" cy="1056000"/>
            <a:chOff x="6426894" y="3145383"/>
            <a:chExt cx="1343382" cy="1345232"/>
          </a:xfrm>
        </p:grpSpPr>
        <p:sp>
          <p:nvSpPr>
            <p:cNvPr id="31" name="Rounded Rectangle 20"/>
            <p:cNvSpPr/>
            <p:nvPr/>
          </p:nvSpPr>
          <p:spPr bwMode="auto">
            <a:xfrm rot="18900000" flipV="1">
              <a:off x="6426894" y="3145383"/>
              <a:ext cx="1343382" cy="1345232"/>
            </a:xfrm>
            <a:prstGeom prst="roundRect">
              <a:avLst>
                <a:gd name="adj" fmla="val 9646"/>
              </a:avLst>
            </a:prstGeom>
            <a:solidFill>
              <a:schemeClr val="accent3"/>
            </a:solidFill>
            <a:ln w="9525">
              <a:noFill/>
              <a:rou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913130" fontAlgn="base">
                <a:spcBef>
                  <a:spcPct val="0"/>
                </a:spcBef>
                <a:spcAft>
                  <a:spcPct val="0"/>
                </a:spcAft>
                <a:defRPr>
                  <a:solidFill>
                    <a:schemeClr val="tx1"/>
                  </a:solidFill>
                  <a:latin typeface="Calibri" panose="020F0502020204030204" pitchFamily="34" charset="0"/>
                </a:defRPr>
              </a:lvl6pPr>
              <a:lvl7pPr marL="2971800" indent="-228600" defTabSz="913130" fontAlgn="base">
                <a:spcBef>
                  <a:spcPct val="0"/>
                </a:spcBef>
                <a:spcAft>
                  <a:spcPct val="0"/>
                </a:spcAft>
                <a:defRPr>
                  <a:solidFill>
                    <a:schemeClr val="tx1"/>
                  </a:solidFill>
                  <a:latin typeface="Calibri" panose="020F0502020204030204" pitchFamily="34" charset="0"/>
                </a:defRPr>
              </a:lvl7pPr>
              <a:lvl8pPr marL="3429000" indent="-228600" defTabSz="913130" fontAlgn="base">
                <a:spcBef>
                  <a:spcPct val="0"/>
                </a:spcBef>
                <a:spcAft>
                  <a:spcPct val="0"/>
                </a:spcAft>
                <a:defRPr>
                  <a:solidFill>
                    <a:schemeClr val="tx1"/>
                  </a:solidFill>
                  <a:latin typeface="Calibri" panose="020F0502020204030204" pitchFamily="34" charset="0"/>
                </a:defRPr>
              </a:lvl8pPr>
              <a:lvl9pPr marL="3886200" indent="-228600" defTabSz="913130" fontAlgn="base">
                <a:spcBef>
                  <a:spcPct val="0"/>
                </a:spcBef>
                <a:spcAft>
                  <a:spcPct val="0"/>
                </a:spcAft>
                <a:defRPr>
                  <a:solidFill>
                    <a:schemeClr val="tx1"/>
                  </a:solidFill>
                  <a:latin typeface="Calibri" panose="020F0502020204030204" pitchFamily="34" charset="0"/>
                </a:defRPr>
              </a:lvl9pPr>
            </a:lstStyle>
            <a:p>
              <a:pPr algn="ctr" eaLnBrk="1" hangingPunct="1"/>
              <a:endParaRPr lang="zh-CN" altLang="zh-CN"/>
            </a:p>
          </p:txBody>
        </p:sp>
        <p:grpSp>
          <p:nvGrpSpPr>
            <p:cNvPr id="32" name="Group 34"/>
            <p:cNvGrpSpPr/>
            <p:nvPr/>
          </p:nvGrpSpPr>
          <p:grpSpPr>
            <a:xfrm>
              <a:off x="6806176" y="3609063"/>
              <a:ext cx="613402" cy="550888"/>
              <a:chOff x="2309807" y="3226594"/>
              <a:chExt cx="249238" cy="223838"/>
            </a:xfrm>
            <a:solidFill>
              <a:schemeClr val="bg1"/>
            </a:solidFill>
          </p:grpSpPr>
          <p:sp>
            <p:nvSpPr>
              <p:cNvPr id="33" name="Rectangle 18"/>
              <p:cNvSpPr>
                <a:spLocks noChangeArrowheads="1"/>
              </p:cNvSpPr>
              <p:nvPr/>
            </p:nvSpPr>
            <p:spPr bwMode="auto">
              <a:xfrm>
                <a:off x="2428875" y="3297238"/>
                <a:ext cx="2857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34" name="Rectangle 19"/>
              <p:cNvSpPr>
                <a:spLocks noChangeArrowheads="1"/>
              </p:cNvSpPr>
              <p:nvPr/>
            </p:nvSpPr>
            <p:spPr bwMode="auto">
              <a:xfrm>
                <a:off x="2473325" y="3297238"/>
                <a:ext cx="2857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35" name="Rectangle 20"/>
              <p:cNvSpPr>
                <a:spLocks noChangeArrowheads="1"/>
              </p:cNvSpPr>
              <p:nvPr/>
            </p:nvSpPr>
            <p:spPr bwMode="auto">
              <a:xfrm>
                <a:off x="2516188" y="3297238"/>
                <a:ext cx="2857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36" name="Rectangle 21"/>
              <p:cNvSpPr>
                <a:spLocks noChangeArrowheads="1"/>
              </p:cNvSpPr>
              <p:nvPr/>
            </p:nvSpPr>
            <p:spPr bwMode="auto">
              <a:xfrm>
                <a:off x="2428875" y="3338513"/>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37" name="Rectangle 22"/>
              <p:cNvSpPr>
                <a:spLocks noChangeArrowheads="1"/>
              </p:cNvSpPr>
              <p:nvPr/>
            </p:nvSpPr>
            <p:spPr bwMode="auto">
              <a:xfrm>
                <a:off x="2473325" y="3338513"/>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38" name="Rectangle 23"/>
              <p:cNvSpPr>
                <a:spLocks noChangeArrowheads="1"/>
              </p:cNvSpPr>
              <p:nvPr/>
            </p:nvSpPr>
            <p:spPr bwMode="auto">
              <a:xfrm>
                <a:off x="2516188" y="3338513"/>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39" name="Rectangle 24"/>
              <p:cNvSpPr>
                <a:spLocks noChangeArrowheads="1"/>
              </p:cNvSpPr>
              <p:nvPr/>
            </p:nvSpPr>
            <p:spPr bwMode="auto">
              <a:xfrm>
                <a:off x="2428875" y="3378201"/>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40" name="Rectangle 25"/>
              <p:cNvSpPr>
                <a:spLocks noChangeArrowheads="1"/>
              </p:cNvSpPr>
              <p:nvPr/>
            </p:nvSpPr>
            <p:spPr bwMode="auto">
              <a:xfrm>
                <a:off x="2386013" y="3338513"/>
                <a:ext cx="2540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41" name="Rectangle 26"/>
              <p:cNvSpPr>
                <a:spLocks noChangeArrowheads="1"/>
              </p:cNvSpPr>
              <p:nvPr/>
            </p:nvSpPr>
            <p:spPr bwMode="auto">
              <a:xfrm>
                <a:off x="2386013" y="3378201"/>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42" name="Rectangle 27"/>
              <p:cNvSpPr>
                <a:spLocks noChangeArrowheads="1"/>
              </p:cNvSpPr>
              <p:nvPr/>
            </p:nvSpPr>
            <p:spPr bwMode="auto">
              <a:xfrm>
                <a:off x="2473325" y="3378201"/>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43" name="Rectangle 28"/>
              <p:cNvSpPr>
                <a:spLocks noChangeArrowheads="1"/>
              </p:cNvSpPr>
              <p:nvPr/>
            </p:nvSpPr>
            <p:spPr bwMode="auto">
              <a:xfrm>
                <a:off x="2516188" y="3378201"/>
                <a:ext cx="285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sp>
            <p:nvSpPr>
              <p:cNvPr id="44" name="Freeform 29"/>
              <p:cNvSpPr>
                <a:spLocks noEditPoints="1"/>
              </p:cNvSpPr>
              <p:nvPr/>
            </p:nvSpPr>
            <p:spPr bwMode="auto">
              <a:xfrm>
                <a:off x="2309807" y="3226594"/>
                <a:ext cx="249238" cy="223838"/>
              </a:xfrm>
              <a:custGeom>
                <a:avLst/>
                <a:gdLst>
                  <a:gd name="T0" fmla="*/ 157 w 157"/>
                  <a:gd name="T1" fmla="*/ 0 h 141"/>
                  <a:gd name="T2" fmla="*/ 135 w 157"/>
                  <a:gd name="T3" fmla="*/ 0 h 141"/>
                  <a:gd name="T4" fmla="*/ 135 w 157"/>
                  <a:gd name="T5" fmla="*/ 15 h 141"/>
                  <a:gd name="T6" fmla="*/ 114 w 157"/>
                  <a:gd name="T7" fmla="*/ 15 h 141"/>
                  <a:gd name="T8" fmla="*/ 114 w 157"/>
                  <a:gd name="T9" fmla="*/ 0 h 141"/>
                  <a:gd name="T10" fmla="*/ 47 w 157"/>
                  <a:gd name="T11" fmla="*/ 0 h 141"/>
                  <a:gd name="T12" fmla="*/ 47 w 157"/>
                  <a:gd name="T13" fmla="*/ 15 h 141"/>
                  <a:gd name="T14" fmla="*/ 25 w 157"/>
                  <a:gd name="T15" fmla="*/ 15 h 141"/>
                  <a:gd name="T16" fmla="*/ 25 w 157"/>
                  <a:gd name="T17" fmla="*/ 0 h 141"/>
                  <a:gd name="T18" fmla="*/ 0 w 157"/>
                  <a:gd name="T19" fmla="*/ 0 h 141"/>
                  <a:gd name="T20" fmla="*/ 0 w 157"/>
                  <a:gd name="T21" fmla="*/ 141 h 141"/>
                  <a:gd name="T22" fmla="*/ 12 w 157"/>
                  <a:gd name="T23" fmla="*/ 141 h 141"/>
                  <a:gd name="T24" fmla="*/ 146 w 157"/>
                  <a:gd name="T25" fmla="*/ 141 h 141"/>
                  <a:gd name="T26" fmla="*/ 157 w 157"/>
                  <a:gd name="T27" fmla="*/ 141 h 141"/>
                  <a:gd name="T28" fmla="*/ 157 w 157"/>
                  <a:gd name="T29" fmla="*/ 0 h 141"/>
                  <a:gd name="T30" fmla="*/ 146 w 157"/>
                  <a:gd name="T31" fmla="*/ 129 h 141"/>
                  <a:gd name="T32" fmla="*/ 12 w 157"/>
                  <a:gd name="T33" fmla="*/ 129 h 141"/>
                  <a:gd name="T34" fmla="*/ 12 w 157"/>
                  <a:gd name="T35" fmla="*/ 40 h 141"/>
                  <a:gd name="T36" fmla="*/ 146 w 157"/>
                  <a:gd name="T37" fmla="*/ 40 h 141"/>
                  <a:gd name="T38" fmla="*/ 146 w 157"/>
                  <a:gd name="T39" fmla="*/ 12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141">
                    <a:moveTo>
                      <a:pt x="157" y="0"/>
                    </a:moveTo>
                    <a:lnTo>
                      <a:pt x="135" y="0"/>
                    </a:lnTo>
                    <a:lnTo>
                      <a:pt x="135" y="15"/>
                    </a:lnTo>
                    <a:lnTo>
                      <a:pt x="114" y="15"/>
                    </a:lnTo>
                    <a:lnTo>
                      <a:pt x="114" y="0"/>
                    </a:lnTo>
                    <a:lnTo>
                      <a:pt x="47" y="0"/>
                    </a:lnTo>
                    <a:lnTo>
                      <a:pt x="47" y="15"/>
                    </a:lnTo>
                    <a:lnTo>
                      <a:pt x="25" y="15"/>
                    </a:lnTo>
                    <a:lnTo>
                      <a:pt x="25" y="0"/>
                    </a:lnTo>
                    <a:lnTo>
                      <a:pt x="0" y="0"/>
                    </a:lnTo>
                    <a:lnTo>
                      <a:pt x="0" y="141"/>
                    </a:lnTo>
                    <a:lnTo>
                      <a:pt x="12" y="141"/>
                    </a:lnTo>
                    <a:lnTo>
                      <a:pt x="146" y="141"/>
                    </a:lnTo>
                    <a:lnTo>
                      <a:pt x="157" y="141"/>
                    </a:lnTo>
                    <a:lnTo>
                      <a:pt x="157" y="0"/>
                    </a:lnTo>
                    <a:close/>
                    <a:moveTo>
                      <a:pt x="146" y="129"/>
                    </a:moveTo>
                    <a:lnTo>
                      <a:pt x="12" y="129"/>
                    </a:lnTo>
                    <a:lnTo>
                      <a:pt x="12" y="40"/>
                    </a:lnTo>
                    <a:lnTo>
                      <a:pt x="146" y="40"/>
                    </a:lnTo>
                    <a:lnTo>
                      <a:pt x="146" y="1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1920" tIns="60960" rIns="121920" bIns="60960"/>
              <a:lstStyle/>
              <a:p>
                <a:pPr defTabSz="914400">
                  <a:defRPr/>
                </a:pPr>
                <a:endParaRPr lang="en-US" dirty="0">
                  <a:latin typeface="Open Sans" pitchFamily="34" charset="0"/>
                  <a:ea typeface="Open Sans" pitchFamily="34" charset="0"/>
                  <a:cs typeface="Open Sans" pitchFamily="34" charset="0"/>
                </a:endParaRPr>
              </a:p>
            </p:txBody>
          </p:sp>
        </p:grpSp>
      </p:grpSp>
      <p:grpSp>
        <p:nvGrpSpPr>
          <p:cNvPr id="45" name="Group 2"/>
          <p:cNvGrpSpPr/>
          <p:nvPr/>
        </p:nvGrpSpPr>
        <p:grpSpPr bwMode="auto">
          <a:xfrm>
            <a:off x="5729511" y="4002976"/>
            <a:ext cx="1056000" cy="1056000"/>
            <a:chOff x="5323380" y="4248591"/>
            <a:chExt cx="1343382" cy="1343796"/>
          </a:xfrm>
        </p:grpSpPr>
        <p:sp>
          <p:nvSpPr>
            <p:cNvPr id="46" name="Rounded Rectangle 17"/>
            <p:cNvSpPr/>
            <p:nvPr/>
          </p:nvSpPr>
          <p:spPr bwMode="auto">
            <a:xfrm rot="18900000" flipV="1">
              <a:off x="5323380" y="4248591"/>
              <a:ext cx="1343382" cy="1343796"/>
            </a:xfrm>
            <a:prstGeom prst="roundRect">
              <a:avLst>
                <a:gd name="adj" fmla="val 9646"/>
              </a:avLst>
            </a:prstGeom>
            <a:solidFill>
              <a:schemeClr val="accent4"/>
            </a:solidFill>
            <a:ln w="9525">
              <a:noFill/>
              <a:rou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913130" fontAlgn="base">
                <a:spcBef>
                  <a:spcPct val="0"/>
                </a:spcBef>
                <a:spcAft>
                  <a:spcPct val="0"/>
                </a:spcAft>
                <a:defRPr>
                  <a:solidFill>
                    <a:schemeClr val="tx1"/>
                  </a:solidFill>
                  <a:latin typeface="Calibri" panose="020F0502020204030204" pitchFamily="34" charset="0"/>
                </a:defRPr>
              </a:lvl6pPr>
              <a:lvl7pPr marL="2971800" indent="-228600" defTabSz="913130" fontAlgn="base">
                <a:spcBef>
                  <a:spcPct val="0"/>
                </a:spcBef>
                <a:spcAft>
                  <a:spcPct val="0"/>
                </a:spcAft>
                <a:defRPr>
                  <a:solidFill>
                    <a:schemeClr val="tx1"/>
                  </a:solidFill>
                  <a:latin typeface="Calibri" panose="020F0502020204030204" pitchFamily="34" charset="0"/>
                </a:defRPr>
              </a:lvl7pPr>
              <a:lvl8pPr marL="3429000" indent="-228600" defTabSz="913130" fontAlgn="base">
                <a:spcBef>
                  <a:spcPct val="0"/>
                </a:spcBef>
                <a:spcAft>
                  <a:spcPct val="0"/>
                </a:spcAft>
                <a:defRPr>
                  <a:solidFill>
                    <a:schemeClr val="tx1"/>
                  </a:solidFill>
                  <a:latin typeface="Calibri" panose="020F0502020204030204" pitchFamily="34" charset="0"/>
                </a:defRPr>
              </a:lvl8pPr>
              <a:lvl9pPr marL="3886200" indent="-228600" defTabSz="913130" fontAlgn="base">
                <a:spcBef>
                  <a:spcPct val="0"/>
                </a:spcBef>
                <a:spcAft>
                  <a:spcPct val="0"/>
                </a:spcAft>
                <a:defRPr>
                  <a:solidFill>
                    <a:schemeClr val="tx1"/>
                  </a:solidFill>
                  <a:latin typeface="Calibri" panose="020F0502020204030204" pitchFamily="34" charset="0"/>
                </a:defRPr>
              </a:lvl9pPr>
            </a:lstStyle>
            <a:p>
              <a:pPr algn="ctr" eaLnBrk="1" hangingPunct="1"/>
              <a:endParaRPr lang="zh-CN" altLang="zh-CN"/>
            </a:p>
          </p:txBody>
        </p:sp>
        <p:sp>
          <p:nvSpPr>
            <p:cNvPr id="47" name="Shape 719"/>
            <p:cNvSpPr/>
            <p:nvPr/>
          </p:nvSpPr>
          <p:spPr bwMode="auto">
            <a:xfrm>
              <a:off x="5700043" y="4676405"/>
              <a:ext cx="587506" cy="505263"/>
            </a:xfrm>
            <a:custGeom>
              <a:avLst/>
              <a:gdLst>
                <a:gd name="T0" fmla="*/ 293753 w 21332"/>
                <a:gd name="T1" fmla="*/ 252632 h 21446"/>
                <a:gd name="T2" fmla="*/ 293753 w 21332"/>
                <a:gd name="T3" fmla="*/ 252632 h 21446"/>
                <a:gd name="T4" fmla="*/ 293753 w 21332"/>
                <a:gd name="T5" fmla="*/ 252632 h 21446"/>
                <a:gd name="T6" fmla="*/ 293753 w 21332"/>
                <a:gd name="T7" fmla="*/ 252632 h 2144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32" h="21446" extrusionOk="0">
                  <a:moveTo>
                    <a:pt x="9262" y="7207"/>
                  </a:moveTo>
                  <a:lnTo>
                    <a:pt x="14475" y="11108"/>
                  </a:lnTo>
                  <a:cubicBezTo>
                    <a:pt x="14915" y="11436"/>
                    <a:pt x="15500" y="11301"/>
                    <a:pt x="15796" y="10800"/>
                  </a:cubicBezTo>
                  <a:lnTo>
                    <a:pt x="21160" y="1771"/>
                  </a:lnTo>
                  <a:cubicBezTo>
                    <a:pt x="21464" y="1257"/>
                    <a:pt x="21354" y="555"/>
                    <a:pt x="20913" y="200"/>
                  </a:cubicBezTo>
                  <a:cubicBezTo>
                    <a:pt x="20472" y="-154"/>
                    <a:pt x="19869" y="-26"/>
                    <a:pt x="19564" y="487"/>
                  </a:cubicBezTo>
                  <a:lnTo>
                    <a:pt x="14734" y="8618"/>
                  </a:lnTo>
                  <a:lnTo>
                    <a:pt x="9490" y="4694"/>
                  </a:lnTo>
                  <a:cubicBezTo>
                    <a:pt x="9273" y="4532"/>
                    <a:pt x="9010" y="4478"/>
                    <a:pt x="8757" y="4541"/>
                  </a:cubicBezTo>
                  <a:cubicBezTo>
                    <a:pt x="8505" y="4607"/>
                    <a:pt x="8285" y="4785"/>
                    <a:pt x="8147" y="5039"/>
                  </a:cubicBezTo>
                  <a:lnTo>
                    <a:pt x="152" y="19712"/>
                  </a:lnTo>
                  <a:cubicBezTo>
                    <a:pt x="-136" y="20237"/>
                    <a:pt x="-2" y="20936"/>
                    <a:pt x="450" y="21269"/>
                  </a:cubicBezTo>
                  <a:cubicBezTo>
                    <a:pt x="611" y="21389"/>
                    <a:pt x="791" y="21446"/>
                    <a:pt x="969" y="21446"/>
                  </a:cubicBezTo>
                  <a:cubicBezTo>
                    <a:pt x="1290" y="21446"/>
                    <a:pt x="1604" y="21260"/>
                    <a:pt x="1788" y="20921"/>
                  </a:cubicBezTo>
                  <a:cubicBezTo>
                    <a:pt x="1788" y="20921"/>
                    <a:pt x="9262" y="7207"/>
                    <a:pt x="9262" y="7207"/>
                  </a:cubicBezTo>
                  <a:close/>
                  <a:moveTo>
                    <a:pt x="19712" y="12707"/>
                  </a:moveTo>
                  <a:lnTo>
                    <a:pt x="14952" y="17715"/>
                  </a:lnTo>
                  <a:lnTo>
                    <a:pt x="9355" y="12653"/>
                  </a:lnTo>
                  <a:cubicBezTo>
                    <a:pt x="9249" y="12556"/>
                    <a:pt x="9125" y="12487"/>
                    <a:pt x="8994" y="12450"/>
                  </a:cubicBezTo>
                  <a:lnTo>
                    <a:pt x="8249" y="12234"/>
                  </a:lnTo>
                  <a:lnTo>
                    <a:pt x="7154" y="14242"/>
                  </a:lnTo>
                  <a:lnTo>
                    <a:pt x="8327" y="14582"/>
                  </a:lnTo>
                  <a:lnTo>
                    <a:pt x="14404" y="20078"/>
                  </a:lnTo>
                  <a:cubicBezTo>
                    <a:pt x="14580" y="20237"/>
                    <a:pt x="14789" y="20317"/>
                    <a:pt x="14999" y="20317"/>
                  </a:cubicBezTo>
                  <a:cubicBezTo>
                    <a:pt x="15232" y="20317"/>
                    <a:pt x="15466" y="20218"/>
                    <a:pt x="15650" y="20026"/>
                  </a:cubicBezTo>
                  <a:lnTo>
                    <a:pt x="21012" y="14382"/>
                  </a:lnTo>
                  <a:cubicBezTo>
                    <a:pt x="21410" y="13963"/>
                    <a:pt x="21441" y="13250"/>
                    <a:pt x="21081" y="12788"/>
                  </a:cubicBezTo>
                  <a:cubicBezTo>
                    <a:pt x="20722" y="12325"/>
                    <a:pt x="20109" y="12289"/>
                    <a:pt x="19712" y="12707"/>
                  </a:cubicBezTo>
                  <a:close/>
                  <a:moveTo>
                    <a:pt x="735" y="12382"/>
                  </a:moveTo>
                  <a:lnTo>
                    <a:pt x="2190" y="12804"/>
                  </a:lnTo>
                  <a:lnTo>
                    <a:pt x="3284" y="10795"/>
                  </a:lnTo>
                  <a:lnTo>
                    <a:pt x="1204" y="10192"/>
                  </a:lnTo>
                  <a:cubicBezTo>
                    <a:pt x="683" y="10040"/>
                    <a:pt x="158" y="10410"/>
                    <a:pt x="28" y="11015"/>
                  </a:cubicBezTo>
                  <a:cubicBezTo>
                    <a:pt x="-100" y="11620"/>
                    <a:pt x="216" y="12231"/>
                    <a:pt x="735" y="12382"/>
                  </a:cubicBezTo>
                  <a:close/>
                </a:path>
              </a:pathLst>
            </a:custGeom>
            <a:solidFill>
              <a:schemeClr val="bg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38100" tIns="38100" rIns="38100" bIns="38100" anchor="ctr"/>
            <a:lstStyle/>
            <a:p>
              <a:endParaRPr lang="zh-CN" altLang="en-US"/>
            </a:p>
          </p:txBody>
        </p:sp>
      </p:grpSp>
      <p:grpSp>
        <p:nvGrpSpPr>
          <p:cNvPr id="48" name="Group 3"/>
          <p:cNvGrpSpPr/>
          <p:nvPr/>
        </p:nvGrpSpPr>
        <p:grpSpPr bwMode="auto">
          <a:xfrm>
            <a:off x="4878093" y="3138997"/>
            <a:ext cx="1056000" cy="1056000"/>
            <a:chOff x="4220325" y="3145534"/>
            <a:chExt cx="1343382" cy="1343796"/>
          </a:xfrm>
        </p:grpSpPr>
        <p:sp>
          <p:nvSpPr>
            <p:cNvPr id="49" name="Rounded Rectangle 23"/>
            <p:cNvSpPr/>
            <p:nvPr/>
          </p:nvSpPr>
          <p:spPr bwMode="auto">
            <a:xfrm rot="18900000" flipV="1">
              <a:off x="4220325" y="3145534"/>
              <a:ext cx="1343382" cy="1343796"/>
            </a:xfrm>
            <a:prstGeom prst="roundRect">
              <a:avLst>
                <a:gd name="adj" fmla="val 9646"/>
              </a:avLst>
            </a:prstGeom>
            <a:solidFill>
              <a:schemeClr val="accent1"/>
            </a:solidFill>
            <a:ln w="9525">
              <a:noFill/>
              <a:rou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913130" fontAlgn="base">
                <a:spcBef>
                  <a:spcPct val="0"/>
                </a:spcBef>
                <a:spcAft>
                  <a:spcPct val="0"/>
                </a:spcAft>
                <a:defRPr>
                  <a:solidFill>
                    <a:schemeClr val="tx1"/>
                  </a:solidFill>
                  <a:latin typeface="Calibri" panose="020F0502020204030204" pitchFamily="34" charset="0"/>
                </a:defRPr>
              </a:lvl6pPr>
              <a:lvl7pPr marL="2971800" indent="-228600" defTabSz="913130" fontAlgn="base">
                <a:spcBef>
                  <a:spcPct val="0"/>
                </a:spcBef>
                <a:spcAft>
                  <a:spcPct val="0"/>
                </a:spcAft>
                <a:defRPr>
                  <a:solidFill>
                    <a:schemeClr val="tx1"/>
                  </a:solidFill>
                  <a:latin typeface="Calibri" panose="020F0502020204030204" pitchFamily="34" charset="0"/>
                </a:defRPr>
              </a:lvl7pPr>
              <a:lvl8pPr marL="3429000" indent="-228600" defTabSz="913130" fontAlgn="base">
                <a:spcBef>
                  <a:spcPct val="0"/>
                </a:spcBef>
                <a:spcAft>
                  <a:spcPct val="0"/>
                </a:spcAft>
                <a:defRPr>
                  <a:solidFill>
                    <a:schemeClr val="tx1"/>
                  </a:solidFill>
                  <a:latin typeface="Calibri" panose="020F0502020204030204" pitchFamily="34" charset="0"/>
                </a:defRPr>
              </a:lvl8pPr>
              <a:lvl9pPr marL="3886200" indent="-228600" defTabSz="913130" fontAlgn="base">
                <a:spcBef>
                  <a:spcPct val="0"/>
                </a:spcBef>
                <a:spcAft>
                  <a:spcPct val="0"/>
                </a:spcAft>
                <a:defRPr>
                  <a:solidFill>
                    <a:schemeClr val="tx1"/>
                  </a:solidFill>
                  <a:latin typeface="Calibri" panose="020F0502020204030204" pitchFamily="34" charset="0"/>
                </a:defRPr>
              </a:lvl9pPr>
            </a:lstStyle>
            <a:p>
              <a:pPr algn="ctr" eaLnBrk="1" hangingPunct="1"/>
              <a:endParaRPr lang="zh-CN" altLang="zh-CN"/>
            </a:p>
          </p:txBody>
        </p:sp>
        <p:sp>
          <p:nvSpPr>
            <p:cNvPr id="50" name="Shape 2102"/>
            <p:cNvSpPr/>
            <p:nvPr/>
          </p:nvSpPr>
          <p:spPr bwMode="auto">
            <a:xfrm>
              <a:off x="4511350" y="3522435"/>
              <a:ext cx="720330" cy="576241"/>
            </a:xfrm>
            <a:custGeom>
              <a:avLst/>
              <a:gdLst>
                <a:gd name="T0" fmla="*/ 360165 w 21600"/>
                <a:gd name="T1" fmla="*/ 288121 h 21600"/>
                <a:gd name="T2" fmla="*/ 360165 w 21600"/>
                <a:gd name="T3" fmla="*/ 288121 h 21600"/>
                <a:gd name="T4" fmla="*/ 360165 w 21600"/>
                <a:gd name="T5" fmla="*/ 288121 h 21600"/>
                <a:gd name="T6" fmla="*/ 360165 w 21600"/>
                <a:gd name="T7" fmla="*/ 288121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8143" y="10800"/>
                  </a:moveTo>
                  <a:cubicBezTo>
                    <a:pt x="17065" y="10800"/>
                    <a:pt x="16800" y="11898"/>
                    <a:pt x="16709" y="12419"/>
                  </a:cubicBezTo>
                  <a:cubicBezTo>
                    <a:pt x="16115" y="15817"/>
                    <a:pt x="13696" y="18359"/>
                    <a:pt x="10800" y="18359"/>
                  </a:cubicBezTo>
                  <a:cubicBezTo>
                    <a:pt x="9130" y="18359"/>
                    <a:pt x="7618" y="17514"/>
                    <a:pt x="6524" y="16146"/>
                  </a:cubicBezTo>
                  <a:cubicBezTo>
                    <a:pt x="6018" y="15513"/>
                    <a:pt x="5198" y="15513"/>
                    <a:pt x="4691" y="16146"/>
                  </a:cubicBezTo>
                  <a:cubicBezTo>
                    <a:pt x="4185" y="16779"/>
                    <a:pt x="4185" y="17804"/>
                    <a:pt x="4691" y="18437"/>
                  </a:cubicBezTo>
                  <a:cubicBezTo>
                    <a:pt x="6255" y="20391"/>
                    <a:pt x="8415" y="21600"/>
                    <a:pt x="10800" y="21600"/>
                  </a:cubicBezTo>
                  <a:cubicBezTo>
                    <a:pt x="14669" y="21600"/>
                    <a:pt x="17943" y="18421"/>
                    <a:pt x="19043" y="14039"/>
                  </a:cubicBezTo>
                  <a:lnTo>
                    <a:pt x="21600" y="14039"/>
                  </a:lnTo>
                  <a:lnTo>
                    <a:pt x="21600" y="10800"/>
                  </a:lnTo>
                  <a:cubicBezTo>
                    <a:pt x="21600" y="10800"/>
                    <a:pt x="18143" y="10800"/>
                    <a:pt x="18143" y="10800"/>
                  </a:cubicBezTo>
                  <a:close/>
                  <a:moveTo>
                    <a:pt x="4891" y="9180"/>
                  </a:moveTo>
                  <a:cubicBezTo>
                    <a:pt x="5484" y="5783"/>
                    <a:pt x="7904" y="3240"/>
                    <a:pt x="10800" y="3240"/>
                  </a:cubicBezTo>
                  <a:cubicBezTo>
                    <a:pt x="12470" y="3240"/>
                    <a:pt x="13982" y="4086"/>
                    <a:pt x="15076" y="5454"/>
                  </a:cubicBezTo>
                  <a:cubicBezTo>
                    <a:pt x="15582" y="6086"/>
                    <a:pt x="16404" y="6086"/>
                    <a:pt x="16909" y="5454"/>
                  </a:cubicBezTo>
                  <a:cubicBezTo>
                    <a:pt x="17415" y="4821"/>
                    <a:pt x="17415" y="3796"/>
                    <a:pt x="16909" y="3163"/>
                  </a:cubicBezTo>
                  <a:cubicBezTo>
                    <a:pt x="15346" y="1209"/>
                    <a:pt x="13186" y="0"/>
                    <a:pt x="10800" y="0"/>
                  </a:cubicBezTo>
                  <a:cubicBezTo>
                    <a:pt x="6931" y="0"/>
                    <a:pt x="3658" y="3178"/>
                    <a:pt x="2557" y="7560"/>
                  </a:cubicBezTo>
                  <a:lnTo>
                    <a:pt x="0" y="7560"/>
                  </a:lnTo>
                  <a:lnTo>
                    <a:pt x="0" y="10800"/>
                  </a:lnTo>
                  <a:lnTo>
                    <a:pt x="3457" y="10800"/>
                  </a:lnTo>
                  <a:cubicBezTo>
                    <a:pt x="4535" y="10800"/>
                    <a:pt x="4800" y="9702"/>
                    <a:pt x="4891" y="9180"/>
                  </a:cubicBezTo>
                  <a:close/>
                  <a:moveTo>
                    <a:pt x="7343" y="10800"/>
                  </a:moveTo>
                  <a:cubicBezTo>
                    <a:pt x="7343" y="13185"/>
                    <a:pt x="8891" y="15120"/>
                    <a:pt x="10800" y="15120"/>
                  </a:cubicBezTo>
                  <a:cubicBezTo>
                    <a:pt x="12709" y="15120"/>
                    <a:pt x="14255" y="13185"/>
                    <a:pt x="14255" y="10800"/>
                  </a:cubicBezTo>
                  <a:cubicBezTo>
                    <a:pt x="14255" y="8415"/>
                    <a:pt x="12709" y="6480"/>
                    <a:pt x="10800" y="6480"/>
                  </a:cubicBezTo>
                  <a:cubicBezTo>
                    <a:pt x="8891" y="6480"/>
                    <a:pt x="7343" y="8415"/>
                    <a:pt x="7343" y="10800"/>
                  </a:cubicBezTo>
                  <a:close/>
                </a:path>
              </a:pathLst>
            </a:custGeom>
            <a:solidFill>
              <a:schemeClr val="bg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38100" tIns="38100" rIns="38100" bIns="38100" anchor="ctr"/>
            <a:lstStyle/>
            <a:p>
              <a:endParaRPr lang="zh-CN" altLang="en-US"/>
            </a:p>
          </p:txBody>
        </p:sp>
      </p:grpSp>
      <p:grpSp>
        <p:nvGrpSpPr>
          <p:cNvPr id="51" name="Group 16"/>
          <p:cNvGrpSpPr/>
          <p:nvPr/>
        </p:nvGrpSpPr>
        <p:grpSpPr bwMode="auto">
          <a:xfrm>
            <a:off x="5729508" y="2233347"/>
            <a:ext cx="1056000" cy="1056000"/>
            <a:chOff x="5323379" y="2042478"/>
            <a:chExt cx="1343381" cy="1343797"/>
          </a:xfrm>
        </p:grpSpPr>
        <p:sp>
          <p:nvSpPr>
            <p:cNvPr id="52" name="Rounded Rectangle 26"/>
            <p:cNvSpPr/>
            <p:nvPr/>
          </p:nvSpPr>
          <p:spPr bwMode="auto">
            <a:xfrm rot="18900000" flipV="1">
              <a:off x="5323379" y="2042478"/>
              <a:ext cx="1343381" cy="1343797"/>
            </a:xfrm>
            <a:prstGeom prst="roundRect">
              <a:avLst>
                <a:gd name="adj" fmla="val 9646"/>
              </a:avLst>
            </a:prstGeom>
            <a:solidFill>
              <a:schemeClr val="bg2">
                <a:lumMod val="75000"/>
              </a:schemeClr>
            </a:solidFill>
            <a:ln w="9525">
              <a:noFill/>
              <a:rou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913130" fontAlgn="base">
                <a:spcBef>
                  <a:spcPct val="0"/>
                </a:spcBef>
                <a:spcAft>
                  <a:spcPct val="0"/>
                </a:spcAft>
                <a:defRPr>
                  <a:solidFill>
                    <a:schemeClr val="tx1"/>
                  </a:solidFill>
                  <a:latin typeface="Calibri" panose="020F0502020204030204" pitchFamily="34" charset="0"/>
                </a:defRPr>
              </a:lvl6pPr>
              <a:lvl7pPr marL="2971800" indent="-228600" defTabSz="913130" fontAlgn="base">
                <a:spcBef>
                  <a:spcPct val="0"/>
                </a:spcBef>
                <a:spcAft>
                  <a:spcPct val="0"/>
                </a:spcAft>
                <a:defRPr>
                  <a:solidFill>
                    <a:schemeClr val="tx1"/>
                  </a:solidFill>
                  <a:latin typeface="Calibri" panose="020F0502020204030204" pitchFamily="34" charset="0"/>
                </a:defRPr>
              </a:lvl7pPr>
              <a:lvl8pPr marL="3429000" indent="-228600" defTabSz="913130" fontAlgn="base">
                <a:spcBef>
                  <a:spcPct val="0"/>
                </a:spcBef>
                <a:spcAft>
                  <a:spcPct val="0"/>
                </a:spcAft>
                <a:defRPr>
                  <a:solidFill>
                    <a:schemeClr val="tx1"/>
                  </a:solidFill>
                  <a:latin typeface="Calibri" panose="020F0502020204030204" pitchFamily="34" charset="0"/>
                </a:defRPr>
              </a:lvl8pPr>
              <a:lvl9pPr marL="3886200" indent="-228600" defTabSz="913130" fontAlgn="base">
                <a:spcBef>
                  <a:spcPct val="0"/>
                </a:spcBef>
                <a:spcAft>
                  <a:spcPct val="0"/>
                </a:spcAft>
                <a:defRPr>
                  <a:solidFill>
                    <a:schemeClr val="tx1"/>
                  </a:solidFill>
                  <a:latin typeface="Calibri" panose="020F0502020204030204" pitchFamily="34" charset="0"/>
                </a:defRPr>
              </a:lvl9pPr>
            </a:lstStyle>
            <a:p>
              <a:pPr algn="ctr" eaLnBrk="1" hangingPunct="1"/>
              <a:endParaRPr lang="zh-CN" altLang="zh-CN"/>
            </a:p>
          </p:txBody>
        </p:sp>
        <p:sp>
          <p:nvSpPr>
            <p:cNvPr id="53" name="Freeform 56"/>
            <p:cNvSpPr/>
            <p:nvPr/>
          </p:nvSpPr>
          <p:spPr bwMode="auto">
            <a:xfrm>
              <a:off x="5667991" y="2451191"/>
              <a:ext cx="664971" cy="542729"/>
            </a:xfrm>
            <a:custGeom>
              <a:avLst/>
              <a:gdLst>
                <a:gd name="T0" fmla="*/ 534414 w 382"/>
                <a:gd name="T1" fmla="*/ 234835 h 312"/>
                <a:gd name="T2" fmla="*/ 630156 w 382"/>
                <a:gd name="T3" fmla="*/ 123506 h 312"/>
                <a:gd name="T4" fmla="*/ 414301 w 382"/>
                <a:gd name="T5" fmla="*/ 43488 h 312"/>
                <a:gd name="T6" fmla="*/ 398634 w 382"/>
                <a:gd name="T7" fmla="*/ 33051 h 312"/>
                <a:gd name="T8" fmla="*/ 398634 w 382"/>
                <a:gd name="T9" fmla="*/ 233095 h 312"/>
                <a:gd name="T10" fmla="*/ 313337 w 382"/>
                <a:gd name="T11" fmla="*/ 372256 h 312"/>
                <a:gd name="T12" fmla="*/ 149706 w 382"/>
                <a:gd name="T13" fmla="*/ 328769 h 312"/>
                <a:gd name="T14" fmla="*/ 224558 w 382"/>
                <a:gd name="T15" fmla="*/ 168733 h 312"/>
                <a:gd name="T16" fmla="*/ 330745 w 382"/>
                <a:gd name="T17" fmla="*/ 161775 h 312"/>
                <a:gd name="T18" fmla="*/ 330745 w 382"/>
                <a:gd name="T19" fmla="*/ 6958 h 312"/>
                <a:gd name="T20" fmla="*/ 268077 w 382"/>
                <a:gd name="T21" fmla="*/ 0 h 312"/>
                <a:gd name="T22" fmla="*/ 0 w 382"/>
                <a:gd name="T23" fmla="*/ 271365 h 312"/>
                <a:gd name="T24" fmla="*/ 268077 w 382"/>
                <a:gd name="T25" fmla="*/ 542729 h 312"/>
                <a:gd name="T26" fmla="*/ 536155 w 382"/>
                <a:gd name="T27" fmla="*/ 271365 h 312"/>
                <a:gd name="T28" fmla="*/ 534414 w 382"/>
                <a:gd name="T29" fmla="*/ 234835 h 3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82" h="312">
                  <a:moveTo>
                    <a:pt x="307" y="135"/>
                  </a:moveTo>
                  <a:cubicBezTo>
                    <a:pt x="354" y="122"/>
                    <a:pt x="382" y="72"/>
                    <a:pt x="362" y="71"/>
                  </a:cubicBezTo>
                  <a:cubicBezTo>
                    <a:pt x="311" y="68"/>
                    <a:pt x="267" y="43"/>
                    <a:pt x="238" y="25"/>
                  </a:cubicBezTo>
                  <a:cubicBezTo>
                    <a:pt x="235" y="23"/>
                    <a:pt x="232" y="21"/>
                    <a:pt x="229" y="19"/>
                  </a:cubicBezTo>
                  <a:cubicBezTo>
                    <a:pt x="229" y="134"/>
                    <a:pt x="229" y="134"/>
                    <a:pt x="229" y="134"/>
                  </a:cubicBezTo>
                  <a:cubicBezTo>
                    <a:pt x="229" y="172"/>
                    <a:pt x="206" y="202"/>
                    <a:pt x="180" y="214"/>
                  </a:cubicBezTo>
                  <a:cubicBezTo>
                    <a:pt x="142" y="233"/>
                    <a:pt x="100" y="221"/>
                    <a:pt x="86" y="189"/>
                  </a:cubicBezTo>
                  <a:cubicBezTo>
                    <a:pt x="72" y="157"/>
                    <a:pt x="91" y="116"/>
                    <a:pt x="129" y="97"/>
                  </a:cubicBezTo>
                  <a:cubicBezTo>
                    <a:pt x="150" y="87"/>
                    <a:pt x="172" y="86"/>
                    <a:pt x="190" y="93"/>
                  </a:cubicBezTo>
                  <a:cubicBezTo>
                    <a:pt x="190" y="4"/>
                    <a:pt x="190" y="4"/>
                    <a:pt x="190" y="4"/>
                  </a:cubicBezTo>
                  <a:cubicBezTo>
                    <a:pt x="178" y="1"/>
                    <a:pt x="166" y="0"/>
                    <a:pt x="154" y="0"/>
                  </a:cubicBezTo>
                  <a:cubicBezTo>
                    <a:pt x="69" y="0"/>
                    <a:pt x="0" y="70"/>
                    <a:pt x="0" y="156"/>
                  </a:cubicBezTo>
                  <a:cubicBezTo>
                    <a:pt x="0" y="242"/>
                    <a:pt x="69" y="312"/>
                    <a:pt x="154" y="312"/>
                  </a:cubicBezTo>
                  <a:cubicBezTo>
                    <a:pt x="239" y="312"/>
                    <a:pt x="308" y="242"/>
                    <a:pt x="308" y="156"/>
                  </a:cubicBezTo>
                  <a:cubicBezTo>
                    <a:pt x="308" y="149"/>
                    <a:pt x="308" y="142"/>
                    <a:pt x="307" y="135"/>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p:cTn id="7" dur="500" fill="hold"/>
                                        <p:tgtEl>
                                          <p:spTgt spid="48"/>
                                        </p:tgtEl>
                                        <p:attrNameLst>
                                          <p:attrName>ppt_w</p:attrName>
                                        </p:attrNameLst>
                                      </p:cBhvr>
                                      <p:tavLst>
                                        <p:tav tm="0">
                                          <p:val>
                                            <p:fltVal val="0"/>
                                          </p:val>
                                        </p:tav>
                                        <p:tav tm="100000">
                                          <p:val>
                                            <p:strVal val="#ppt_w"/>
                                          </p:val>
                                        </p:tav>
                                      </p:tavLst>
                                    </p:anim>
                                    <p:anim calcmode="lin" valueType="num">
                                      <p:cBhvr>
                                        <p:cTn id="8" dur="500" fill="hold"/>
                                        <p:tgtEl>
                                          <p:spTgt spid="48"/>
                                        </p:tgtEl>
                                        <p:attrNameLst>
                                          <p:attrName>ppt_h</p:attrName>
                                        </p:attrNameLst>
                                      </p:cBhvr>
                                      <p:tavLst>
                                        <p:tav tm="0">
                                          <p:val>
                                            <p:fltVal val="0"/>
                                          </p:val>
                                        </p:tav>
                                        <p:tav tm="100000">
                                          <p:val>
                                            <p:strVal val="#ppt_h"/>
                                          </p:val>
                                        </p:tav>
                                      </p:tavLst>
                                    </p:anim>
                                    <p:animEffect transition="in" filter="fade">
                                      <p:cBhvr>
                                        <p:cTn id="9" dur="500"/>
                                        <p:tgtEl>
                                          <p:spTgt spid="48"/>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wipe(right)">
                                      <p:cBhvr>
                                        <p:cTn id="13" dur="500"/>
                                        <p:tgtEl>
                                          <p:spTgt spid="27"/>
                                        </p:tgtEl>
                                      </p:cBhvr>
                                    </p:animEffect>
                                  </p:childTnLst>
                                </p:cTn>
                              </p:par>
                            </p:childTnLst>
                          </p:cTn>
                        </p:par>
                        <p:par>
                          <p:cTn id="14" fill="hold">
                            <p:stCondLst>
                              <p:cond delay="1000"/>
                            </p:stCondLst>
                            <p:childTnLst>
                              <p:par>
                                <p:cTn id="15" presetID="22" presetClass="entr" presetSubtype="8"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par>
                          <p:cTn id="18" fill="hold">
                            <p:stCondLst>
                              <p:cond delay="1500"/>
                            </p:stCondLst>
                            <p:childTnLst>
                              <p:par>
                                <p:cTn id="19" presetID="53" presetClass="entr" presetSubtype="16" fill="hold" nodeType="afterEffect">
                                  <p:stCondLst>
                                    <p:cond delay="0"/>
                                  </p:stCondLst>
                                  <p:childTnLst>
                                    <p:set>
                                      <p:cBhvr>
                                        <p:cTn id="20" dur="1" fill="hold">
                                          <p:stCondLst>
                                            <p:cond delay="0"/>
                                          </p:stCondLst>
                                        </p:cTn>
                                        <p:tgtEl>
                                          <p:spTgt spid="51"/>
                                        </p:tgtEl>
                                        <p:attrNameLst>
                                          <p:attrName>style.visibility</p:attrName>
                                        </p:attrNameLst>
                                      </p:cBhvr>
                                      <p:to>
                                        <p:strVal val="visible"/>
                                      </p:to>
                                    </p:set>
                                    <p:anim calcmode="lin" valueType="num">
                                      <p:cBhvr>
                                        <p:cTn id="21" dur="500" fill="hold"/>
                                        <p:tgtEl>
                                          <p:spTgt spid="51"/>
                                        </p:tgtEl>
                                        <p:attrNameLst>
                                          <p:attrName>ppt_w</p:attrName>
                                        </p:attrNameLst>
                                      </p:cBhvr>
                                      <p:tavLst>
                                        <p:tav tm="0">
                                          <p:val>
                                            <p:fltVal val="0"/>
                                          </p:val>
                                        </p:tav>
                                        <p:tav tm="100000">
                                          <p:val>
                                            <p:strVal val="#ppt_w"/>
                                          </p:val>
                                        </p:tav>
                                      </p:tavLst>
                                    </p:anim>
                                    <p:anim calcmode="lin" valueType="num">
                                      <p:cBhvr>
                                        <p:cTn id="22" dur="500" fill="hold"/>
                                        <p:tgtEl>
                                          <p:spTgt spid="51"/>
                                        </p:tgtEl>
                                        <p:attrNameLst>
                                          <p:attrName>ppt_h</p:attrName>
                                        </p:attrNameLst>
                                      </p:cBhvr>
                                      <p:tavLst>
                                        <p:tav tm="0">
                                          <p:val>
                                            <p:fltVal val="0"/>
                                          </p:val>
                                        </p:tav>
                                        <p:tav tm="100000">
                                          <p:val>
                                            <p:strVal val="#ppt_h"/>
                                          </p:val>
                                        </p:tav>
                                      </p:tavLst>
                                    </p:anim>
                                    <p:animEffect transition="in" filter="fade">
                                      <p:cBhvr>
                                        <p:cTn id="23" dur="500"/>
                                        <p:tgtEl>
                                          <p:spTgt spid="51"/>
                                        </p:tgtEl>
                                      </p:cBhvr>
                                    </p:animEffec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childTnLst>
                          </p:cTn>
                        </p:par>
                        <p:par>
                          <p:cTn id="28" fill="hold">
                            <p:stCondLst>
                              <p:cond delay="2500"/>
                            </p:stCondLst>
                            <p:childTnLst>
                              <p:par>
                                <p:cTn id="29" presetID="22" presetClass="entr" presetSubtype="1"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up)">
                                      <p:cBhvr>
                                        <p:cTn id="31" dur="500"/>
                                        <p:tgtEl>
                                          <p:spTgt spid="12"/>
                                        </p:tgtEl>
                                      </p:cBhvr>
                                    </p:animEffect>
                                  </p:childTnLst>
                                </p:cTn>
                              </p:par>
                            </p:childTnLst>
                          </p:cTn>
                        </p:par>
                        <p:par>
                          <p:cTn id="32" fill="hold">
                            <p:stCondLst>
                              <p:cond delay="3000"/>
                            </p:stCondLst>
                            <p:childTnLst>
                              <p:par>
                                <p:cTn id="33" presetID="53" presetClass="entr" presetSubtype="16"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500" fill="hold"/>
                                        <p:tgtEl>
                                          <p:spTgt spid="30"/>
                                        </p:tgtEl>
                                        <p:attrNameLst>
                                          <p:attrName>ppt_w</p:attrName>
                                        </p:attrNameLst>
                                      </p:cBhvr>
                                      <p:tavLst>
                                        <p:tav tm="0">
                                          <p:val>
                                            <p:fltVal val="0"/>
                                          </p:val>
                                        </p:tav>
                                        <p:tav tm="100000">
                                          <p:val>
                                            <p:strVal val="#ppt_w"/>
                                          </p:val>
                                        </p:tav>
                                      </p:tavLst>
                                    </p:anim>
                                    <p:anim calcmode="lin" valueType="num">
                                      <p:cBhvr>
                                        <p:cTn id="36" dur="500" fill="hold"/>
                                        <p:tgtEl>
                                          <p:spTgt spid="30"/>
                                        </p:tgtEl>
                                        <p:attrNameLst>
                                          <p:attrName>ppt_h</p:attrName>
                                        </p:attrNameLst>
                                      </p:cBhvr>
                                      <p:tavLst>
                                        <p:tav tm="0">
                                          <p:val>
                                            <p:fltVal val="0"/>
                                          </p:val>
                                        </p:tav>
                                        <p:tav tm="100000">
                                          <p:val>
                                            <p:strVal val="#ppt_h"/>
                                          </p:val>
                                        </p:tav>
                                      </p:tavLst>
                                    </p:anim>
                                    <p:animEffect transition="in" filter="fade">
                                      <p:cBhvr>
                                        <p:cTn id="37" dur="500"/>
                                        <p:tgtEl>
                                          <p:spTgt spid="30"/>
                                        </p:tgtEl>
                                      </p:cBhvr>
                                    </p:animEffec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wipe(left)">
                                      <p:cBhvr>
                                        <p:cTn id="41" dur="500"/>
                                        <p:tgtEl>
                                          <p:spTgt spid="21"/>
                                        </p:tgtEl>
                                      </p:cBhvr>
                                    </p:animEffect>
                                  </p:childTnLst>
                                </p:cTn>
                              </p:par>
                            </p:childTnLst>
                          </p:cTn>
                        </p:par>
                        <p:par>
                          <p:cTn id="42" fill="hold">
                            <p:stCondLst>
                              <p:cond delay="4000"/>
                            </p:stCondLst>
                            <p:childTnLst>
                              <p:par>
                                <p:cTn id="43" presetID="22" presetClass="entr" presetSubtype="1" fill="hold" nodeType="after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up)">
                                      <p:cBhvr>
                                        <p:cTn id="45" dur="500"/>
                                        <p:tgtEl>
                                          <p:spTgt spid="15"/>
                                        </p:tgtEl>
                                      </p:cBhvr>
                                    </p:animEffect>
                                  </p:childTnLst>
                                </p:cTn>
                              </p:par>
                            </p:childTnLst>
                          </p:cTn>
                        </p:par>
                        <p:par>
                          <p:cTn id="46" fill="hold">
                            <p:stCondLst>
                              <p:cond delay="4500"/>
                            </p:stCondLst>
                            <p:childTnLst>
                              <p:par>
                                <p:cTn id="47" presetID="53" presetClass="entr" presetSubtype="16"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anim calcmode="lin" valueType="num">
                                      <p:cBhvr>
                                        <p:cTn id="49" dur="500" fill="hold"/>
                                        <p:tgtEl>
                                          <p:spTgt spid="45"/>
                                        </p:tgtEl>
                                        <p:attrNameLst>
                                          <p:attrName>ppt_w</p:attrName>
                                        </p:attrNameLst>
                                      </p:cBhvr>
                                      <p:tavLst>
                                        <p:tav tm="0">
                                          <p:val>
                                            <p:fltVal val="0"/>
                                          </p:val>
                                        </p:tav>
                                        <p:tav tm="100000">
                                          <p:val>
                                            <p:strVal val="#ppt_w"/>
                                          </p:val>
                                        </p:tav>
                                      </p:tavLst>
                                    </p:anim>
                                    <p:anim calcmode="lin" valueType="num">
                                      <p:cBhvr>
                                        <p:cTn id="50" dur="500" fill="hold"/>
                                        <p:tgtEl>
                                          <p:spTgt spid="45"/>
                                        </p:tgtEl>
                                        <p:attrNameLst>
                                          <p:attrName>ppt_h</p:attrName>
                                        </p:attrNameLst>
                                      </p:cBhvr>
                                      <p:tavLst>
                                        <p:tav tm="0">
                                          <p:val>
                                            <p:fltVal val="0"/>
                                          </p:val>
                                        </p:tav>
                                        <p:tav tm="100000">
                                          <p:val>
                                            <p:strVal val="#ppt_h"/>
                                          </p:val>
                                        </p:tav>
                                      </p:tavLst>
                                    </p:anim>
                                    <p:animEffect transition="in" filter="fade">
                                      <p:cBhvr>
                                        <p:cTn id="51" dur="500"/>
                                        <p:tgtEl>
                                          <p:spTgt spid="45"/>
                                        </p:tgtEl>
                                      </p:cBhvr>
                                    </p:animEffect>
                                  </p:childTnLst>
                                </p:cTn>
                              </p:par>
                            </p:childTnLst>
                          </p:cTn>
                        </p:par>
                        <p:par>
                          <p:cTn id="52" fill="hold">
                            <p:stCondLst>
                              <p:cond delay="5000"/>
                            </p:stCondLst>
                            <p:childTnLst>
                              <p:par>
                                <p:cTn id="53" presetID="22" presetClass="entr" presetSubtype="2" fill="hold" nodeType="after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wipe(right)">
                                      <p:cBhvr>
                                        <p:cTn id="55" dur="500"/>
                                        <p:tgtEl>
                                          <p:spTgt spid="24"/>
                                        </p:tgtEl>
                                      </p:cBhvr>
                                    </p:animEffect>
                                  </p:childTnLst>
                                </p:cTn>
                              </p:par>
                            </p:childTnLst>
                          </p:cTn>
                        </p:par>
                        <p:par>
                          <p:cTn id="56" fill="hold">
                            <p:stCondLst>
                              <p:cond delay="5500"/>
                            </p:stCondLst>
                            <p:childTnLst>
                              <p:par>
                                <p:cTn id="57" presetID="22" presetClass="entr" presetSubtype="4" fill="hold" nodeType="after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down)">
                                      <p:cBhvr>
                                        <p:cTn id="5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a:spLocks noChangeArrowheads="1"/>
          </p:cNvSpPr>
          <p:nvPr/>
        </p:nvSpPr>
        <p:spPr bwMode="auto">
          <a:xfrm>
            <a:off x="2205585" y="1359350"/>
            <a:ext cx="7209367" cy="45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eaLnBrk="1" hangingPunct="1">
              <a:spcBef>
                <a:spcPct val="0"/>
              </a:spcBef>
              <a:buFontTx/>
              <a:buNone/>
            </a:pPr>
            <a:r>
              <a:rPr lang="zh-CN" altLang="en-US" sz="2100" b="1" dirty="0">
                <a:solidFill>
                  <a:srgbClr val="C00000"/>
                </a:solidFill>
                <a:latin typeface="微软雅黑" panose="020B0503020204020204" pitchFamily="34" charset="-122"/>
              </a:rPr>
              <a:t>产品简介</a:t>
            </a:r>
            <a:endParaRPr lang="en-US" altLang="zh-CN" sz="2100" b="1" dirty="0">
              <a:solidFill>
                <a:srgbClr val="C00000"/>
              </a:solidFill>
              <a:latin typeface="微软雅黑" panose="020B0503020204020204" pitchFamily="34" charset="-122"/>
            </a:endParaRPr>
          </a:p>
        </p:txBody>
      </p:sp>
      <p:cxnSp>
        <p:nvCxnSpPr>
          <p:cNvPr id="27" name="直接连接符 44"/>
          <p:cNvCxnSpPr>
            <a:cxnSpLocks noChangeShapeType="1"/>
          </p:cNvCxnSpPr>
          <p:nvPr/>
        </p:nvCxnSpPr>
        <p:spPr bwMode="auto">
          <a:xfrm>
            <a:off x="2321475" y="2756925"/>
            <a:ext cx="8640000" cy="0"/>
          </a:xfrm>
          <a:prstGeom prst="line">
            <a:avLst/>
          </a:prstGeom>
          <a:noFill/>
          <a:ln w="9525">
            <a:solidFill>
              <a:schemeClr val="tx1"/>
            </a:solidFill>
            <a:prstDash val="dash"/>
            <a:round/>
          </a:ln>
          <a:extLst>
            <a:ext uri="{909E8E84-426E-40DD-AFC4-6F175D3DCCD1}">
              <a14:hiddenFill xmlns:a14="http://schemas.microsoft.com/office/drawing/2010/main">
                <a:noFill/>
              </a14:hiddenFill>
            </a:ext>
          </a:extLst>
        </p:spPr>
      </p:cxnSp>
      <p:grpSp>
        <p:nvGrpSpPr>
          <p:cNvPr id="28" name="组合 48"/>
          <p:cNvGrpSpPr/>
          <p:nvPr/>
        </p:nvGrpSpPr>
        <p:grpSpPr bwMode="auto">
          <a:xfrm>
            <a:off x="719404" y="1451171"/>
            <a:ext cx="864000" cy="864000"/>
            <a:chOff x="0" y="0"/>
            <a:chExt cx="554400" cy="554400"/>
          </a:xfrm>
        </p:grpSpPr>
        <p:sp>
          <p:nvSpPr>
            <p:cNvPr id="29" name="椭圆 49"/>
            <p:cNvSpPr>
              <a:spLocks noChangeArrowheads="1"/>
            </p:cNvSpPr>
            <p:nvPr/>
          </p:nvSpPr>
          <p:spPr bwMode="auto">
            <a:xfrm>
              <a:off x="0" y="0"/>
              <a:ext cx="554400" cy="554400"/>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gn="ctr" eaLnBrk="1" hangingPunct="1">
                <a:spcBef>
                  <a:spcPct val="0"/>
                </a:spcBef>
                <a:buFontTx/>
                <a:buNone/>
              </a:pPr>
              <a:endParaRPr lang="zh-CN" altLang="en-US" sz="2400">
                <a:solidFill>
                  <a:srgbClr val="FFFFFF"/>
                </a:solidFill>
                <a:latin typeface="微软雅黑" panose="020B0503020204020204" pitchFamily="34" charset="-122"/>
              </a:endParaRPr>
            </a:p>
          </p:txBody>
        </p:sp>
        <p:sp>
          <p:nvSpPr>
            <p:cNvPr id="30" name="Freeform 13"/>
            <p:cNvSpPr>
              <a:spLocks noEditPoints="1"/>
            </p:cNvSpPr>
            <p:nvPr/>
          </p:nvSpPr>
          <p:spPr bwMode="auto">
            <a:xfrm>
              <a:off x="179197" y="101819"/>
              <a:ext cx="207831" cy="350762"/>
            </a:xfrm>
            <a:custGeom>
              <a:avLst/>
              <a:gdLst>
                <a:gd name="T0" fmla="*/ 2147483646 w 122"/>
                <a:gd name="T1" fmla="*/ 2147483646 h 225"/>
                <a:gd name="T2" fmla="*/ 2147483646 w 122"/>
                <a:gd name="T3" fmla="*/ 2147483646 h 225"/>
                <a:gd name="T4" fmla="*/ 2147483646 w 122"/>
                <a:gd name="T5" fmla="*/ 2147483646 h 225"/>
                <a:gd name="T6" fmla="*/ 2147483646 w 122"/>
                <a:gd name="T7" fmla="*/ 2147483646 h 225"/>
                <a:gd name="T8" fmla="*/ 2147483646 w 122"/>
                <a:gd name="T9" fmla="*/ 2147483646 h 225"/>
                <a:gd name="T10" fmla="*/ 2147483646 w 122"/>
                <a:gd name="T11" fmla="*/ 2147483646 h 225"/>
                <a:gd name="T12" fmla="*/ 2147483646 w 122"/>
                <a:gd name="T13" fmla="*/ 2147483646 h 225"/>
                <a:gd name="T14" fmla="*/ 2147483646 w 122"/>
                <a:gd name="T15" fmla="*/ 2147483646 h 225"/>
                <a:gd name="T16" fmla="*/ 2147483646 w 122"/>
                <a:gd name="T17" fmla="*/ 2147483646 h 225"/>
                <a:gd name="T18" fmla="*/ 2147483646 w 122"/>
                <a:gd name="T19" fmla="*/ 2147483646 h 225"/>
                <a:gd name="T20" fmla="*/ 2147483646 w 122"/>
                <a:gd name="T21" fmla="*/ 2147483646 h 225"/>
                <a:gd name="T22" fmla="*/ 2147483646 w 122"/>
                <a:gd name="T23" fmla="*/ 2147483646 h 225"/>
                <a:gd name="T24" fmla="*/ 2147483646 w 122"/>
                <a:gd name="T25" fmla="*/ 2147483646 h 225"/>
                <a:gd name="T26" fmla="*/ 2147483646 w 122"/>
                <a:gd name="T27" fmla="*/ 2147483646 h 225"/>
                <a:gd name="T28" fmla="*/ 2147483646 w 122"/>
                <a:gd name="T29" fmla="*/ 2147483646 h 225"/>
                <a:gd name="T30" fmla="*/ 2147483646 w 122"/>
                <a:gd name="T31" fmla="*/ 2147483646 h 225"/>
                <a:gd name="T32" fmla="*/ 2147483646 w 122"/>
                <a:gd name="T33" fmla="*/ 2147483646 h 225"/>
                <a:gd name="T34" fmla="*/ 2147483646 w 122"/>
                <a:gd name="T35" fmla="*/ 2147483646 h 225"/>
                <a:gd name="T36" fmla="*/ 2147483646 w 122"/>
                <a:gd name="T37" fmla="*/ 2147483646 h 225"/>
                <a:gd name="T38" fmla="*/ 2147483646 w 122"/>
                <a:gd name="T39" fmla="*/ 2147483646 h 225"/>
                <a:gd name="T40" fmla="*/ 2147483646 w 122"/>
                <a:gd name="T41" fmla="*/ 2147483646 h 225"/>
                <a:gd name="T42" fmla="*/ 2147483646 w 122"/>
                <a:gd name="T43" fmla="*/ 2147483646 h 225"/>
                <a:gd name="T44" fmla="*/ 2147483646 w 122"/>
                <a:gd name="T45" fmla="*/ 2147483646 h 225"/>
                <a:gd name="T46" fmla="*/ 2147483646 w 122"/>
                <a:gd name="T47" fmla="*/ 2147483646 h 225"/>
                <a:gd name="T48" fmla="*/ 2147483646 w 122"/>
                <a:gd name="T49" fmla="*/ 2147483646 h 225"/>
                <a:gd name="T50" fmla="*/ 2147483646 w 122"/>
                <a:gd name="T51" fmla="*/ 2147483646 h 225"/>
                <a:gd name="T52" fmla="*/ 2147483646 w 122"/>
                <a:gd name="T53" fmla="*/ 2147483646 h 225"/>
                <a:gd name="T54" fmla="*/ 2147483646 w 122"/>
                <a:gd name="T55" fmla="*/ 2147483646 h 225"/>
                <a:gd name="T56" fmla="*/ 2147483646 w 122"/>
                <a:gd name="T57" fmla="*/ 2147483646 h 225"/>
                <a:gd name="T58" fmla="*/ 2147483646 w 122"/>
                <a:gd name="T59" fmla="*/ 2147483646 h 225"/>
                <a:gd name="T60" fmla="*/ 2147483646 w 122"/>
                <a:gd name="T61" fmla="*/ 2147483646 h 225"/>
                <a:gd name="T62" fmla="*/ 2147483646 w 122"/>
                <a:gd name="T63" fmla="*/ 2147483646 h 225"/>
                <a:gd name="T64" fmla="*/ 2147483646 w 122"/>
                <a:gd name="T65" fmla="*/ 2147483646 h 225"/>
                <a:gd name="T66" fmla="*/ 2147483646 w 122"/>
                <a:gd name="T67" fmla="*/ 2147483646 h 225"/>
                <a:gd name="T68" fmla="*/ 2147483646 w 122"/>
                <a:gd name="T69" fmla="*/ 2147483646 h 225"/>
                <a:gd name="T70" fmla="*/ 2147483646 w 122"/>
                <a:gd name="T71" fmla="*/ 2147483646 h 225"/>
                <a:gd name="T72" fmla="*/ 2147483646 w 122"/>
                <a:gd name="T73" fmla="*/ 2147483646 h 225"/>
                <a:gd name="T74" fmla="*/ 2147483646 w 122"/>
                <a:gd name="T75" fmla="*/ 2147483646 h 225"/>
                <a:gd name="T76" fmla="*/ 2147483646 w 122"/>
                <a:gd name="T77" fmla="*/ 2147483646 h 225"/>
                <a:gd name="T78" fmla="*/ 2147483646 w 122"/>
                <a:gd name="T79" fmla="*/ 2147483646 h 225"/>
                <a:gd name="T80" fmla="*/ 2147483646 w 122"/>
                <a:gd name="T81" fmla="*/ 2147483646 h 225"/>
                <a:gd name="T82" fmla="*/ 2147483646 w 122"/>
                <a:gd name="T83" fmla="*/ 2147483646 h 225"/>
                <a:gd name="T84" fmla="*/ 2147483646 w 122"/>
                <a:gd name="T85" fmla="*/ 2147483646 h 225"/>
                <a:gd name="T86" fmla="*/ 2147483646 w 122"/>
                <a:gd name="T87" fmla="*/ 2147483646 h 225"/>
                <a:gd name="T88" fmla="*/ 2147483646 w 122"/>
                <a:gd name="T89" fmla="*/ 2147483646 h 225"/>
                <a:gd name="T90" fmla="*/ 2147483646 w 122"/>
                <a:gd name="T91" fmla="*/ 2147483646 h 225"/>
                <a:gd name="T92" fmla="*/ 2147483646 w 122"/>
                <a:gd name="T93" fmla="*/ 2147483646 h 225"/>
                <a:gd name="T94" fmla="*/ 2147483646 w 122"/>
                <a:gd name="T95" fmla="*/ 2147483646 h 225"/>
                <a:gd name="T96" fmla="*/ 2147483646 w 122"/>
                <a:gd name="T97" fmla="*/ 2147483646 h 225"/>
                <a:gd name="T98" fmla="*/ 2147483646 w 122"/>
                <a:gd name="T99" fmla="*/ 2147483646 h 225"/>
                <a:gd name="T100" fmla="*/ 2147483646 w 122"/>
                <a:gd name="T101" fmla="*/ 2147483646 h 225"/>
                <a:gd name="T102" fmla="*/ 2147483646 w 122"/>
                <a:gd name="T103" fmla="*/ 2147483646 h 225"/>
                <a:gd name="T104" fmla="*/ 2147483646 w 122"/>
                <a:gd name="T105" fmla="*/ 2147483646 h 225"/>
                <a:gd name="T106" fmla="*/ 2147483646 w 122"/>
                <a:gd name="T107" fmla="*/ 2147483646 h 225"/>
                <a:gd name="T108" fmla="*/ 2147483646 w 122"/>
                <a:gd name="T109" fmla="*/ 2147483646 h 225"/>
                <a:gd name="T110" fmla="*/ 2147483646 w 122"/>
                <a:gd name="T111" fmla="*/ 2147483646 h 225"/>
                <a:gd name="T112" fmla="*/ 2147483646 w 122"/>
                <a:gd name="T113" fmla="*/ 2147483646 h 225"/>
                <a:gd name="T114" fmla="*/ 2147483646 w 122"/>
                <a:gd name="T115" fmla="*/ 2147483646 h 225"/>
                <a:gd name="T116" fmla="*/ 2147483646 w 122"/>
                <a:gd name="T117" fmla="*/ 2147483646 h 225"/>
                <a:gd name="T118" fmla="*/ 2147483646 w 122"/>
                <a:gd name="T119" fmla="*/ 2147483646 h 225"/>
                <a:gd name="T120" fmla="*/ 2147483646 w 122"/>
                <a:gd name="T121" fmla="*/ 2147483646 h 225"/>
                <a:gd name="T122" fmla="*/ 2147483646 w 122"/>
                <a:gd name="T123" fmla="*/ 2147483646 h 2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68571" tIns="34286" rIns="68571" bIns="34286"/>
            <a:lstStyle/>
            <a:p>
              <a:endParaRPr lang="zh-CN" altLang="en-US">
                <a:latin typeface="微软雅黑" panose="020B0503020204020204" pitchFamily="34" charset="-122"/>
                <a:ea typeface="微软雅黑" panose="020B0503020204020204" pitchFamily="34" charset="-122"/>
              </a:endParaRPr>
            </a:p>
          </p:txBody>
        </p:sp>
      </p:grpSp>
      <p:sp>
        <p:nvSpPr>
          <p:cNvPr id="31" name="TextBox 25"/>
          <p:cNvSpPr txBox="1">
            <a:spLocks noChangeArrowheads="1"/>
          </p:cNvSpPr>
          <p:nvPr/>
        </p:nvSpPr>
        <p:spPr bwMode="auto">
          <a:xfrm>
            <a:off x="2205584" y="1816564"/>
            <a:ext cx="8594939" cy="861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nSpc>
                <a:spcPct val="150000"/>
              </a:lnSpc>
              <a:spcBef>
                <a:spcPct val="0"/>
              </a:spcBef>
              <a:buNone/>
            </a:pPr>
            <a:r>
              <a:rPr lang="zh-CN" altLang="en-US" sz="1600" b="1" dirty="0">
                <a:solidFill>
                  <a:schemeClr val="tx1">
                    <a:lumMod val="75000"/>
                    <a:lumOff val="25000"/>
                  </a:schemeClr>
                </a:solidFill>
                <a:latin typeface="微软雅黑" panose="020B0503020204020204" pitchFamily="34" charset="-122"/>
              </a:rPr>
              <a:t>是指我行向已中标并与政府签订采购合同的企业发放的，以政府财政性资金作为还款来源的流动资金贷款业务。</a:t>
            </a:r>
            <a:endParaRPr lang="zh-CN" altLang="en-US" sz="1600" b="1" dirty="0">
              <a:solidFill>
                <a:schemeClr val="tx1">
                  <a:lumMod val="75000"/>
                  <a:lumOff val="25000"/>
                </a:schemeClr>
              </a:solidFill>
              <a:latin typeface="微软雅黑" panose="020B0503020204020204" pitchFamily="34" charset="-122"/>
            </a:endParaRPr>
          </a:p>
        </p:txBody>
      </p:sp>
      <p:sp>
        <p:nvSpPr>
          <p:cNvPr id="32" name="TextBox 25"/>
          <p:cNvSpPr txBox="1">
            <a:spLocks noChangeArrowheads="1"/>
          </p:cNvSpPr>
          <p:nvPr/>
        </p:nvSpPr>
        <p:spPr bwMode="auto">
          <a:xfrm>
            <a:off x="2205583" y="3140968"/>
            <a:ext cx="7209367" cy="45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eaLnBrk="1" hangingPunct="1">
              <a:spcBef>
                <a:spcPct val="0"/>
              </a:spcBef>
              <a:buFontTx/>
              <a:buNone/>
            </a:pPr>
            <a:r>
              <a:rPr lang="zh-CN" altLang="en-US" sz="2100" b="1" dirty="0">
                <a:solidFill>
                  <a:srgbClr val="C00000"/>
                </a:solidFill>
                <a:latin typeface="微软雅黑" panose="020B0503020204020204" pitchFamily="34" charset="-122"/>
              </a:rPr>
              <a:t>适用对象</a:t>
            </a:r>
            <a:endParaRPr lang="en-US" altLang="zh-CN" sz="2100" b="1" dirty="0">
              <a:solidFill>
                <a:srgbClr val="C00000"/>
              </a:solidFill>
              <a:latin typeface="微软雅黑" panose="020B0503020204020204" pitchFamily="34" charset="-122"/>
            </a:endParaRPr>
          </a:p>
        </p:txBody>
      </p:sp>
      <p:sp>
        <p:nvSpPr>
          <p:cNvPr id="33" name="TextBox 25"/>
          <p:cNvSpPr txBox="1">
            <a:spLocks noChangeArrowheads="1"/>
          </p:cNvSpPr>
          <p:nvPr/>
        </p:nvSpPr>
        <p:spPr bwMode="auto">
          <a:xfrm>
            <a:off x="2205584" y="3647027"/>
            <a:ext cx="8594939" cy="86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nSpc>
                <a:spcPct val="150000"/>
              </a:lnSpc>
              <a:spcBef>
                <a:spcPct val="0"/>
              </a:spcBef>
              <a:buNone/>
            </a:pPr>
            <a:r>
              <a:rPr lang="zh-CN" altLang="en-US" sz="1600" b="1" dirty="0">
                <a:solidFill>
                  <a:schemeClr val="tx1">
                    <a:lumMod val="75000"/>
                    <a:lumOff val="25000"/>
                  </a:schemeClr>
                </a:solidFill>
                <a:latin typeface="微软雅黑" panose="020B0503020204020204" pitchFamily="34" charset="-122"/>
              </a:rPr>
              <a:t>按政府采购合同约定向采购人（依法进行政府采购的国家机关、事业单位、团体组织）提供货物、工程或者服务的企业</a:t>
            </a:r>
            <a:endParaRPr lang="zh-CN" altLang="en-US" sz="1600" b="1" dirty="0">
              <a:solidFill>
                <a:schemeClr val="tx1">
                  <a:lumMod val="75000"/>
                  <a:lumOff val="25000"/>
                </a:schemeClr>
              </a:solidFill>
              <a:latin typeface="微软雅黑" panose="020B0503020204020204" pitchFamily="34" charset="-122"/>
            </a:endParaRPr>
          </a:p>
        </p:txBody>
      </p:sp>
      <p:sp>
        <p:nvSpPr>
          <p:cNvPr id="34" name="椭圆 49"/>
          <p:cNvSpPr>
            <a:spLocks noChangeArrowheads="1"/>
          </p:cNvSpPr>
          <p:nvPr/>
        </p:nvSpPr>
        <p:spPr bwMode="auto">
          <a:xfrm>
            <a:off x="719403" y="3188491"/>
            <a:ext cx="864000" cy="864000"/>
          </a:xfrm>
          <a:prstGeom prst="ellipse">
            <a:avLst/>
          </a:prstGeom>
          <a:solidFill>
            <a:srgbClr val="0070C0"/>
          </a:solidFill>
          <a:ln>
            <a:noFill/>
          </a:ln>
        </p:spPr>
        <p:txBody>
          <a:bodyPr lIns="121917" tIns="60958" rIns="121917" bIns="60958" anchor="ct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gn="ctr" eaLnBrk="1" hangingPunct="1">
              <a:spcBef>
                <a:spcPct val="0"/>
              </a:spcBef>
              <a:buFontTx/>
              <a:buNone/>
            </a:pPr>
            <a:endParaRPr lang="zh-CN" altLang="en-US" sz="2400">
              <a:solidFill>
                <a:srgbClr val="FFFFFF"/>
              </a:solidFill>
              <a:latin typeface="微软雅黑" panose="020B0503020204020204" pitchFamily="34" charset="-122"/>
            </a:endParaRPr>
          </a:p>
        </p:txBody>
      </p:sp>
      <p:grpSp>
        <p:nvGrpSpPr>
          <p:cNvPr id="35" name="Group 1491"/>
          <p:cNvGrpSpPr/>
          <p:nvPr/>
        </p:nvGrpSpPr>
        <p:grpSpPr>
          <a:xfrm>
            <a:off x="950539" y="3365576"/>
            <a:ext cx="416477" cy="491065"/>
            <a:chOff x="1279526" y="3703638"/>
            <a:chExt cx="398463" cy="465137"/>
          </a:xfrm>
          <a:solidFill>
            <a:schemeClr val="bg1"/>
          </a:solidFill>
        </p:grpSpPr>
        <p:sp>
          <p:nvSpPr>
            <p:cNvPr id="36" name="Freeform 83"/>
            <p:cNvSpPr>
              <a:spLocks noEditPoints="1"/>
            </p:cNvSpPr>
            <p:nvPr/>
          </p:nvSpPr>
          <p:spPr bwMode="auto">
            <a:xfrm>
              <a:off x="1330326" y="3703638"/>
              <a:ext cx="296863" cy="244475"/>
            </a:xfrm>
            <a:custGeom>
              <a:avLst/>
              <a:gdLst>
                <a:gd name="T0" fmla="*/ 128 w 140"/>
                <a:gd name="T1" fmla="*/ 43 h 115"/>
                <a:gd name="T2" fmla="*/ 73 w 140"/>
                <a:gd name="T3" fmla="*/ 0 h 115"/>
                <a:gd name="T4" fmla="*/ 67 w 140"/>
                <a:gd name="T5" fmla="*/ 0 h 115"/>
                <a:gd name="T6" fmla="*/ 12 w 140"/>
                <a:gd name="T7" fmla="*/ 43 h 115"/>
                <a:gd name="T8" fmla="*/ 11 w 140"/>
                <a:gd name="T9" fmla="*/ 45 h 115"/>
                <a:gd name="T10" fmla="*/ 0 w 140"/>
                <a:gd name="T11" fmla="*/ 66 h 115"/>
                <a:gd name="T12" fmla="*/ 0 w 140"/>
                <a:gd name="T13" fmla="*/ 75 h 115"/>
                <a:gd name="T14" fmla="*/ 13 w 140"/>
                <a:gd name="T15" fmla="*/ 91 h 115"/>
                <a:gd name="T16" fmla="*/ 24 w 140"/>
                <a:gd name="T17" fmla="*/ 91 h 115"/>
                <a:gd name="T18" fmla="*/ 27 w 140"/>
                <a:gd name="T19" fmla="*/ 91 h 115"/>
                <a:gd name="T20" fmla="*/ 29 w 140"/>
                <a:gd name="T21" fmla="*/ 92 h 115"/>
                <a:gd name="T22" fmla="*/ 70 w 140"/>
                <a:gd name="T23" fmla="*/ 115 h 115"/>
                <a:gd name="T24" fmla="*/ 111 w 140"/>
                <a:gd name="T25" fmla="*/ 92 h 115"/>
                <a:gd name="T26" fmla="*/ 113 w 140"/>
                <a:gd name="T27" fmla="*/ 91 h 115"/>
                <a:gd name="T28" fmla="*/ 116 w 140"/>
                <a:gd name="T29" fmla="*/ 91 h 115"/>
                <a:gd name="T30" fmla="*/ 127 w 140"/>
                <a:gd name="T31" fmla="*/ 91 h 115"/>
                <a:gd name="T32" fmla="*/ 140 w 140"/>
                <a:gd name="T33" fmla="*/ 75 h 115"/>
                <a:gd name="T34" fmla="*/ 140 w 140"/>
                <a:gd name="T35" fmla="*/ 66 h 115"/>
                <a:gd name="T36" fmla="*/ 129 w 140"/>
                <a:gd name="T37" fmla="*/ 45 h 115"/>
                <a:gd name="T38" fmla="*/ 128 w 140"/>
                <a:gd name="T39" fmla="*/ 43 h 115"/>
                <a:gd name="T40" fmla="*/ 70 w 140"/>
                <a:gd name="T41" fmla="*/ 19 h 115"/>
                <a:gd name="T42" fmla="*/ 27 w 140"/>
                <a:gd name="T43" fmla="*/ 43 h 115"/>
                <a:gd name="T44" fmla="*/ 26 w 140"/>
                <a:gd name="T45" fmla="*/ 45 h 115"/>
                <a:gd name="T46" fmla="*/ 24 w 140"/>
                <a:gd name="T47" fmla="*/ 44 h 115"/>
                <a:gd name="T48" fmla="*/ 23 w 140"/>
                <a:gd name="T49" fmla="*/ 42 h 115"/>
                <a:gd name="T50" fmla="*/ 67 w 140"/>
                <a:gd name="T51" fmla="*/ 10 h 115"/>
                <a:gd name="T52" fmla="*/ 73 w 140"/>
                <a:gd name="T53" fmla="*/ 10 h 115"/>
                <a:gd name="T54" fmla="*/ 117 w 140"/>
                <a:gd name="T55" fmla="*/ 43 h 115"/>
                <a:gd name="T56" fmla="*/ 116 w 140"/>
                <a:gd name="T57" fmla="*/ 44 h 115"/>
                <a:gd name="T58" fmla="*/ 114 w 140"/>
                <a:gd name="T59" fmla="*/ 45 h 115"/>
                <a:gd name="T60" fmla="*/ 113 w 140"/>
                <a:gd name="T61" fmla="*/ 43 h 115"/>
                <a:gd name="T62" fmla="*/ 70 w 140"/>
                <a:gd name="T63" fmla="*/ 1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15">
                  <a:moveTo>
                    <a:pt x="128" y="43"/>
                  </a:moveTo>
                  <a:cubicBezTo>
                    <a:pt x="125" y="18"/>
                    <a:pt x="102" y="0"/>
                    <a:pt x="73" y="0"/>
                  </a:cubicBezTo>
                  <a:cubicBezTo>
                    <a:pt x="67" y="0"/>
                    <a:pt x="67" y="0"/>
                    <a:pt x="67" y="0"/>
                  </a:cubicBezTo>
                  <a:cubicBezTo>
                    <a:pt x="38" y="0"/>
                    <a:pt x="15" y="18"/>
                    <a:pt x="12" y="43"/>
                  </a:cubicBezTo>
                  <a:cubicBezTo>
                    <a:pt x="12" y="44"/>
                    <a:pt x="11" y="44"/>
                    <a:pt x="11" y="45"/>
                  </a:cubicBezTo>
                  <a:cubicBezTo>
                    <a:pt x="6" y="46"/>
                    <a:pt x="0" y="51"/>
                    <a:pt x="0" y="66"/>
                  </a:cubicBezTo>
                  <a:cubicBezTo>
                    <a:pt x="0" y="75"/>
                    <a:pt x="0" y="75"/>
                    <a:pt x="0" y="75"/>
                  </a:cubicBezTo>
                  <a:cubicBezTo>
                    <a:pt x="0" y="88"/>
                    <a:pt x="9" y="91"/>
                    <a:pt x="13" y="91"/>
                  </a:cubicBezTo>
                  <a:cubicBezTo>
                    <a:pt x="24" y="91"/>
                    <a:pt x="24" y="91"/>
                    <a:pt x="24" y="91"/>
                  </a:cubicBezTo>
                  <a:cubicBezTo>
                    <a:pt x="25" y="91"/>
                    <a:pt x="26" y="91"/>
                    <a:pt x="27" y="91"/>
                  </a:cubicBezTo>
                  <a:cubicBezTo>
                    <a:pt x="28" y="91"/>
                    <a:pt x="28" y="91"/>
                    <a:pt x="29" y="92"/>
                  </a:cubicBezTo>
                  <a:cubicBezTo>
                    <a:pt x="37" y="106"/>
                    <a:pt x="53" y="115"/>
                    <a:pt x="70" y="115"/>
                  </a:cubicBezTo>
                  <a:cubicBezTo>
                    <a:pt x="87" y="115"/>
                    <a:pt x="103" y="106"/>
                    <a:pt x="111" y="92"/>
                  </a:cubicBezTo>
                  <a:cubicBezTo>
                    <a:pt x="112" y="92"/>
                    <a:pt x="112" y="91"/>
                    <a:pt x="113" y="91"/>
                  </a:cubicBezTo>
                  <a:cubicBezTo>
                    <a:pt x="114" y="90"/>
                    <a:pt x="115" y="91"/>
                    <a:pt x="116" y="91"/>
                  </a:cubicBezTo>
                  <a:cubicBezTo>
                    <a:pt x="127" y="91"/>
                    <a:pt x="127" y="91"/>
                    <a:pt x="127" y="91"/>
                  </a:cubicBezTo>
                  <a:cubicBezTo>
                    <a:pt x="131" y="91"/>
                    <a:pt x="140" y="88"/>
                    <a:pt x="140" y="75"/>
                  </a:cubicBezTo>
                  <a:cubicBezTo>
                    <a:pt x="140" y="66"/>
                    <a:pt x="140" y="66"/>
                    <a:pt x="140" y="66"/>
                  </a:cubicBezTo>
                  <a:cubicBezTo>
                    <a:pt x="140" y="51"/>
                    <a:pt x="134" y="46"/>
                    <a:pt x="129" y="45"/>
                  </a:cubicBezTo>
                  <a:cubicBezTo>
                    <a:pt x="129" y="44"/>
                    <a:pt x="128" y="44"/>
                    <a:pt x="128" y="43"/>
                  </a:cubicBezTo>
                  <a:close/>
                  <a:moveTo>
                    <a:pt x="70" y="19"/>
                  </a:moveTo>
                  <a:cubicBezTo>
                    <a:pt x="52" y="19"/>
                    <a:pt x="36" y="29"/>
                    <a:pt x="27" y="43"/>
                  </a:cubicBezTo>
                  <a:cubicBezTo>
                    <a:pt x="27" y="44"/>
                    <a:pt x="27" y="45"/>
                    <a:pt x="26" y="45"/>
                  </a:cubicBezTo>
                  <a:cubicBezTo>
                    <a:pt x="25" y="44"/>
                    <a:pt x="25" y="44"/>
                    <a:pt x="24" y="44"/>
                  </a:cubicBezTo>
                  <a:cubicBezTo>
                    <a:pt x="24" y="44"/>
                    <a:pt x="23" y="44"/>
                    <a:pt x="23" y="42"/>
                  </a:cubicBezTo>
                  <a:cubicBezTo>
                    <a:pt x="24" y="24"/>
                    <a:pt x="44" y="10"/>
                    <a:pt x="67" y="10"/>
                  </a:cubicBezTo>
                  <a:cubicBezTo>
                    <a:pt x="73" y="10"/>
                    <a:pt x="73" y="10"/>
                    <a:pt x="73" y="10"/>
                  </a:cubicBezTo>
                  <a:cubicBezTo>
                    <a:pt x="95" y="10"/>
                    <a:pt x="114" y="24"/>
                    <a:pt x="117" y="43"/>
                  </a:cubicBezTo>
                  <a:cubicBezTo>
                    <a:pt x="117" y="43"/>
                    <a:pt x="117" y="44"/>
                    <a:pt x="116" y="44"/>
                  </a:cubicBezTo>
                  <a:cubicBezTo>
                    <a:pt x="115" y="44"/>
                    <a:pt x="115" y="44"/>
                    <a:pt x="114" y="45"/>
                  </a:cubicBezTo>
                  <a:cubicBezTo>
                    <a:pt x="113" y="45"/>
                    <a:pt x="113" y="44"/>
                    <a:pt x="113" y="43"/>
                  </a:cubicBezTo>
                  <a:cubicBezTo>
                    <a:pt x="104" y="29"/>
                    <a:pt x="88" y="19"/>
                    <a:pt x="70"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AU">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7" name="Freeform 84"/>
            <p:cNvSpPr>
              <a:spLocks noEditPoints="1"/>
            </p:cNvSpPr>
            <p:nvPr/>
          </p:nvSpPr>
          <p:spPr bwMode="auto">
            <a:xfrm>
              <a:off x="1279526" y="3975100"/>
              <a:ext cx="398463" cy="193675"/>
            </a:xfrm>
            <a:custGeom>
              <a:avLst/>
              <a:gdLst>
                <a:gd name="T0" fmla="*/ 187 w 188"/>
                <a:gd name="T1" fmla="*/ 86 h 91"/>
                <a:gd name="T2" fmla="*/ 155 w 188"/>
                <a:gd name="T3" fmla="*/ 17 h 91"/>
                <a:gd name="T4" fmla="*/ 134 w 188"/>
                <a:gd name="T5" fmla="*/ 0 h 91"/>
                <a:gd name="T6" fmla="*/ 57 w 188"/>
                <a:gd name="T7" fmla="*/ 0 h 91"/>
                <a:gd name="T8" fmla="*/ 54 w 188"/>
                <a:gd name="T9" fmla="*/ 0 h 91"/>
                <a:gd name="T10" fmla="*/ 33 w 188"/>
                <a:gd name="T11" fmla="*/ 17 h 91"/>
                <a:gd name="T12" fmla="*/ 1 w 188"/>
                <a:gd name="T13" fmla="*/ 86 h 91"/>
                <a:gd name="T14" fmla="*/ 5 w 188"/>
                <a:gd name="T15" fmla="*/ 91 h 91"/>
                <a:gd name="T16" fmla="*/ 29 w 188"/>
                <a:gd name="T17" fmla="*/ 91 h 91"/>
                <a:gd name="T18" fmla="*/ 35 w 188"/>
                <a:gd name="T19" fmla="*/ 87 h 91"/>
                <a:gd name="T20" fmla="*/ 48 w 188"/>
                <a:gd name="T21" fmla="*/ 62 h 91"/>
                <a:gd name="T22" fmla="*/ 52 w 188"/>
                <a:gd name="T23" fmla="*/ 63 h 91"/>
                <a:gd name="T24" fmla="*/ 52 w 188"/>
                <a:gd name="T25" fmla="*/ 85 h 91"/>
                <a:gd name="T26" fmla="*/ 57 w 188"/>
                <a:gd name="T27" fmla="*/ 91 h 91"/>
                <a:gd name="T28" fmla="*/ 136 w 188"/>
                <a:gd name="T29" fmla="*/ 91 h 91"/>
                <a:gd name="T30" fmla="*/ 141 w 188"/>
                <a:gd name="T31" fmla="*/ 83 h 91"/>
                <a:gd name="T32" fmla="*/ 141 w 188"/>
                <a:gd name="T33" fmla="*/ 62 h 91"/>
                <a:gd name="T34" fmla="*/ 144 w 188"/>
                <a:gd name="T35" fmla="*/ 61 h 91"/>
                <a:gd name="T36" fmla="*/ 156 w 188"/>
                <a:gd name="T37" fmla="*/ 86 h 91"/>
                <a:gd name="T38" fmla="*/ 163 w 188"/>
                <a:gd name="T39" fmla="*/ 91 h 91"/>
                <a:gd name="T40" fmla="*/ 183 w 188"/>
                <a:gd name="T41" fmla="*/ 91 h 91"/>
                <a:gd name="T42" fmla="*/ 187 w 188"/>
                <a:gd name="T43" fmla="*/ 86 h 91"/>
                <a:gd name="T44" fmla="*/ 133 w 188"/>
                <a:gd name="T45" fmla="*/ 40 h 91"/>
                <a:gd name="T46" fmla="*/ 129 w 188"/>
                <a:gd name="T47" fmla="*/ 44 h 91"/>
                <a:gd name="T48" fmla="*/ 105 w 188"/>
                <a:gd name="T49" fmla="*/ 44 h 91"/>
                <a:gd name="T50" fmla="*/ 101 w 188"/>
                <a:gd name="T51" fmla="*/ 40 h 91"/>
                <a:gd name="T52" fmla="*/ 101 w 188"/>
                <a:gd name="T53" fmla="*/ 35 h 91"/>
                <a:gd name="T54" fmla="*/ 105 w 188"/>
                <a:gd name="T55" fmla="*/ 31 h 91"/>
                <a:gd name="T56" fmla="*/ 129 w 188"/>
                <a:gd name="T57" fmla="*/ 31 h 91"/>
                <a:gd name="T58" fmla="*/ 133 w 188"/>
                <a:gd name="T59" fmla="*/ 35 h 91"/>
                <a:gd name="T60" fmla="*/ 133 w 188"/>
                <a:gd name="T61"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 h="91">
                  <a:moveTo>
                    <a:pt x="187" y="86"/>
                  </a:moveTo>
                  <a:cubicBezTo>
                    <a:pt x="155" y="17"/>
                    <a:pt x="155" y="17"/>
                    <a:pt x="155" y="17"/>
                  </a:cubicBezTo>
                  <a:cubicBezTo>
                    <a:pt x="154" y="15"/>
                    <a:pt x="147" y="0"/>
                    <a:pt x="134" y="0"/>
                  </a:cubicBezTo>
                  <a:cubicBezTo>
                    <a:pt x="130" y="0"/>
                    <a:pt x="59" y="0"/>
                    <a:pt x="57" y="0"/>
                  </a:cubicBezTo>
                  <a:cubicBezTo>
                    <a:pt x="57" y="0"/>
                    <a:pt x="56" y="0"/>
                    <a:pt x="54" y="0"/>
                  </a:cubicBezTo>
                  <a:cubicBezTo>
                    <a:pt x="39" y="0"/>
                    <a:pt x="34" y="15"/>
                    <a:pt x="33" y="17"/>
                  </a:cubicBezTo>
                  <a:cubicBezTo>
                    <a:pt x="1" y="86"/>
                    <a:pt x="1" y="86"/>
                    <a:pt x="1" y="86"/>
                  </a:cubicBezTo>
                  <a:cubicBezTo>
                    <a:pt x="0" y="88"/>
                    <a:pt x="0" y="91"/>
                    <a:pt x="5" y="91"/>
                  </a:cubicBezTo>
                  <a:cubicBezTo>
                    <a:pt x="5" y="91"/>
                    <a:pt x="22" y="91"/>
                    <a:pt x="29" y="91"/>
                  </a:cubicBezTo>
                  <a:cubicBezTo>
                    <a:pt x="33" y="91"/>
                    <a:pt x="35" y="87"/>
                    <a:pt x="35" y="87"/>
                  </a:cubicBezTo>
                  <a:cubicBezTo>
                    <a:pt x="48" y="62"/>
                    <a:pt x="48" y="62"/>
                    <a:pt x="48" y="62"/>
                  </a:cubicBezTo>
                  <a:cubicBezTo>
                    <a:pt x="48" y="62"/>
                    <a:pt x="52" y="53"/>
                    <a:pt x="52" y="63"/>
                  </a:cubicBezTo>
                  <a:cubicBezTo>
                    <a:pt x="52" y="70"/>
                    <a:pt x="52" y="75"/>
                    <a:pt x="52" y="85"/>
                  </a:cubicBezTo>
                  <a:cubicBezTo>
                    <a:pt x="52" y="88"/>
                    <a:pt x="53" y="91"/>
                    <a:pt x="57" y="91"/>
                  </a:cubicBezTo>
                  <a:cubicBezTo>
                    <a:pt x="78" y="91"/>
                    <a:pt x="116" y="91"/>
                    <a:pt x="136" y="91"/>
                  </a:cubicBezTo>
                  <a:cubicBezTo>
                    <a:pt x="141" y="91"/>
                    <a:pt x="141" y="88"/>
                    <a:pt x="141" y="83"/>
                  </a:cubicBezTo>
                  <a:cubicBezTo>
                    <a:pt x="141" y="73"/>
                    <a:pt x="141" y="70"/>
                    <a:pt x="141" y="62"/>
                  </a:cubicBezTo>
                  <a:cubicBezTo>
                    <a:pt x="141" y="56"/>
                    <a:pt x="144" y="61"/>
                    <a:pt x="144" y="61"/>
                  </a:cubicBezTo>
                  <a:cubicBezTo>
                    <a:pt x="156" y="86"/>
                    <a:pt x="156" y="86"/>
                    <a:pt x="156" y="86"/>
                  </a:cubicBezTo>
                  <a:cubicBezTo>
                    <a:pt x="156" y="86"/>
                    <a:pt x="158" y="91"/>
                    <a:pt x="163" y="91"/>
                  </a:cubicBezTo>
                  <a:cubicBezTo>
                    <a:pt x="168" y="91"/>
                    <a:pt x="183" y="91"/>
                    <a:pt x="183" y="91"/>
                  </a:cubicBezTo>
                  <a:cubicBezTo>
                    <a:pt x="187" y="91"/>
                    <a:pt x="188" y="88"/>
                    <a:pt x="187" y="86"/>
                  </a:cubicBezTo>
                  <a:close/>
                  <a:moveTo>
                    <a:pt x="133" y="40"/>
                  </a:moveTo>
                  <a:cubicBezTo>
                    <a:pt x="133" y="43"/>
                    <a:pt x="131" y="44"/>
                    <a:pt x="129" y="44"/>
                  </a:cubicBezTo>
                  <a:cubicBezTo>
                    <a:pt x="105" y="44"/>
                    <a:pt x="105" y="44"/>
                    <a:pt x="105" y="44"/>
                  </a:cubicBezTo>
                  <a:cubicBezTo>
                    <a:pt x="103" y="44"/>
                    <a:pt x="101" y="43"/>
                    <a:pt x="101" y="40"/>
                  </a:cubicBezTo>
                  <a:cubicBezTo>
                    <a:pt x="101" y="35"/>
                    <a:pt x="101" y="35"/>
                    <a:pt x="101" y="35"/>
                  </a:cubicBezTo>
                  <a:cubicBezTo>
                    <a:pt x="101" y="33"/>
                    <a:pt x="103" y="31"/>
                    <a:pt x="105" y="31"/>
                  </a:cubicBezTo>
                  <a:cubicBezTo>
                    <a:pt x="129" y="31"/>
                    <a:pt x="129" y="31"/>
                    <a:pt x="129" y="31"/>
                  </a:cubicBezTo>
                  <a:cubicBezTo>
                    <a:pt x="131" y="31"/>
                    <a:pt x="133" y="33"/>
                    <a:pt x="133" y="35"/>
                  </a:cubicBezTo>
                  <a:lnTo>
                    <a:pt x="133" y="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AU">
                <a:solidFill>
                  <a:schemeClr val="tx1">
                    <a:lumMod val="50000"/>
                    <a:lumOff val="50000"/>
                  </a:schemeClr>
                </a:solidFill>
                <a:latin typeface="微软雅黑" panose="020B0503020204020204" pitchFamily="34" charset="-122"/>
                <a:ea typeface="微软雅黑" panose="020B0503020204020204" pitchFamily="34" charset="-122"/>
              </a:endParaRPr>
            </a:p>
          </p:txBody>
        </p:sp>
      </p:grpSp>
      <p:cxnSp>
        <p:nvCxnSpPr>
          <p:cNvPr id="38" name="直接连接符 44"/>
          <p:cNvCxnSpPr>
            <a:cxnSpLocks noChangeShapeType="1"/>
          </p:cNvCxnSpPr>
          <p:nvPr/>
        </p:nvCxnSpPr>
        <p:spPr bwMode="auto">
          <a:xfrm>
            <a:off x="2321475" y="4581128"/>
            <a:ext cx="8640000" cy="0"/>
          </a:xfrm>
          <a:prstGeom prst="line">
            <a:avLst/>
          </a:prstGeom>
          <a:noFill/>
          <a:ln w="9525">
            <a:solidFill>
              <a:schemeClr val="tx1"/>
            </a:solidFill>
            <a:prstDash val="dash"/>
            <a:round/>
          </a:ln>
          <a:extLst>
            <a:ext uri="{909E8E84-426E-40DD-AFC4-6F175D3DCCD1}">
              <a14:hiddenFill xmlns:a14="http://schemas.microsoft.com/office/drawing/2010/main">
                <a:noFill/>
              </a14:hiddenFill>
            </a:ext>
          </a:extLst>
        </p:spPr>
      </p:cxnSp>
      <p:sp>
        <p:nvSpPr>
          <p:cNvPr id="39" name="TextBox 25"/>
          <p:cNvSpPr txBox="1">
            <a:spLocks noChangeArrowheads="1"/>
          </p:cNvSpPr>
          <p:nvPr/>
        </p:nvSpPr>
        <p:spPr bwMode="auto">
          <a:xfrm>
            <a:off x="2205583" y="5103766"/>
            <a:ext cx="7209367" cy="45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eaLnBrk="1" hangingPunct="1">
              <a:spcBef>
                <a:spcPct val="0"/>
              </a:spcBef>
              <a:buFontTx/>
              <a:buNone/>
            </a:pPr>
            <a:r>
              <a:rPr lang="zh-CN" altLang="en-US" sz="2100" b="1" dirty="0">
                <a:solidFill>
                  <a:srgbClr val="C00000"/>
                </a:solidFill>
                <a:latin typeface="微软雅黑" panose="020B0503020204020204" pitchFamily="34" charset="-122"/>
              </a:rPr>
              <a:t>产品特色</a:t>
            </a:r>
            <a:endParaRPr lang="en-US" altLang="zh-CN" sz="2100" b="1" dirty="0">
              <a:solidFill>
                <a:srgbClr val="C00000"/>
              </a:solidFill>
              <a:latin typeface="微软雅黑" panose="020B0503020204020204" pitchFamily="34" charset="-122"/>
            </a:endParaRPr>
          </a:p>
        </p:txBody>
      </p:sp>
      <p:sp>
        <p:nvSpPr>
          <p:cNvPr id="40" name="TextBox 25"/>
          <p:cNvSpPr txBox="1">
            <a:spLocks noChangeArrowheads="1"/>
          </p:cNvSpPr>
          <p:nvPr/>
        </p:nvSpPr>
        <p:spPr bwMode="auto">
          <a:xfrm>
            <a:off x="2205584" y="5541235"/>
            <a:ext cx="859493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nSpc>
                <a:spcPct val="150000"/>
              </a:lnSpc>
              <a:spcBef>
                <a:spcPct val="0"/>
              </a:spcBef>
              <a:buNone/>
            </a:pPr>
            <a:r>
              <a:rPr lang="zh-CN" altLang="en-US" sz="1600" b="1" dirty="0">
                <a:solidFill>
                  <a:schemeClr val="tx1">
                    <a:lumMod val="75000"/>
                    <a:lumOff val="25000"/>
                  </a:schemeClr>
                </a:solidFill>
                <a:latin typeface="微软雅黑" panose="020B0503020204020204" pitchFamily="34" charset="-122"/>
              </a:rPr>
              <a:t>贷款额度高，额度可循环；  无需抵押担保，办理手续简便；  还款方式灵活。</a:t>
            </a:r>
            <a:endParaRPr lang="zh-CN" altLang="en-US" sz="1600" b="1" dirty="0">
              <a:solidFill>
                <a:schemeClr val="tx1">
                  <a:lumMod val="75000"/>
                  <a:lumOff val="25000"/>
                </a:schemeClr>
              </a:solidFill>
              <a:latin typeface="微软雅黑" panose="020B0503020204020204" pitchFamily="34" charset="-122"/>
            </a:endParaRPr>
          </a:p>
        </p:txBody>
      </p:sp>
      <p:sp>
        <p:nvSpPr>
          <p:cNvPr id="41" name="椭圆 49"/>
          <p:cNvSpPr>
            <a:spLocks noChangeArrowheads="1"/>
          </p:cNvSpPr>
          <p:nvPr/>
        </p:nvSpPr>
        <p:spPr bwMode="auto">
          <a:xfrm>
            <a:off x="719403" y="5157288"/>
            <a:ext cx="864000" cy="864000"/>
          </a:xfrm>
          <a:prstGeom prst="ellipse">
            <a:avLst/>
          </a:prstGeom>
          <a:solidFill>
            <a:srgbClr val="0070C0"/>
          </a:solidFill>
          <a:ln>
            <a:noFill/>
          </a:ln>
        </p:spPr>
        <p:txBody>
          <a:bodyPr lIns="121917" tIns="60958" rIns="121917" bIns="60958" anchor="ctr"/>
          <a:lstStyle>
            <a:lvl1pPr>
              <a:spcBef>
                <a:spcPct val="20000"/>
              </a:spcBef>
              <a:buChar char="•"/>
              <a:defRPr sz="2000">
                <a:solidFill>
                  <a:srgbClr val="37CCCE"/>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spcBef>
                <a:spcPct val="20000"/>
              </a:spcBef>
              <a:buChar char="–"/>
              <a:defRPr sz="2000">
                <a:solidFill>
                  <a:srgbClr val="37CCCE"/>
                </a:solidFill>
                <a:latin typeface="Arial" panose="020B0604020202020204" pitchFamily="34" charset="0"/>
                <a:ea typeface="仿宋_GB2312" pitchFamily="49" charset="-122"/>
                <a:cs typeface="仿宋_GB2312"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cs typeface="仿宋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cs typeface="仿宋_GB2312" pitchFamily="49"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cs typeface="仿宋_GB2312" pitchFamily="49" charset="-122"/>
              </a:defRPr>
            </a:lvl9pPr>
          </a:lstStyle>
          <a:p>
            <a:pPr algn="ctr" eaLnBrk="1" hangingPunct="1">
              <a:spcBef>
                <a:spcPct val="0"/>
              </a:spcBef>
              <a:buFontTx/>
              <a:buNone/>
            </a:pPr>
            <a:endParaRPr lang="zh-CN" altLang="en-US" sz="2400">
              <a:solidFill>
                <a:srgbClr val="FFFFFF"/>
              </a:solidFill>
              <a:latin typeface="微软雅黑" panose="020B0503020204020204" pitchFamily="34" charset="-122"/>
            </a:endParaRPr>
          </a:p>
        </p:txBody>
      </p:sp>
      <p:cxnSp>
        <p:nvCxnSpPr>
          <p:cNvPr id="42" name="直接连接符 44"/>
          <p:cNvCxnSpPr>
            <a:cxnSpLocks noChangeShapeType="1"/>
          </p:cNvCxnSpPr>
          <p:nvPr/>
        </p:nvCxnSpPr>
        <p:spPr bwMode="auto">
          <a:xfrm>
            <a:off x="2321475" y="6117299"/>
            <a:ext cx="8640000" cy="0"/>
          </a:xfrm>
          <a:prstGeom prst="line">
            <a:avLst/>
          </a:prstGeom>
          <a:noFill/>
          <a:ln w="9525">
            <a:solidFill>
              <a:schemeClr val="tx1"/>
            </a:solidFill>
            <a:prstDash val="dash"/>
            <a:round/>
          </a:ln>
          <a:extLst>
            <a:ext uri="{909E8E84-426E-40DD-AFC4-6F175D3DCCD1}">
              <a14:hiddenFill xmlns:a14="http://schemas.microsoft.com/office/drawing/2010/main">
                <a:noFill/>
              </a14:hiddenFill>
            </a:ext>
          </a:extLst>
        </p:spPr>
      </p:cxnSp>
      <p:grpSp>
        <p:nvGrpSpPr>
          <p:cNvPr id="43" name="Group 1496"/>
          <p:cNvGrpSpPr/>
          <p:nvPr/>
        </p:nvGrpSpPr>
        <p:grpSpPr>
          <a:xfrm>
            <a:off x="950539" y="5390705"/>
            <a:ext cx="416476" cy="387752"/>
            <a:chOff x="2700338" y="4484688"/>
            <a:chExt cx="447675" cy="423863"/>
          </a:xfrm>
          <a:solidFill>
            <a:schemeClr val="bg1"/>
          </a:solidFill>
        </p:grpSpPr>
        <p:sp>
          <p:nvSpPr>
            <p:cNvPr id="44" name="Freeform 55"/>
            <p:cNvSpPr/>
            <p:nvPr/>
          </p:nvSpPr>
          <p:spPr bwMode="auto">
            <a:xfrm>
              <a:off x="2700338" y="4484688"/>
              <a:ext cx="447675" cy="423863"/>
            </a:xfrm>
            <a:custGeom>
              <a:avLst/>
              <a:gdLst>
                <a:gd name="T0" fmla="*/ 211 w 211"/>
                <a:gd name="T1" fmla="*/ 192 h 200"/>
                <a:gd name="T2" fmla="*/ 204 w 211"/>
                <a:gd name="T3" fmla="*/ 200 h 200"/>
                <a:gd name="T4" fmla="*/ 10 w 211"/>
                <a:gd name="T5" fmla="*/ 200 h 200"/>
                <a:gd name="T6" fmla="*/ 0 w 211"/>
                <a:gd name="T7" fmla="*/ 190 h 200"/>
                <a:gd name="T8" fmla="*/ 0 w 211"/>
                <a:gd name="T9" fmla="*/ 7 h 200"/>
                <a:gd name="T10" fmla="*/ 8 w 211"/>
                <a:gd name="T11" fmla="*/ 0 h 200"/>
                <a:gd name="T12" fmla="*/ 16 w 211"/>
                <a:gd name="T13" fmla="*/ 7 h 200"/>
                <a:gd name="T14" fmla="*/ 16 w 211"/>
                <a:gd name="T15" fmla="*/ 174 h 200"/>
                <a:gd name="T16" fmla="*/ 26 w 211"/>
                <a:gd name="T17" fmla="*/ 184 h 200"/>
                <a:gd name="T18" fmla="*/ 204 w 211"/>
                <a:gd name="T19" fmla="*/ 184 h 200"/>
                <a:gd name="T20" fmla="*/ 211 w 211"/>
                <a:gd name="T21"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00">
                  <a:moveTo>
                    <a:pt x="211" y="192"/>
                  </a:moveTo>
                  <a:cubicBezTo>
                    <a:pt x="211" y="196"/>
                    <a:pt x="210" y="200"/>
                    <a:pt x="204" y="200"/>
                  </a:cubicBezTo>
                  <a:cubicBezTo>
                    <a:pt x="10" y="200"/>
                    <a:pt x="10" y="200"/>
                    <a:pt x="10" y="200"/>
                  </a:cubicBezTo>
                  <a:cubicBezTo>
                    <a:pt x="5" y="200"/>
                    <a:pt x="0" y="196"/>
                    <a:pt x="0" y="190"/>
                  </a:cubicBezTo>
                  <a:cubicBezTo>
                    <a:pt x="0" y="7"/>
                    <a:pt x="0" y="7"/>
                    <a:pt x="0" y="7"/>
                  </a:cubicBezTo>
                  <a:cubicBezTo>
                    <a:pt x="0" y="1"/>
                    <a:pt x="4" y="0"/>
                    <a:pt x="8" y="0"/>
                  </a:cubicBezTo>
                  <a:cubicBezTo>
                    <a:pt x="12" y="0"/>
                    <a:pt x="16" y="1"/>
                    <a:pt x="16" y="7"/>
                  </a:cubicBezTo>
                  <a:cubicBezTo>
                    <a:pt x="16" y="174"/>
                    <a:pt x="16" y="174"/>
                    <a:pt x="16" y="174"/>
                  </a:cubicBezTo>
                  <a:cubicBezTo>
                    <a:pt x="16" y="180"/>
                    <a:pt x="20" y="184"/>
                    <a:pt x="26" y="184"/>
                  </a:cubicBezTo>
                  <a:cubicBezTo>
                    <a:pt x="204" y="184"/>
                    <a:pt x="204" y="184"/>
                    <a:pt x="204" y="184"/>
                  </a:cubicBezTo>
                  <a:cubicBezTo>
                    <a:pt x="210" y="184"/>
                    <a:pt x="211" y="188"/>
                    <a:pt x="211" y="1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AU">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5" name="Freeform 56"/>
            <p:cNvSpPr/>
            <p:nvPr/>
          </p:nvSpPr>
          <p:spPr bwMode="auto">
            <a:xfrm>
              <a:off x="2768601" y="4524375"/>
              <a:ext cx="347663" cy="300038"/>
            </a:xfrm>
            <a:custGeom>
              <a:avLst/>
              <a:gdLst>
                <a:gd name="T0" fmla="*/ 160 w 164"/>
                <a:gd name="T1" fmla="*/ 49 h 141"/>
                <a:gd name="T2" fmla="*/ 164 w 164"/>
                <a:gd name="T3" fmla="*/ 47 h 141"/>
                <a:gd name="T4" fmla="*/ 160 w 164"/>
                <a:gd name="T5" fmla="*/ 5 h 141"/>
                <a:gd name="T6" fmla="*/ 155 w 164"/>
                <a:gd name="T7" fmla="*/ 1 h 141"/>
                <a:gd name="T8" fmla="*/ 116 w 164"/>
                <a:gd name="T9" fmla="*/ 16 h 141"/>
                <a:gd name="T10" fmla="*/ 115 w 164"/>
                <a:gd name="T11" fmla="*/ 21 h 141"/>
                <a:gd name="T12" fmla="*/ 122 w 164"/>
                <a:gd name="T13" fmla="*/ 25 h 141"/>
                <a:gd name="T14" fmla="*/ 124 w 164"/>
                <a:gd name="T15" fmla="*/ 32 h 141"/>
                <a:gd name="T16" fmla="*/ 94 w 164"/>
                <a:gd name="T17" fmla="*/ 78 h 141"/>
                <a:gd name="T18" fmla="*/ 87 w 164"/>
                <a:gd name="T19" fmla="*/ 80 h 141"/>
                <a:gd name="T20" fmla="*/ 40 w 164"/>
                <a:gd name="T21" fmla="*/ 62 h 141"/>
                <a:gd name="T22" fmla="*/ 32 w 164"/>
                <a:gd name="T23" fmla="*/ 64 h 141"/>
                <a:gd name="T24" fmla="*/ 3 w 164"/>
                <a:gd name="T25" fmla="*/ 100 h 141"/>
                <a:gd name="T26" fmla="*/ 0 w 164"/>
                <a:gd name="T27" fmla="*/ 109 h 141"/>
                <a:gd name="T28" fmla="*/ 0 w 164"/>
                <a:gd name="T29" fmla="*/ 138 h 141"/>
                <a:gd name="T30" fmla="*/ 3 w 164"/>
                <a:gd name="T31" fmla="*/ 139 h 141"/>
                <a:gd name="T32" fmla="*/ 40 w 164"/>
                <a:gd name="T33" fmla="*/ 95 h 141"/>
                <a:gd name="T34" fmla="*/ 48 w 164"/>
                <a:gd name="T35" fmla="*/ 93 h 141"/>
                <a:gd name="T36" fmla="*/ 95 w 164"/>
                <a:gd name="T37" fmla="*/ 111 h 141"/>
                <a:gd name="T38" fmla="*/ 103 w 164"/>
                <a:gd name="T39" fmla="*/ 108 h 141"/>
                <a:gd name="T40" fmla="*/ 145 w 164"/>
                <a:gd name="T41" fmla="*/ 45 h 141"/>
                <a:gd name="T42" fmla="*/ 152 w 164"/>
                <a:gd name="T43" fmla="*/ 44 h 141"/>
                <a:gd name="T44" fmla="*/ 160 w 164"/>
                <a:gd name="T45" fmla="*/ 4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4" h="141">
                  <a:moveTo>
                    <a:pt x="160" y="49"/>
                  </a:moveTo>
                  <a:cubicBezTo>
                    <a:pt x="163" y="51"/>
                    <a:pt x="164" y="50"/>
                    <a:pt x="164" y="47"/>
                  </a:cubicBezTo>
                  <a:cubicBezTo>
                    <a:pt x="160" y="5"/>
                    <a:pt x="160" y="5"/>
                    <a:pt x="160" y="5"/>
                  </a:cubicBezTo>
                  <a:cubicBezTo>
                    <a:pt x="160" y="2"/>
                    <a:pt x="158" y="0"/>
                    <a:pt x="155" y="1"/>
                  </a:cubicBezTo>
                  <a:cubicBezTo>
                    <a:pt x="116" y="16"/>
                    <a:pt x="116" y="16"/>
                    <a:pt x="116" y="16"/>
                  </a:cubicBezTo>
                  <a:cubicBezTo>
                    <a:pt x="113" y="17"/>
                    <a:pt x="113" y="19"/>
                    <a:pt x="115" y="21"/>
                  </a:cubicBezTo>
                  <a:cubicBezTo>
                    <a:pt x="122" y="25"/>
                    <a:pt x="122" y="25"/>
                    <a:pt x="122" y="25"/>
                  </a:cubicBezTo>
                  <a:cubicBezTo>
                    <a:pt x="125" y="27"/>
                    <a:pt x="125" y="30"/>
                    <a:pt x="124" y="32"/>
                  </a:cubicBezTo>
                  <a:cubicBezTo>
                    <a:pt x="94" y="78"/>
                    <a:pt x="94" y="78"/>
                    <a:pt x="94" y="78"/>
                  </a:cubicBezTo>
                  <a:cubicBezTo>
                    <a:pt x="92" y="80"/>
                    <a:pt x="89" y="81"/>
                    <a:pt x="87" y="80"/>
                  </a:cubicBezTo>
                  <a:cubicBezTo>
                    <a:pt x="40" y="62"/>
                    <a:pt x="40" y="62"/>
                    <a:pt x="40" y="62"/>
                  </a:cubicBezTo>
                  <a:cubicBezTo>
                    <a:pt x="37" y="61"/>
                    <a:pt x="34" y="62"/>
                    <a:pt x="32" y="64"/>
                  </a:cubicBezTo>
                  <a:cubicBezTo>
                    <a:pt x="3" y="100"/>
                    <a:pt x="3" y="100"/>
                    <a:pt x="3" y="100"/>
                  </a:cubicBezTo>
                  <a:cubicBezTo>
                    <a:pt x="1" y="102"/>
                    <a:pt x="0" y="106"/>
                    <a:pt x="0" y="109"/>
                  </a:cubicBezTo>
                  <a:cubicBezTo>
                    <a:pt x="0" y="138"/>
                    <a:pt x="0" y="138"/>
                    <a:pt x="0" y="138"/>
                  </a:cubicBezTo>
                  <a:cubicBezTo>
                    <a:pt x="0" y="140"/>
                    <a:pt x="1" y="141"/>
                    <a:pt x="3" y="139"/>
                  </a:cubicBezTo>
                  <a:cubicBezTo>
                    <a:pt x="40" y="95"/>
                    <a:pt x="40" y="95"/>
                    <a:pt x="40" y="95"/>
                  </a:cubicBezTo>
                  <a:cubicBezTo>
                    <a:pt x="42" y="93"/>
                    <a:pt x="46" y="92"/>
                    <a:pt x="48" y="93"/>
                  </a:cubicBezTo>
                  <a:cubicBezTo>
                    <a:pt x="95" y="111"/>
                    <a:pt x="95" y="111"/>
                    <a:pt x="95" y="111"/>
                  </a:cubicBezTo>
                  <a:cubicBezTo>
                    <a:pt x="98" y="112"/>
                    <a:pt x="101" y="111"/>
                    <a:pt x="103" y="108"/>
                  </a:cubicBezTo>
                  <a:cubicBezTo>
                    <a:pt x="145" y="45"/>
                    <a:pt x="145" y="45"/>
                    <a:pt x="145" y="45"/>
                  </a:cubicBezTo>
                  <a:cubicBezTo>
                    <a:pt x="146" y="43"/>
                    <a:pt x="149" y="42"/>
                    <a:pt x="152" y="44"/>
                  </a:cubicBezTo>
                  <a:lnTo>
                    <a:pt x="16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AU">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46" name="文本框 1"/>
          <p:cNvSpPr>
            <a:spLocks noChangeArrowheads="1"/>
          </p:cNvSpPr>
          <p:nvPr/>
        </p:nvSpPr>
        <p:spPr bwMode="auto">
          <a:xfrm>
            <a:off x="911424" y="260648"/>
            <a:ext cx="2509141" cy="533480"/>
          </a:xfrm>
          <a:prstGeom prst="rect">
            <a:avLst/>
          </a:prstGeom>
          <a:noFill/>
          <a:ln w="9525">
            <a:noFill/>
            <a:miter lim="800000"/>
          </a:ln>
        </p:spPr>
        <p:txBody>
          <a:bodyPr wrap="square" lIns="121917" tIns="60958" rIns="121917" bIns="60958">
            <a:spAutoFit/>
          </a:bodyPr>
          <a:lstStyle/>
          <a:p>
            <a:pPr algn="ctr"/>
            <a:r>
              <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政府采购贷</a:t>
            </a:r>
            <a:endPar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10"/>
          <p:cNvSpPr>
            <a:spLocks noChangeArrowheads="1"/>
          </p:cNvSpPr>
          <p:nvPr/>
        </p:nvSpPr>
        <p:spPr bwMode="auto">
          <a:xfrm rot="16200000">
            <a:off x="5455125" y="-1819265"/>
            <a:ext cx="960000" cy="10880469"/>
          </a:xfrm>
          <a:prstGeom prst="downArrow">
            <a:avLst>
              <a:gd name="adj1" fmla="val 49065"/>
              <a:gd name="adj2" fmla="val 44827"/>
            </a:avLst>
          </a:prstGeom>
          <a:solidFill>
            <a:schemeClr val="bg1">
              <a:lumMod val="75000"/>
            </a:schemeClr>
          </a:solidFill>
          <a:ln>
            <a:noFill/>
          </a:ln>
        </p:spPr>
        <p:txBody>
          <a:bodyPr vert="eaVert" lIns="110411" tIns="55205" rIns="110411" bIns="55205"/>
          <a:lstStyle/>
          <a:p>
            <a:endParaRPr lang="zh-CN" altLang="en-US" sz="2500">
              <a:solidFill>
                <a:schemeClr val="bg1"/>
              </a:solidFill>
              <a:latin typeface="微软雅黑" panose="020B0503020204020204" pitchFamily="34" charset="-122"/>
              <a:ea typeface="微软雅黑" panose="020B0503020204020204" pitchFamily="34" charset="-122"/>
            </a:endParaRPr>
          </a:p>
        </p:txBody>
      </p:sp>
      <p:sp>
        <p:nvSpPr>
          <p:cNvPr id="6" name="Oval 8"/>
          <p:cNvSpPr>
            <a:spLocks noChangeArrowheads="1"/>
          </p:cNvSpPr>
          <p:nvPr/>
        </p:nvSpPr>
        <p:spPr bwMode="auto">
          <a:xfrm>
            <a:off x="3715696" y="2941111"/>
            <a:ext cx="1248000" cy="1248000"/>
          </a:xfrm>
          <a:prstGeom prst="ellipse">
            <a:avLst/>
          </a:prstGeom>
          <a:solidFill>
            <a:srgbClr val="0DB3AB"/>
          </a:solidFill>
          <a:ln w="76200">
            <a:solidFill>
              <a:srgbClr val="FFFFFF"/>
            </a:solidFill>
            <a:round/>
          </a:ln>
        </p:spPr>
        <p:txBody>
          <a:bodyPr lIns="121917" tIns="60958" rIns="121917" bIns="60958"/>
          <a:lstStyle/>
          <a:p>
            <a:pPr>
              <a:defRPr/>
            </a:pPr>
            <a:endParaRPr lang="zh-CN" altLang="en-US" sz="1900">
              <a:solidFill>
                <a:schemeClr val="bg1"/>
              </a:solidFill>
              <a:latin typeface="微软雅黑" panose="020B0503020204020204" pitchFamily="34" charset="-122"/>
              <a:ea typeface="微软雅黑" panose="020B0503020204020204" pitchFamily="34" charset="-122"/>
            </a:endParaRPr>
          </a:p>
        </p:txBody>
      </p:sp>
      <p:sp>
        <p:nvSpPr>
          <p:cNvPr id="7" name="Oval 8"/>
          <p:cNvSpPr>
            <a:spLocks noChangeArrowheads="1"/>
          </p:cNvSpPr>
          <p:nvPr/>
        </p:nvSpPr>
        <p:spPr bwMode="auto">
          <a:xfrm>
            <a:off x="6107576" y="2941108"/>
            <a:ext cx="1248000" cy="1248000"/>
          </a:xfrm>
          <a:prstGeom prst="ellipse">
            <a:avLst/>
          </a:prstGeom>
          <a:solidFill>
            <a:schemeClr val="accent2">
              <a:lumMod val="75000"/>
            </a:schemeClr>
          </a:solidFill>
          <a:ln w="76200">
            <a:solidFill>
              <a:srgbClr val="FFFFFF"/>
            </a:solidFill>
            <a:round/>
          </a:ln>
        </p:spPr>
        <p:txBody>
          <a:bodyPr lIns="121917" tIns="60958" rIns="121917" bIns="60958"/>
          <a:lstStyle/>
          <a:p>
            <a:pPr>
              <a:defRPr/>
            </a:pPr>
            <a:endParaRPr lang="zh-CN" altLang="en-US" sz="1900">
              <a:solidFill>
                <a:schemeClr val="bg1"/>
              </a:solidFill>
              <a:latin typeface="微软雅黑" panose="020B0503020204020204" pitchFamily="34" charset="-122"/>
              <a:ea typeface="微软雅黑" panose="020B0503020204020204" pitchFamily="34" charset="-122"/>
            </a:endParaRPr>
          </a:p>
        </p:txBody>
      </p:sp>
      <p:sp>
        <p:nvSpPr>
          <p:cNvPr id="8" name="Oval 8"/>
          <p:cNvSpPr>
            <a:spLocks noChangeArrowheads="1"/>
          </p:cNvSpPr>
          <p:nvPr/>
        </p:nvSpPr>
        <p:spPr bwMode="auto">
          <a:xfrm>
            <a:off x="8495976" y="2941112"/>
            <a:ext cx="1248000" cy="1248000"/>
          </a:xfrm>
          <a:prstGeom prst="ellipse">
            <a:avLst/>
          </a:prstGeom>
          <a:solidFill>
            <a:schemeClr val="tx2">
              <a:lumMod val="75000"/>
            </a:schemeClr>
          </a:solidFill>
          <a:ln w="76200">
            <a:solidFill>
              <a:srgbClr val="FFFFFF"/>
            </a:solidFill>
            <a:round/>
          </a:ln>
        </p:spPr>
        <p:txBody>
          <a:bodyPr lIns="121917" tIns="60958" rIns="121917" bIns="60958"/>
          <a:lstStyle/>
          <a:p>
            <a:pPr>
              <a:defRPr/>
            </a:pPr>
            <a:endParaRPr lang="zh-CN" altLang="en-US" sz="1900">
              <a:solidFill>
                <a:schemeClr val="bg1"/>
              </a:solidFill>
              <a:latin typeface="微软雅黑" panose="020B0503020204020204" pitchFamily="34" charset="-122"/>
              <a:ea typeface="微软雅黑" panose="020B0503020204020204" pitchFamily="34" charset="-122"/>
            </a:endParaRPr>
          </a:p>
        </p:txBody>
      </p:sp>
      <p:grpSp>
        <p:nvGrpSpPr>
          <p:cNvPr id="9" name="组合 40"/>
          <p:cNvGrpSpPr/>
          <p:nvPr/>
        </p:nvGrpSpPr>
        <p:grpSpPr bwMode="auto">
          <a:xfrm>
            <a:off x="1316463" y="2941109"/>
            <a:ext cx="1248000" cy="1248000"/>
            <a:chOff x="1415152" y="2904671"/>
            <a:chExt cx="1514918" cy="1512816"/>
          </a:xfrm>
        </p:grpSpPr>
        <p:sp>
          <p:nvSpPr>
            <p:cNvPr id="10" name="Oval 8"/>
            <p:cNvSpPr>
              <a:spLocks noChangeArrowheads="1"/>
            </p:cNvSpPr>
            <p:nvPr/>
          </p:nvSpPr>
          <p:spPr bwMode="auto">
            <a:xfrm>
              <a:off x="1415152" y="2904671"/>
              <a:ext cx="1514918" cy="1512816"/>
            </a:xfrm>
            <a:prstGeom prst="ellipse">
              <a:avLst/>
            </a:prstGeom>
            <a:solidFill>
              <a:srgbClr val="FE6662"/>
            </a:solidFill>
            <a:ln w="76200">
              <a:solidFill>
                <a:srgbClr val="FFFFFF"/>
              </a:solidFill>
              <a:round/>
            </a:ln>
            <a:effectLst>
              <a:outerShdw blurRad="127000" dist="38100" dir="8100000" algn="tr" rotWithShape="0">
                <a:prstClr val="black">
                  <a:alpha val="40000"/>
                </a:prstClr>
              </a:outerShdw>
            </a:effectLst>
          </p:spPr>
          <p:txBody>
            <a:bodyPr/>
            <a:lstStyle/>
            <a:p>
              <a:endParaRPr lang="zh-CN" altLang="en-US" sz="1900">
                <a:solidFill>
                  <a:schemeClr val="bg1"/>
                </a:solidFill>
                <a:latin typeface="微软雅黑" panose="020B0503020204020204" pitchFamily="34" charset="-122"/>
                <a:ea typeface="微软雅黑" panose="020B0503020204020204" pitchFamily="34" charset="-122"/>
              </a:endParaRPr>
            </a:p>
          </p:txBody>
        </p:sp>
        <p:sp>
          <p:nvSpPr>
            <p:cNvPr id="11" name="Text Box 9"/>
            <p:cNvSpPr txBox="1">
              <a:spLocks noChangeArrowheads="1"/>
            </p:cNvSpPr>
            <p:nvPr/>
          </p:nvSpPr>
          <p:spPr bwMode="auto">
            <a:xfrm>
              <a:off x="1629756" y="3401080"/>
              <a:ext cx="1085711" cy="469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100" b="1" dirty="0">
                  <a:solidFill>
                    <a:schemeClr val="bg1"/>
                  </a:solidFill>
                  <a:latin typeface="微软雅黑" panose="020B0503020204020204" pitchFamily="34" charset="-122"/>
                  <a:ea typeface="微软雅黑" panose="020B0503020204020204" pitchFamily="34" charset="-122"/>
                </a:rPr>
                <a:t>额度</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sp>
        <p:nvSpPr>
          <p:cNvPr id="12" name="矩形标注 11"/>
          <p:cNvSpPr/>
          <p:nvPr/>
        </p:nvSpPr>
        <p:spPr>
          <a:xfrm>
            <a:off x="3503712" y="4773150"/>
            <a:ext cx="1784144" cy="55271"/>
          </a:xfrm>
          <a:prstGeom prst="wedgeRectCallout">
            <a:avLst>
              <a:gd name="adj1" fmla="val -17526"/>
              <a:gd name="adj2" fmla="val -5094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1" tIns="55205" rIns="110411" bIns="55205" rtlCol="0" anchor="ctr"/>
          <a:lstStyle/>
          <a:p>
            <a:pPr algn="ctr"/>
            <a:endParaRPr lang="zh-CN" altLang="en-US">
              <a:solidFill>
                <a:schemeClr val="tx1">
                  <a:lumMod val="85000"/>
                  <a:lumOff val="15000"/>
                </a:schemeClr>
              </a:solidFill>
            </a:endParaRPr>
          </a:p>
        </p:txBody>
      </p:sp>
      <p:sp>
        <p:nvSpPr>
          <p:cNvPr id="13" name="矩形标注 12"/>
          <p:cNvSpPr/>
          <p:nvPr/>
        </p:nvSpPr>
        <p:spPr>
          <a:xfrm>
            <a:off x="1470864" y="2395985"/>
            <a:ext cx="1913299" cy="77540"/>
          </a:xfrm>
          <a:prstGeom prst="wedgeRectCallout">
            <a:avLst>
              <a:gd name="adj1" fmla="val -23398"/>
              <a:gd name="adj2" fmla="val 403291"/>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1" tIns="55205" rIns="110411" bIns="55205" rtlCol="0" anchor="ctr"/>
          <a:lstStyle/>
          <a:p>
            <a:pPr algn="ctr"/>
            <a:endParaRPr lang="zh-CN" altLang="en-US">
              <a:solidFill>
                <a:schemeClr val="tx1">
                  <a:lumMod val="85000"/>
                  <a:lumOff val="15000"/>
                </a:schemeClr>
              </a:solidFill>
            </a:endParaRPr>
          </a:p>
        </p:txBody>
      </p:sp>
      <p:sp>
        <p:nvSpPr>
          <p:cNvPr id="14" name="Rectangle 28"/>
          <p:cNvSpPr>
            <a:spLocks noChangeArrowheads="1"/>
          </p:cNvSpPr>
          <p:nvPr/>
        </p:nvSpPr>
        <p:spPr bwMode="auto">
          <a:xfrm>
            <a:off x="3215680" y="4957081"/>
            <a:ext cx="2620043" cy="406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1" tIns="55205" rIns="110411" bIns="55205">
            <a:spAutoFit/>
          </a:bodyPr>
          <a:lstStyle/>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授信期限最长为</a:t>
            </a:r>
            <a:r>
              <a:rPr lang="en-US" altLang="zh-CN" sz="1600" b="1" dirty="0">
                <a:solidFill>
                  <a:srgbClr val="FF0000"/>
                </a:solidFill>
                <a:latin typeface="微软雅黑" panose="020B0503020204020204" pitchFamily="34" charset="-122"/>
                <a:ea typeface="微软雅黑" panose="020B0503020204020204" pitchFamily="34" charset="-122"/>
              </a:rPr>
              <a:t>1</a:t>
            </a:r>
            <a:r>
              <a:rPr lang="zh-CN" altLang="en-US" sz="1600" b="1" dirty="0">
                <a:solidFill>
                  <a:srgbClr val="FF0000"/>
                </a:solidFill>
                <a:latin typeface="微软雅黑" panose="020B0503020204020204" pitchFamily="34" charset="-122"/>
                <a:ea typeface="微软雅黑" panose="020B0503020204020204" pitchFamily="34" charset="-122"/>
              </a:rPr>
              <a:t>年</a:t>
            </a:r>
            <a:endParaRPr lang="en-US" altLang="zh-CN" sz="1600" b="1" dirty="0">
              <a:solidFill>
                <a:srgbClr val="FF0000"/>
              </a:solidFill>
              <a:latin typeface="微软雅黑" panose="020B0503020204020204" pitchFamily="34" charset="-122"/>
              <a:ea typeface="微软雅黑" panose="020B0503020204020204" pitchFamily="34" charset="-122"/>
            </a:endParaRPr>
          </a:p>
        </p:txBody>
      </p:sp>
      <p:sp>
        <p:nvSpPr>
          <p:cNvPr id="15" name="Rectangle 28"/>
          <p:cNvSpPr>
            <a:spLocks noChangeArrowheads="1"/>
          </p:cNvSpPr>
          <p:nvPr/>
        </p:nvSpPr>
        <p:spPr bwMode="auto">
          <a:xfrm>
            <a:off x="494891" y="1220755"/>
            <a:ext cx="3409227" cy="997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1" tIns="55205" rIns="110411" bIns="55205">
            <a:spAutoFit/>
          </a:bodyPr>
          <a:lstStyle/>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授信额度最高</a:t>
            </a:r>
            <a:r>
              <a:rPr lang="en-US" altLang="zh-CN" sz="1600" b="1" dirty="0">
                <a:solidFill>
                  <a:srgbClr val="FF0000"/>
                </a:solidFill>
                <a:latin typeface="微软雅黑" panose="020B0503020204020204" pitchFamily="34" charset="-122"/>
                <a:ea typeface="微软雅黑" panose="020B0503020204020204" pitchFamily="34" charset="-122"/>
              </a:rPr>
              <a:t>1000</a:t>
            </a:r>
            <a:r>
              <a:rPr lang="zh-CN" altLang="en-US" sz="1600" b="1" dirty="0">
                <a:solidFill>
                  <a:srgbClr val="FF0000"/>
                </a:solidFill>
                <a:latin typeface="微软雅黑" panose="020B0503020204020204" pitchFamily="34" charset="-122"/>
                <a:ea typeface="微软雅黑" panose="020B0503020204020204" pitchFamily="34" charset="-122"/>
              </a:rPr>
              <a:t>万元</a:t>
            </a:r>
            <a:endParaRPr lang="en-US" altLang="zh-CN" sz="1600" b="1" dirty="0">
              <a:solidFill>
                <a:srgbClr val="FF0000"/>
              </a:solidFill>
              <a:latin typeface="微软雅黑" panose="020B0503020204020204" pitchFamily="34" charset="-122"/>
              <a:ea typeface="微软雅黑" panose="020B0503020204020204" pitchFamily="34" charset="-122"/>
            </a:endParaRPr>
          </a:p>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额度可循环，单笔不超过政府采购合同金额的</a:t>
            </a:r>
            <a:r>
              <a:rPr lang="en-US" altLang="zh-CN" sz="1600" b="1" dirty="0">
                <a:solidFill>
                  <a:srgbClr val="FF0000"/>
                </a:solidFill>
                <a:latin typeface="微软雅黑" panose="020B0503020204020204" pitchFamily="34" charset="-122"/>
                <a:ea typeface="微软雅黑" panose="020B0503020204020204" pitchFamily="34" charset="-122"/>
              </a:rPr>
              <a:t>50%</a:t>
            </a:r>
            <a:endParaRPr lang="en-US" altLang="zh-CN" sz="1600" b="1" dirty="0">
              <a:solidFill>
                <a:srgbClr val="FF0000"/>
              </a:solidFill>
              <a:latin typeface="微软雅黑" panose="020B0503020204020204" pitchFamily="34" charset="-122"/>
              <a:ea typeface="微软雅黑" panose="020B0503020204020204" pitchFamily="34" charset="-122"/>
            </a:endParaRPr>
          </a:p>
        </p:txBody>
      </p:sp>
      <p:sp>
        <p:nvSpPr>
          <p:cNvPr id="16" name="矩形标注 15"/>
          <p:cNvSpPr/>
          <p:nvPr/>
        </p:nvSpPr>
        <p:spPr>
          <a:xfrm>
            <a:off x="6198925" y="2395985"/>
            <a:ext cx="1913299" cy="77540"/>
          </a:xfrm>
          <a:prstGeom prst="wedgeRectCallout">
            <a:avLst>
              <a:gd name="adj1" fmla="val -23398"/>
              <a:gd name="adj2" fmla="val 4032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1" tIns="55205" rIns="110411" bIns="55205" rtlCol="0" anchor="ctr"/>
          <a:lstStyle/>
          <a:p>
            <a:pPr algn="ctr"/>
            <a:endParaRPr lang="zh-CN" altLang="en-US">
              <a:solidFill>
                <a:schemeClr val="tx1">
                  <a:lumMod val="85000"/>
                  <a:lumOff val="15000"/>
                </a:schemeClr>
              </a:solidFill>
            </a:endParaRPr>
          </a:p>
        </p:txBody>
      </p:sp>
      <p:sp>
        <p:nvSpPr>
          <p:cNvPr id="17" name="Rectangle 28"/>
          <p:cNvSpPr>
            <a:spLocks noChangeArrowheads="1"/>
          </p:cNvSpPr>
          <p:nvPr/>
        </p:nvSpPr>
        <p:spPr bwMode="auto">
          <a:xfrm>
            <a:off x="5835723" y="1407478"/>
            <a:ext cx="5373920" cy="702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1" tIns="55205" rIns="110411" bIns="55205">
            <a:spAutoFit/>
          </a:bodyPr>
          <a:lstStyle/>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政府采购合同项下的</a:t>
            </a:r>
            <a:r>
              <a:rPr lang="zh-CN" altLang="en-US" sz="1600" b="1" dirty="0">
                <a:solidFill>
                  <a:srgbClr val="FF0000"/>
                </a:solidFill>
                <a:latin typeface="微软雅黑" panose="020B0503020204020204" pitchFamily="34" charset="-122"/>
                <a:ea typeface="微软雅黑" panose="020B0503020204020204" pitchFamily="34" charset="-122"/>
              </a:rPr>
              <a:t>应收账款</a:t>
            </a:r>
            <a:r>
              <a:rPr lang="zh-CN" altLang="en-US" sz="1600" dirty="0">
                <a:latin typeface="微软雅黑" panose="020B0503020204020204" pitchFamily="34" charset="-122"/>
                <a:ea typeface="微软雅黑" panose="020B0503020204020204" pitchFamily="34" charset="-122"/>
              </a:rPr>
              <a:t>作质押担保</a:t>
            </a:r>
            <a:endParaRPr lang="en-US" altLang="zh-CN" sz="1600" dirty="0">
              <a:latin typeface="微软雅黑" panose="020B0503020204020204" pitchFamily="34" charset="-122"/>
              <a:ea typeface="微软雅黑" panose="020B0503020204020204" pitchFamily="34" charset="-122"/>
            </a:endParaRPr>
          </a:p>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法定代表人、股东及其配偶提供连带责任担保</a:t>
            </a:r>
            <a:endParaRPr lang="en-US" altLang="zh-CN" sz="1600" dirty="0">
              <a:latin typeface="微软雅黑" panose="020B0503020204020204" pitchFamily="34" charset="-122"/>
              <a:ea typeface="微软雅黑" panose="020B0503020204020204" pitchFamily="34" charset="-122"/>
            </a:endParaRPr>
          </a:p>
        </p:txBody>
      </p:sp>
      <p:sp>
        <p:nvSpPr>
          <p:cNvPr id="18" name="矩形标注 17"/>
          <p:cNvSpPr/>
          <p:nvPr/>
        </p:nvSpPr>
        <p:spPr>
          <a:xfrm>
            <a:off x="8728347" y="4773150"/>
            <a:ext cx="1784144" cy="55271"/>
          </a:xfrm>
          <a:prstGeom prst="wedgeRectCallout">
            <a:avLst>
              <a:gd name="adj1" fmla="val -17526"/>
              <a:gd name="adj2" fmla="val -50946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1" tIns="55205" rIns="110411" bIns="55205" rtlCol="0" anchor="ctr"/>
          <a:lstStyle/>
          <a:p>
            <a:pPr algn="ctr"/>
            <a:endParaRPr lang="zh-CN" altLang="en-US">
              <a:solidFill>
                <a:schemeClr val="tx1">
                  <a:lumMod val="85000"/>
                  <a:lumOff val="15000"/>
                </a:schemeClr>
              </a:solidFill>
            </a:endParaRPr>
          </a:p>
        </p:txBody>
      </p:sp>
      <p:sp>
        <p:nvSpPr>
          <p:cNvPr id="19" name="Rectangle 28"/>
          <p:cNvSpPr>
            <a:spLocks noChangeArrowheads="1"/>
          </p:cNvSpPr>
          <p:nvPr/>
        </p:nvSpPr>
        <p:spPr bwMode="auto">
          <a:xfrm>
            <a:off x="6864086" y="4917764"/>
            <a:ext cx="4831812" cy="1293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1" tIns="55205" rIns="110411" bIns="55205">
            <a:spAutoFit/>
          </a:bodyPr>
          <a:lstStyle/>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cs typeface="黑体" panose="02010609060101010101" charset="-122"/>
              </a:rPr>
              <a:t>成立</a:t>
            </a:r>
            <a:r>
              <a:rPr lang="en-US" altLang="zh-CN" sz="1600" b="1" dirty="0">
                <a:solidFill>
                  <a:srgbClr val="FF0000"/>
                </a:solidFill>
                <a:latin typeface="微软雅黑" panose="020B0503020204020204" pitchFamily="34" charset="-122"/>
                <a:ea typeface="微软雅黑" panose="020B0503020204020204" pitchFamily="34" charset="-122"/>
                <a:cs typeface="黑体" panose="02010609060101010101" charset="-122"/>
              </a:rPr>
              <a:t>2</a:t>
            </a:r>
            <a:r>
              <a:rPr lang="zh-CN" altLang="en-US" sz="1600" b="1" dirty="0">
                <a:solidFill>
                  <a:srgbClr val="FF0000"/>
                </a:solidFill>
                <a:latin typeface="微软雅黑" panose="020B0503020204020204" pitchFamily="34" charset="-122"/>
                <a:ea typeface="微软雅黑" panose="020B0503020204020204" pitchFamily="34" charset="-122"/>
                <a:cs typeface="黑体" panose="02010609060101010101" charset="-122"/>
              </a:rPr>
              <a:t>年（含）</a:t>
            </a:r>
            <a:r>
              <a:rPr lang="zh-CN" altLang="en-US" sz="1600" dirty="0">
                <a:latin typeface="微软雅黑" panose="020B0503020204020204" pitchFamily="34" charset="-122"/>
                <a:ea typeface="微软雅黑" panose="020B0503020204020204" pitchFamily="34" charset="-122"/>
                <a:cs typeface="黑体" panose="02010609060101010101" charset="-122"/>
              </a:rPr>
              <a:t>以上，具有合法、有效的经营资质；</a:t>
            </a:r>
            <a:endParaRPr lang="en-US" altLang="zh-CN" sz="1600" dirty="0">
              <a:latin typeface="微软雅黑" panose="020B0503020204020204" pitchFamily="34" charset="-122"/>
              <a:ea typeface="微软雅黑" panose="020B0503020204020204" pitchFamily="34" charset="-122"/>
              <a:cs typeface="黑体" panose="02010609060101010101" charset="-122"/>
            </a:endParaRPr>
          </a:p>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cs typeface="黑体" panose="02010609060101010101" charset="-122"/>
              </a:rPr>
              <a:t>申请人参加政府集中采购招标且已中标，已签订政府采购合同；</a:t>
            </a:r>
            <a:endParaRPr lang="en-US" altLang="zh-CN" sz="1600" dirty="0">
              <a:solidFill>
                <a:srgbClr val="FF0000"/>
              </a:solidFill>
              <a:latin typeface="微软雅黑" panose="020B0503020204020204" pitchFamily="34" charset="-122"/>
              <a:ea typeface="微软雅黑" panose="020B0503020204020204" pitchFamily="34" charset="-122"/>
              <a:cs typeface="黑体" panose="02010609060101010101" charset="-122"/>
            </a:endParaRPr>
          </a:p>
          <a:p>
            <a:pPr>
              <a:lnSpc>
                <a:spcPct val="120000"/>
              </a:lnSpc>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cs typeface="黑体" panose="02010609060101010101" charset="-122"/>
              </a:rPr>
              <a:t>信用记录良好。</a:t>
            </a:r>
            <a:endParaRPr lang="en-US" altLang="zh-CN" sz="1600" dirty="0">
              <a:latin typeface="微软雅黑" panose="020B0503020204020204" pitchFamily="34" charset="-122"/>
              <a:ea typeface="微软雅黑" panose="020B0503020204020204" pitchFamily="34" charset="-122"/>
              <a:cs typeface="黑体" panose="02010609060101010101" charset="-122"/>
            </a:endParaRPr>
          </a:p>
        </p:txBody>
      </p:sp>
      <p:sp>
        <p:nvSpPr>
          <p:cNvPr id="20" name="TextBox 19"/>
          <p:cNvSpPr txBox="1"/>
          <p:nvPr/>
        </p:nvSpPr>
        <p:spPr>
          <a:xfrm>
            <a:off x="1097763" y="274165"/>
            <a:ext cx="1631210" cy="538605"/>
          </a:xfrm>
          <a:prstGeom prst="rect">
            <a:avLst/>
          </a:prstGeom>
          <a:noFill/>
        </p:spPr>
        <p:txBody>
          <a:bodyPr wrap="none" lIns="121917" tIns="60958" rIns="121917" bIns="60958" rtlCol="0">
            <a:spAutoFit/>
          </a:bodyPr>
          <a:lstStyle/>
          <a:p>
            <a:r>
              <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rPr>
              <a:t>产品要素</a:t>
            </a:r>
            <a:endParaRPr lang="zh-CN" altLang="en-US" sz="27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1" name="Text Box 9"/>
          <p:cNvSpPr txBox="1">
            <a:spLocks noChangeArrowheads="1"/>
          </p:cNvSpPr>
          <p:nvPr/>
        </p:nvSpPr>
        <p:spPr bwMode="auto">
          <a:xfrm>
            <a:off x="3885477" y="3350623"/>
            <a:ext cx="908436" cy="540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100" b="1" dirty="0">
                <a:solidFill>
                  <a:schemeClr val="bg1"/>
                </a:solidFill>
                <a:latin typeface="微软雅黑" panose="020B0503020204020204" pitchFamily="34" charset="-122"/>
                <a:ea typeface="微软雅黑" panose="020B0503020204020204" pitchFamily="34" charset="-122"/>
              </a:rPr>
              <a:t>期限</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sp>
        <p:nvSpPr>
          <p:cNvPr id="22" name="Text Box 9"/>
          <p:cNvSpPr txBox="1">
            <a:spLocks noChangeArrowheads="1"/>
          </p:cNvSpPr>
          <p:nvPr/>
        </p:nvSpPr>
        <p:spPr bwMode="auto">
          <a:xfrm>
            <a:off x="6335308" y="3236979"/>
            <a:ext cx="820267" cy="73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900" b="1" dirty="0">
                <a:solidFill>
                  <a:schemeClr val="bg1"/>
                </a:solidFill>
                <a:latin typeface="微软雅黑" panose="020B0503020204020204" pitchFamily="34" charset="-122"/>
                <a:ea typeface="微软雅黑" panose="020B0503020204020204" pitchFamily="34" charset="-122"/>
              </a:rPr>
              <a:t>担保</a:t>
            </a:r>
            <a:endParaRPr lang="en-US" altLang="zh-CN" sz="1900"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900" b="1" dirty="0">
                <a:solidFill>
                  <a:schemeClr val="bg1"/>
                </a:solidFill>
                <a:latin typeface="微软雅黑" panose="020B0503020204020204" pitchFamily="34" charset="-122"/>
                <a:ea typeface="微软雅黑" panose="020B0503020204020204" pitchFamily="34" charset="-122"/>
              </a:rPr>
              <a:t>条件</a:t>
            </a:r>
            <a:endParaRPr lang="zh-CN" altLang="en-US" sz="1900" b="1" dirty="0">
              <a:solidFill>
                <a:schemeClr val="bg1"/>
              </a:solidFill>
              <a:latin typeface="微软雅黑" panose="020B0503020204020204" pitchFamily="34" charset="-122"/>
              <a:ea typeface="微软雅黑" panose="020B0503020204020204" pitchFamily="34" charset="-122"/>
            </a:endParaRPr>
          </a:p>
        </p:txBody>
      </p:sp>
      <p:sp>
        <p:nvSpPr>
          <p:cNvPr id="23" name="Text Box 9"/>
          <p:cNvSpPr txBox="1">
            <a:spLocks noChangeArrowheads="1"/>
          </p:cNvSpPr>
          <p:nvPr/>
        </p:nvSpPr>
        <p:spPr bwMode="auto">
          <a:xfrm>
            <a:off x="8705638" y="3229620"/>
            <a:ext cx="828676" cy="70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900" b="1" dirty="0">
                <a:solidFill>
                  <a:schemeClr val="bg1"/>
                </a:solidFill>
                <a:latin typeface="微软雅黑" panose="020B0503020204020204" pitchFamily="34" charset="-122"/>
                <a:ea typeface="微软雅黑" panose="020B0503020204020204" pitchFamily="34" charset="-122"/>
              </a:rPr>
              <a:t>办理</a:t>
            </a:r>
            <a:endParaRPr lang="en-US" altLang="zh-CN" sz="1900"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900" b="1" dirty="0">
                <a:solidFill>
                  <a:schemeClr val="bg1"/>
                </a:solidFill>
                <a:latin typeface="微软雅黑" panose="020B0503020204020204" pitchFamily="34" charset="-122"/>
                <a:ea typeface="微软雅黑" panose="020B0503020204020204" pitchFamily="34" charset="-122"/>
              </a:rPr>
              <a:t>条件</a:t>
            </a:r>
            <a:endParaRPr lang="zh-CN" altLang="en-US" sz="19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联系我们</a:t>
            </a:r>
            <a:endParaRPr lang="zh-CN" altLang="en-US" dirty="0"/>
          </a:p>
        </p:txBody>
      </p:sp>
      <p:grpSp>
        <p:nvGrpSpPr>
          <p:cNvPr id="5" name="26476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95" y="1306513"/>
            <a:ext cx="12192000" cy="4933950"/>
            <a:chOff x="-7145" y="1304132"/>
            <a:chExt cx="12192000" cy="4933950"/>
          </a:xfrm>
        </p:grpSpPr>
        <p:sp>
          <p:nvSpPr>
            <p:cNvPr id="6" name="iṣ1íḋé"/>
            <p:cNvSpPr/>
            <p:nvPr/>
          </p:nvSpPr>
          <p:spPr>
            <a:xfrm>
              <a:off x="-7145" y="2372086"/>
              <a:ext cx="12192000" cy="257811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1828165" rtl="0" eaLnBrk="1" latinLnBrk="0" hangingPunct="1">
                <a:defRPr sz="3600" kern="1200">
                  <a:solidFill>
                    <a:schemeClr val="lt1"/>
                  </a:solidFill>
                </a:defRPr>
              </a:lvl1pPr>
              <a:lvl2pPr marL="914400" algn="l" defTabSz="1828165" rtl="0" eaLnBrk="1" latinLnBrk="0" hangingPunct="1">
                <a:defRPr sz="3600" kern="1200">
                  <a:solidFill>
                    <a:schemeClr val="lt1"/>
                  </a:solidFill>
                </a:defRPr>
              </a:lvl2pPr>
              <a:lvl3pPr marL="1828165" algn="l" defTabSz="1828165" rtl="0" eaLnBrk="1" latinLnBrk="0" hangingPunct="1">
                <a:defRPr sz="3600" kern="1200">
                  <a:solidFill>
                    <a:schemeClr val="lt1"/>
                  </a:solidFill>
                </a:defRPr>
              </a:lvl3pPr>
              <a:lvl4pPr marL="2742565" algn="l" defTabSz="1828165" rtl="0" eaLnBrk="1" latinLnBrk="0" hangingPunct="1">
                <a:defRPr sz="3600" kern="1200">
                  <a:solidFill>
                    <a:schemeClr val="lt1"/>
                  </a:solidFill>
                </a:defRPr>
              </a:lvl4pPr>
              <a:lvl5pPr marL="3656965" algn="l" defTabSz="1828165" rtl="0" eaLnBrk="1" latinLnBrk="0" hangingPunct="1">
                <a:defRPr sz="3600" kern="1200">
                  <a:solidFill>
                    <a:schemeClr val="lt1"/>
                  </a:solidFill>
                </a:defRPr>
              </a:lvl5pPr>
              <a:lvl6pPr marL="4571365" algn="l" defTabSz="1828165" rtl="0" eaLnBrk="1" latinLnBrk="0" hangingPunct="1">
                <a:defRPr sz="3600" kern="1200">
                  <a:solidFill>
                    <a:schemeClr val="lt1"/>
                  </a:solidFill>
                </a:defRPr>
              </a:lvl6pPr>
              <a:lvl7pPr marL="5485130" algn="l" defTabSz="1828165" rtl="0" eaLnBrk="1" latinLnBrk="0" hangingPunct="1">
                <a:defRPr sz="3600" kern="1200">
                  <a:solidFill>
                    <a:schemeClr val="lt1"/>
                  </a:solidFill>
                </a:defRPr>
              </a:lvl7pPr>
              <a:lvl8pPr marL="6399530" algn="l" defTabSz="1828165" rtl="0" eaLnBrk="1" latinLnBrk="0" hangingPunct="1">
                <a:defRPr sz="3600" kern="1200">
                  <a:solidFill>
                    <a:schemeClr val="lt1"/>
                  </a:solidFill>
                </a:defRPr>
              </a:lvl8pPr>
              <a:lvl9pPr marL="7313930" algn="l" defTabSz="1828165" rtl="0" eaLnBrk="1" latinLnBrk="0" hangingPunct="1">
                <a:defRPr sz="3600" kern="1200">
                  <a:solidFill>
                    <a:schemeClr val="lt1"/>
                  </a:solidFill>
                </a:defRPr>
              </a:lvl9pPr>
            </a:lstStyle>
            <a:p>
              <a:pPr algn="ctr"/>
              <a:endParaRPr lang="ru-RU"/>
            </a:p>
          </p:txBody>
        </p:sp>
        <p:sp>
          <p:nvSpPr>
            <p:cNvPr id="29" name="isļíḋe"/>
            <p:cNvSpPr txBox="1"/>
            <p:nvPr/>
          </p:nvSpPr>
          <p:spPr bwMode="auto">
            <a:xfrm>
              <a:off x="886799" y="5188105"/>
              <a:ext cx="3263900" cy="47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800" b="1" dirty="0">
                  <a:solidFill>
                    <a:srgbClr val="C00000"/>
                  </a:solidFill>
                </a:rPr>
                <a:t>扫码预约申请</a:t>
              </a:r>
              <a:endParaRPr lang="en-US" altLang="zh-CN" sz="2800" b="1" dirty="0">
                <a:solidFill>
                  <a:srgbClr val="C00000"/>
                </a:solidFill>
              </a:endParaRPr>
            </a:p>
          </p:txBody>
        </p:sp>
        <p:grpSp>
          <p:nvGrpSpPr>
            <p:cNvPr id="9" name="îṡľïḓe"/>
            <p:cNvGrpSpPr/>
            <p:nvPr/>
          </p:nvGrpSpPr>
          <p:grpSpPr>
            <a:xfrm>
              <a:off x="2123461" y="1421311"/>
              <a:ext cx="790575" cy="790575"/>
              <a:chOff x="1792467" y="1421311"/>
              <a:chExt cx="790575" cy="790575"/>
            </a:xfrm>
          </p:grpSpPr>
          <p:sp>
            <p:nvSpPr>
              <p:cNvPr id="26" name="ïś1íḓe"/>
              <p:cNvSpPr/>
              <p:nvPr/>
            </p:nvSpPr>
            <p:spPr>
              <a:xfrm>
                <a:off x="1792467" y="1421311"/>
                <a:ext cx="790575" cy="790575"/>
              </a:xfrm>
              <a:prstGeom prst="ellipse">
                <a:avLst/>
              </a:prstGeom>
              <a:solidFill>
                <a:schemeClr val="accent2">
                  <a:lumMod val="75000"/>
                </a:schemeClr>
              </a:solidFill>
              <a:ln w="381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27" name="îṡľîḑé"/>
              <p:cNvSpPr/>
              <p:nvPr/>
            </p:nvSpPr>
            <p:spPr>
              <a:xfrm>
                <a:off x="1973441" y="1637777"/>
                <a:ext cx="428626" cy="357640"/>
              </a:xfrm>
              <a:custGeom>
                <a:avLst/>
                <a:gdLst>
                  <a:gd name="connsiteX0" fmla="*/ 409335 w 603951"/>
                  <a:gd name="connsiteY0" fmla="*/ 174560 h 503930"/>
                  <a:gd name="connsiteX1" fmla="*/ 434158 w 603951"/>
                  <a:gd name="connsiteY1" fmla="*/ 174560 h 503930"/>
                  <a:gd name="connsiteX2" fmla="*/ 434158 w 603951"/>
                  <a:gd name="connsiteY2" fmla="*/ 196395 h 503930"/>
                  <a:gd name="connsiteX3" fmla="*/ 469904 w 603951"/>
                  <a:gd name="connsiteY3" fmla="*/ 204335 h 503930"/>
                  <a:gd name="connsiteX4" fmla="*/ 461960 w 603951"/>
                  <a:gd name="connsiteY4" fmla="*/ 232125 h 503930"/>
                  <a:gd name="connsiteX5" fmla="*/ 427208 w 603951"/>
                  <a:gd name="connsiteY5" fmla="*/ 224185 h 503930"/>
                  <a:gd name="connsiteX6" fmla="*/ 405363 w 603951"/>
                  <a:gd name="connsiteY6" fmla="*/ 238080 h 503930"/>
                  <a:gd name="connsiteX7" fmla="*/ 435151 w 603951"/>
                  <a:gd name="connsiteY7" fmla="*/ 258922 h 503930"/>
                  <a:gd name="connsiteX8" fmla="*/ 476854 w 603951"/>
                  <a:gd name="connsiteY8" fmla="*/ 305569 h 503930"/>
                  <a:gd name="connsiteX9" fmla="*/ 432172 w 603951"/>
                  <a:gd name="connsiteY9" fmla="*/ 351224 h 503930"/>
                  <a:gd name="connsiteX10" fmla="*/ 432172 w 603951"/>
                  <a:gd name="connsiteY10" fmla="*/ 376036 h 503930"/>
                  <a:gd name="connsiteX11" fmla="*/ 408342 w 603951"/>
                  <a:gd name="connsiteY11" fmla="*/ 376036 h 503930"/>
                  <a:gd name="connsiteX12" fmla="*/ 408342 w 603951"/>
                  <a:gd name="connsiteY12" fmla="*/ 353209 h 503930"/>
                  <a:gd name="connsiteX13" fmla="*/ 366639 w 603951"/>
                  <a:gd name="connsiteY13" fmla="*/ 342291 h 503930"/>
                  <a:gd name="connsiteX14" fmla="*/ 373589 w 603951"/>
                  <a:gd name="connsiteY14" fmla="*/ 313509 h 503930"/>
                  <a:gd name="connsiteX15" fmla="*/ 414300 w 603951"/>
                  <a:gd name="connsiteY15" fmla="*/ 324426 h 503930"/>
                  <a:gd name="connsiteX16" fmla="*/ 438130 w 603951"/>
                  <a:gd name="connsiteY16" fmla="*/ 308546 h 503930"/>
                  <a:gd name="connsiteX17" fmla="*/ 412314 w 603951"/>
                  <a:gd name="connsiteY17" fmla="*/ 287704 h 503930"/>
                  <a:gd name="connsiteX18" fmla="*/ 367632 w 603951"/>
                  <a:gd name="connsiteY18" fmla="*/ 242050 h 503930"/>
                  <a:gd name="connsiteX19" fmla="*/ 409335 w 603951"/>
                  <a:gd name="connsiteY19" fmla="*/ 198380 h 503930"/>
                  <a:gd name="connsiteX20" fmla="*/ 23849 w 603951"/>
                  <a:gd name="connsiteY20" fmla="*/ 147802 h 503930"/>
                  <a:gd name="connsiteX21" fmla="*/ 179857 w 603951"/>
                  <a:gd name="connsiteY21" fmla="*/ 147802 h 503930"/>
                  <a:gd name="connsiteX22" fmla="*/ 202712 w 603951"/>
                  <a:gd name="connsiteY22" fmla="*/ 171610 h 503930"/>
                  <a:gd name="connsiteX23" fmla="*/ 202712 w 603951"/>
                  <a:gd name="connsiteY23" fmla="*/ 321402 h 503930"/>
                  <a:gd name="connsiteX24" fmla="*/ 178864 w 603951"/>
                  <a:gd name="connsiteY24" fmla="*/ 345210 h 503930"/>
                  <a:gd name="connsiteX25" fmla="*/ 159984 w 603951"/>
                  <a:gd name="connsiteY25" fmla="*/ 336282 h 503930"/>
                  <a:gd name="connsiteX26" fmla="*/ 151041 w 603951"/>
                  <a:gd name="connsiteY26" fmla="*/ 481114 h 503930"/>
                  <a:gd name="connsiteX27" fmla="*/ 126198 w 603951"/>
                  <a:gd name="connsiteY27" fmla="*/ 503930 h 503930"/>
                  <a:gd name="connsiteX28" fmla="*/ 77508 w 603951"/>
                  <a:gd name="connsiteY28" fmla="*/ 503930 h 503930"/>
                  <a:gd name="connsiteX29" fmla="*/ 52665 w 603951"/>
                  <a:gd name="connsiteY29" fmla="*/ 481114 h 503930"/>
                  <a:gd name="connsiteX30" fmla="*/ 42729 w 603951"/>
                  <a:gd name="connsiteY30" fmla="*/ 336282 h 503930"/>
                  <a:gd name="connsiteX31" fmla="*/ 24842 w 603951"/>
                  <a:gd name="connsiteY31" fmla="*/ 345210 h 503930"/>
                  <a:gd name="connsiteX32" fmla="*/ 994 w 603951"/>
                  <a:gd name="connsiteY32" fmla="*/ 321402 h 503930"/>
                  <a:gd name="connsiteX33" fmla="*/ 0 w 603951"/>
                  <a:gd name="connsiteY33" fmla="*/ 171610 h 503930"/>
                  <a:gd name="connsiteX34" fmla="*/ 23849 w 603951"/>
                  <a:gd name="connsiteY34" fmla="*/ 147802 h 503930"/>
                  <a:gd name="connsiteX35" fmla="*/ 421189 w 603951"/>
                  <a:gd name="connsiteY35" fmla="*/ 144915 h 503930"/>
                  <a:gd name="connsiteX36" fmla="*/ 291070 w 603951"/>
                  <a:gd name="connsiteY36" fmla="*/ 275856 h 503930"/>
                  <a:gd name="connsiteX37" fmla="*/ 421189 w 603951"/>
                  <a:gd name="connsiteY37" fmla="*/ 405804 h 503930"/>
                  <a:gd name="connsiteX38" fmla="*/ 552301 w 603951"/>
                  <a:gd name="connsiteY38" fmla="*/ 275856 h 503930"/>
                  <a:gd name="connsiteX39" fmla="*/ 421189 w 603951"/>
                  <a:gd name="connsiteY39" fmla="*/ 144915 h 503930"/>
                  <a:gd name="connsiteX40" fmla="*/ 421189 w 603951"/>
                  <a:gd name="connsiteY40" fmla="*/ 93332 h 503930"/>
                  <a:gd name="connsiteX41" fmla="*/ 603951 w 603951"/>
                  <a:gd name="connsiteY41" fmla="*/ 275856 h 503930"/>
                  <a:gd name="connsiteX42" fmla="*/ 421189 w 603951"/>
                  <a:gd name="connsiteY42" fmla="*/ 458379 h 503930"/>
                  <a:gd name="connsiteX43" fmla="*/ 238427 w 603951"/>
                  <a:gd name="connsiteY43" fmla="*/ 275856 h 503930"/>
                  <a:gd name="connsiteX44" fmla="*/ 421189 w 603951"/>
                  <a:gd name="connsiteY44" fmla="*/ 93332 h 503930"/>
                  <a:gd name="connsiteX45" fmla="*/ 101854 w 603951"/>
                  <a:gd name="connsiteY45" fmla="*/ 0 h 503930"/>
                  <a:gd name="connsiteX46" fmla="*/ 167872 w 603951"/>
                  <a:gd name="connsiteY46" fmla="*/ 66018 h 503930"/>
                  <a:gd name="connsiteX47" fmla="*/ 101854 w 603951"/>
                  <a:gd name="connsiteY47" fmla="*/ 132036 h 503930"/>
                  <a:gd name="connsiteX48" fmla="*/ 35836 w 603951"/>
                  <a:gd name="connsiteY48" fmla="*/ 66018 h 503930"/>
                  <a:gd name="connsiteX49" fmla="*/ 101854 w 603951"/>
                  <a:gd name="connsiteY49" fmla="*/ 0 h 50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3951" h="503930">
                    <a:moveTo>
                      <a:pt x="409335" y="174560"/>
                    </a:moveTo>
                    <a:lnTo>
                      <a:pt x="434158" y="174560"/>
                    </a:lnTo>
                    <a:lnTo>
                      <a:pt x="434158" y="196395"/>
                    </a:lnTo>
                    <a:cubicBezTo>
                      <a:pt x="450045" y="197387"/>
                      <a:pt x="461960" y="200365"/>
                      <a:pt x="469904" y="204335"/>
                    </a:cubicBezTo>
                    <a:lnTo>
                      <a:pt x="461960" y="232125"/>
                    </a:lnTo>
                    <a:cubicBezTo>
                      <a:pt x="456003" y="230140"/>
                      <a:pt x="445080" y="224185"/>
                      <a:pt x="427208" y="224185"/>
                    </a:cubicBezTo>
                    <a:cubicBezTo>
                      <a:pt x="410328" y="224185"/>
                      <a:pt x="405363" y="231132"/>
                      <a:pt x="405363" y="238080"/>
                    </a:cubicBezTo>
                    <a:cubicBezTo>
                      <a:pt x="405363" y="246019"/>
                      <a:pt x="414300" y="250982"/>
                      <a:pt x="435151" y="258922"/>
                    </a:cubicBezTo>
                    <a:cubicBezTo>
                      <a:pt x="464939" y="269839"/>
                      <a:pt x="476854" y="283734"/>
                      <a:pt x="476854" y="305569"/>
                    </a:cubicBezTo>
                    <a:cubicBezTo>
                      <a:pt x="476854" y="327404"/>
                      <a:pt x="460967" y="346261"/>
                      <a:pt x="432172" y="351224"/>
                    </a:cubicBezTo>
                    <a:lnTo>
                      <a:pt x="432172" y="376036"/>
                    </a:lnTo>
                    <a:lnTo>
                      <a:pt x="408342" y="376036"/>
                    </a:lnTo>
                    <a:lnTo>
                      <a:pt x="408342" y="353209"/>
                    </a:lnTo>
                    <a:cubicBezTo>
                      <a:pt x="391462" y="352216"/>
                      <a:pt x="375575" y="348246"/>
                      <a:pt x="366639" y="342291"/>
                    </a:cubicBezTo>
                    <a:lnTo>
                      <a:pt x="373589" y="313509"/>
                    </a:lnTo>
                    <a:cubicBezTo>
                      <a:pt x="383519" y="319464"/>
                      <a:pt x="398413" y="324426"/>
                      <a:pt x="414300" y="324426"/>
                    </a:cubicBezTo>
                    <a:cubicBezTo>
                      <a:pt x="429193" y="324426"/>
                      <a:pt x="438130" y="318471"/>
                      <a:pt x="438130" y="308546"/>
                    </a:cubicBezTo>
                    <a:cubicBezTo>
                      <a:pt x="438130" y="299614"/>
                      <a:pt x="430186" y="293659"/>
                      <a:pt x="412314" y="287704"/>
                    </a:cubicBezTo>
                    <a:cubicBezTo>
                      <a:pt x="385505" y="278772"/>
                      <a:pt x="367632" y="265869"/>
                      <a:pt x="367632" y="242050"/>
                    </a:cubicBezTo>
                    <a:cubicBezTo>
                      <a:pt x="367632" y="220215"/>
                      <a:pt x="383519" y="203342"/>
                      <a:pt x="409335" y="198380"/>
                    </a:cubicBezTo>
                    <a:close/>
                    <a:moveTo>
                      <a:pt x="23849" y="147802"/>
                    </a:moveTo>
                    <a:cubicBezTo>
                      <a:pt x="34779" y="147802"/>
                      <a:pt x="178864" y="147802"/>
                      <a:pt x="179857" y="147802"/>
                    </a:cubicBezTo>
                    <a:cubicBezTo>
                      <a:pt x="192775" y="147802"/>
                      <a:pt x="203706" y="158714"/>
                      <a:pt x="202712" y="171610"/>
                    </a:cubicBezTo>
                    <a:lnTo>
                      <a:pt x="202712" y="321402"/>
                    </a:lnTo>
                    <a:cubicBezTo>
                      <a:pt x="202712" y="334298"/>
                      <a:pt x="191782" y="345210"/>
                      <a:pt x="178864" y="345210"/>
                    </a:cubicBezTo>
                    <a:cubicBezTo>
                      <a:pt x="170914" y="345210"/>
                      <a:pt x="164952" y="341242"/>
                      <a:pt x="159984" y="336282"/>
                    </a:cubicBezTo>
                    <a:lnTo>
                      <a:pt x="151041" y="481114"/>
                    </a:lnTo>
                    <a:cubicBezTo>
                      <a:pt x="150047" y="494010"/>
                      <a:pt x="139116" y="503930"/>
                      <a:pt x="126198" y="503930"/>
                    </a:cubicBezTo>
                    <a:lnTo>
                      <a:pt x="77508" y="503930"/>
                    </a:lnTo>
                    <a:cubicBezTo>
                      <a:pt x="63596" y="503930"/>
                      <a:pt x="53659" y="495002"/>
                      <a:pt x="52665" y="481114"/>
                    </a:cubicBezTo>
                    <a:lnTo>
                      <a:pt x="42729" y="336282"/>
                    </a:lnTo>
                    <a:cubicBezTo>
                      <a:pt x="38754" y="341242"/>
                      <a:pt x="31798" y="345210"/>
                      <a:pt x="24842" y="345210"/>
                    </a:cubicBezTo>
                    <a:cubicBezTo>
                      <a:pt x="10931" y="345210"/>
                      <a:pt x="994" y="334298"/>
                      <a:pt x="994" y="321402"/>
                    </a:cubicBezTo>
                    <a:lnTo>
                      <a:pt x="0" y="171610"/>
                    </a:lnTo>
                    <a:cubicBezTo>
                      <a:pt x="0" y="158714"/>
                      <a:pt x="10931" y="147802"/>
                      <a:pt x="23849" y="147802"/>
                    </a:cubicBezTo>
                    <a:close/>
                    <a:moveTo>
                      <a:pt x="421189" y="144915"/>
                    </a:moveTo>
                    <a:cubicBezTo>
                      <a:pt x="349673" y="144915"/>
                      <a:pt x="291070" y="203441"/>
                      <a:pt x="291070" y="275856"/>
                    </a:cubicBezTo>
                    <a:cubicBezTo>
                      <a:pt x="291070" y="347278"/>
                      <a:pt x="349673" y="405804"/>
                      <a:pt x="421189" y="405804"/>
                    </a:cubicBezTo>
                    <a:cubicBezTo>
                      <a:pt x="493698" y="405804"/>
                      <a:pt x="552301" y="347278"/>
                      <a:pt x="552301" y="275856"/>
                    </a:cubicBezTo>
                    <a:cubicBezTo>
                      <a:pt x="552301" y="203441"/>
                      <a:pt x="493698" y="144915"/>
                      <a:pt x="421189" y="144915"/>
                    </a:cubicBezTo>
                    <a:close/>
                    <a:moveTo>
                      <a:pt x="421189" y="93332"/>
                    </a:moveTo>
                    <a:cubicBezTo>
                      <a:pt x="522503" y="93332"/>
                      <a:pt x="603951" y="174674"/>
                      <a:pt x="603951" y="275856"/>
                    </a:cubicBezTo>
                    <a:cubicBezTo>
                      <a:pt x="603951" y="376045"/>
                      <a:pt x="522503" y="458379"/>
                      <a:pt x="421189" y="458379"/>
                    </a:cubicBezTo>
                    <a:cubicBezTo>
                      <a:pt x="320869" y="458379"/>
                      <a:pt x="238427" y="376045"/>
                      <a:pt x="238427" y="275856"/>
                    </a:cubicBezTo>
                    <a:cubicBezTo>
                      <a:pt x="238427" y="174674"/>
                      <a:pt x="320869" y="93332"/>
                      <a:pt x="421189" y="93332"/>
                    </a:cubicBezTo>
                    <a:close/>
                    <a:moveTo>
                      <a:pt x="101854" y="0"/>
                    </a:moveTo>
                    <a:cubicBezTo>
                      <a:pt x="138315" y="0"/>
                      <a:pt x="167872" y="29557"/>
                      <a:pt x="167872" y="66018"/>
                    </a:cubicBezTo>
                    <a:cubicBezTo>
                      <a:pt x="167872" y="102479"/>
                      <a:pt x="138315" y="132036"/>
                      <a:pt x="101854" y="132036"/>
                    </a:cubicBezTo>
                    <a:cubicBezTo>
                      <a:pt x="65393" y="132036"/>
                      <a:pt x="35836" y="102479"/>
                      <a:pt x="35836" y="66018"/>
                    </a:cubicBezTo>
                    <a:cubicBezTo>
                      <a:pt x="35836" y="29557"/>
                      <a:pt x="65393" y="0"/>
                      <a:pt x="101854" y="0"/>
                    </a:cubicBezTo>
                    <a:close/>
                  </a:path>
                </a:pathLst>
              </a:custGeom>
              <a:solidFill>
                <a:schemeClr val="bg1"/>
              </a:solid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grpSp>
        <p:sp>
          <p:nvSpPr>
            <p:cNvPr id="25" name="îṡḷïḋè"/>
            <p:cNvSpPr txBox="1"/>
            <p:nvPr/>
          </p:nvSpPr>
          <p:spPr bwMode="auto">
            <a:xfrm>
              <a:off x="5606230" y="1804233"/>
              <a:ext cx="5716366" cy="47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2800" b="1" dirty="0">
                  <a:solidFill>
                    <a:srgbClr val="11155B"/>
                  </a:solidFill>
                </a:rPr>
                <a:t>金融顾问专属服务</a:t>
              </a:r>
              <a:endParaRPr lang="en-US" altLang="zh-CN" sz="2800" b="1" dirty="0">
                <a:solidFill>
                  <a:srgbClr val="11155B"/>
                </a:solidFill>
              </a:endParaRPr>
            </a:p>
          </p:txBody>
        </p:sp>
        <p:sp>
          <p:nvSpPr>
            <p:cNvPr id="23" name="îşlïde"/>
            <p:cNvSpPr/>
            <p:nvPr/>
          </p:nvSpPr>
          <p:spPr>
            <a:xfrm>
              <a:off x="5904860" y="1311274"/>
              <a:ext cx="369578" cy="428626"/>
            </a:xfrm>
            <a:custGeom>
              <a:avLst/>
              <a:gdLst>
                <a:gd name="connsiteX0" fmla="*/ 319112 w 489849"/>
                <a:gd name="connsiteY0" fmla="*/ 229316 h 568112"/>
                <a:gd name="connsiteX1" fmla="*/ 466776 w 489849"/>
                <a:gd name="connsiteY1" fmla="*/ 229316 h 568112"/>
                <a:gd name="connsiteX2" fmla="*/ 489849 w 489849"/>
                <a:gd name="connsiteY2" fmla="*/ 252332 h 568112"/>
                <a:gd name="connsiteX3" fmla="*/ 488926 w 489849"/>
                <a:gd name="connsiteY3" fmla="*/ 394111 h 568112"/>
                <a:gd name="connsiteX4" fmla="*/ 465854 w 489849"/>
                <a:gd name="connsiteY4" fmla="*/ 417127 h 568112"/>
                <a:gd name="connsiteX5" fmla="*/ 448318 w 489849"/>
                <a:gd name="connsiteY5" fmla="*/ 407920 h 568112"/>
                <a:gd name="connsiteX6" fmla="*/ 440012 w 489849"/>
                <a:gd name="connsiteY6" fmla="*/ 546017 h 568112"/>
                <a:gd name="connsiteX7" fmla="*/ 416017 w 489849"/>
                <a:gd name="connsiteY7" fmla="*/ 568112 h 568112"/>
                <a:gd name="connsiteX8" fmla="*/ 369872 w 489849"/>
                <a:gd name="connsiteY8" fmla="*/ 568112 h 568112"/>
                <a:gd name="connsiteX9" fmla="*/ 345877 w 489849"/>
                <a:gd name="connsiteY9" fmla="*/ 546017 h 568112"/>
                <a:gd name="connsiteX10" fmla="*/ 336648 w 489849"/>
                <a:gd name="connsiteY10" fmla="*/ 407920 h 568112"/>
                <a:gd name="connsiteX11" fmla="*/ 319112 w 489849"/>
                <a:gd name="connsiteY11" fmla="*/ 417127 h 568112"/>
                <a:gd name="connsiteX12" fmla="*/ 296963 w 489849"/>
                <a:gd name="connsiteY12" fmla="*/ 394111 h 568112"/>
                <a:gd name="connsiteX13" fmla="*/ 296040 w 489849"/>
                <a:gd name="connsiteY13" fmla="*/ 252332 h 568112"/>
                <a:gd name="connsiteX14" fmla="*/ 319112 w 489849"/>
                <a:gd name="connsiteY14" fmla="*/ 229316 h 568112"/>
                <a:gd name="connsiteX15" fmla="*/ 218220 w 489849"/>
                <a:gd name="connsiteY15" fmla="*/ 220143 h 568112"/>
                <a:gd name="connsiteX16" fmla="*/ 245442 w 489849"/>
                <a:gd name="connsiteY16" fmla="*/ 247291 h 568112"/>
                <a:gd name="connsiteX17" fmla="*/ 218220 w 489849"/>
                <a:gd name="connsiteY17" fmla="*/ 274439 h 568112"/>
                <a:gd name="connsiteX18" fmla="*/ 190998 w 489849"/>
                <a:gd name="connsiteY18" fmla="*/ 247291 h 568112"/>
                <a:gd name="connsiteX19" fmla="*/ 218220 w 489849"/>
                <a:gd name="connsiteY19" fmla="*/ 220143 h 568112"/>
                <a:gd name="connsiteX20" fmla="*/ 124127 w 489849"/>
                <a:gd name="connsiteY20" fmla="*/ 220143 h 568112"/>
                <a:gd name="connsiteX21" fmla="*/ 151349 w 489849"/>
                <a:gd name="connsiteY21" fmla="*/ 247291 h 568112"/>
                <a:gd name="connsiteX22" fmla="*/ 124127 w 489849"/>
                <a:gd name="connsiteY22" fmla="*/ 274439 h 568112"/>
                <a:gd name="connsiteX23" fmla="*/ 96905 w 489849"/>
                <a:gd name="connsiteY23" fmla="*/ 247291 h 568112"/>
                <a:gd name="connsiteX24" fmla="*/ 124127 w 489849"/>
                <a:gd name="connsiteY24" fmla="*/ 220143 h 568112"/>
                <a:gd name="connsiteX25" fmla="*/ 111618 w 489849"/>
                <a:gd name="connsiteY25" fmla="*/ 137146 h 568112"/>
                <a:gd name="connsiteX26" fmla="*/ 249963 w 489849"/>
                <a:gd name="connsiteY26" fmla="*/ 137146 h 568112"/>
                <a:gd name="connsiteX27" fmla="*/ 267487 w 489849"/>
                <a:gd name="connsiteY27" fmla="*/ 154677 h 568112"/>
                <a:gd name="connsiteX28" fmla="*/ 249963 w 489849"/>
                <a:gd name="connsiteY28" fmla="*/ 172209 h 568112"/>
                <a:gd name="connsiteX29" fmla="*/ 111618 w 489849"/>
                <a:gd name="connsiteY29" fmla="*/ 172209 h 568112"/>
                <a:gd name="connsiteX30" fmla="*/ 94094 w 489849"/>
                <a:gd name="connsiteY30" fmla="*/ 154677 h 568112"/>
                <a:gd name="connsiteX31" fmla="*/ 111618 w 489849"/>
                <a:gd name="connsiteY31" fmla="*/ 137146 h 568112"/>
                <a:gd name="connsiteX32" fmla="*/ 392944 w 489849"/>
                <a:gd name="connsiteY32" fmla="*/ 88472 h 568112"/>
                <a:gd name="connsiteX33" fmla="*/ 455673 w 489849"/>
                <a:gd name="connsiteY33" fmla="*/ 151053 h 568112"/>
                <a:gd name="connsiteX34" fmla="*/ 392944 w 489849"/>
                <a:gd name="connsiteY34" fmla="*/ 213634 h 568112"/>
                <a:gd name="connsiteX35" fmla="*/ 330215 w 489849"/>
                <a:gd name="connsiteY35" fmla="*/ 151053 h 568112"/>
                <a:gd name="connsiteX36" fmla="*/ 392944 w 489849"/>
                <a:gd name="connsiteY36" fmla="*/ 88472 h 568112"/>
                <a:gd name="connsiteX37" fmla="*/ 18450 w 489849"/>
                <a:gd name="connsiteY37" fmla="*/ 0 h 568112"/>
                <a:gd name="connsiteX38" fmla="*/ 404971 w 489849"/>
                <a:gd name="connsiteY38" fmla="*/ 0 h 568112"/>
                <a:gd name="connsiteX39" fmla="*/ 423421 w 489849"/>
                <a:gd name="connsiteY39" fmla="*/ 18421 h 568112"/>
                <a:gd name="connsiteX40" fmla="*/ 423421 w 489849"/>
                <a:gd name="connsiteY40" fmla="*/ 70920 h 568112"/>
                <a:gd name="connsiteX41" fmla="*/ 392056 w 489849"/>
                <a:gd name="connsiteY41" fmla="*/ 64473 h 568112"/>
                <a:gd name="connsiteX42" fmla="*/ 328405 w 489849"/>
                <a:gd name="connsiteY42" fmla="*/ 93947 h 568112"/>
                <a:gd name="connsiteX43" fmla="*/ 58117 w 489849"/>
                <a:gd name="connsiteY43" fmla="*/ 93947 h 568112"/>
                <a:gd name="connsiteX44" fmla="*/ 58117 w 489849"/>
                <a:gd name="connsiteY44" fmla="*/ 299340 h 568112"/>
                <a:gd name="connsiteX45" fmla="*/ 79334 w 489849"/>
                <a:gd name="connsiteY45" fmla="*/ 320524 h 568112"/>
                <a:gd name="connsiteX46" fmla="*/ 273056 w 489849"/>
                <a:gd name="connsiteY46" fmla="*/ 320524 h 568112"/>
                <a:gd name="connsiteX47" fmla="*/ 273056 w 489849"/>
                <a:gd name="connsiteY47" fmla="*/ 367497 h 568112"/>
                <a:gd name="connsiteX48" fmla="*/ 79334 w 489849"/>
                <a:gd name="connsiteY48" fmla="*/ 367497 h 568112"/>
                <a:gd name="connsiteX49" fmla="*/ 11992 w 489849"/>
                <a:gd name="connsiteY49" fmla="*/ 299340 h 568112"/>
                <a:gd name="connsiteX50" fmla="*/ 11992 w 489849"/>
                <a:gd name="connsiteY50" fmla="*/ 95789 h 568112"/>
                <a:gd name="connsiteX51" fmla="*/ 0 w 489849"/>
                <a:gd name="connsiteY51" fmla="*/ 78289 h 568112"/>
                <a:gd name="connsiteX52" fmla="*/ 0 w 489849"/>
                <a:gd name="connsiteY52" fmla="*/ 18421 h 568112"/>
                <a:gd name="connsiteX53" fmla="*/ 18450 w 489849"/>
                <a:gd name="connsiteY53" fmla="*/ 0 h 56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89849" h="568112">
                  <a:moveTo>
                    <a:pt x="319112" y="229316"/>
                  </a:moveTo>
                  <a:cubicBezTo>
                    <a:pt x="329264" y="229316"/>
                    <a:pt x="466776" y="229316"/>
                    <a:pt x="466776" y="229316"/>
                  </a:cubicBezTo>
                  <a:cubicBezTo>
                    <a:pt x="479697" y="229316"/>
                    <a:pt x="489849" y="239443"/>
                    <a:pt x="489849" y="252332"/>
                  </a:cubicBezTo>
                  <a:lnTo>
                    <a:pt x="488926" y="394111"/>
                  </a:lnTo>
                  <a:cubicBezTo>
                    <a:pt x="488926" y="406079"/>
                    <a:pt x="478774" y="417127"/>
                    <a:pt x="465854" y="417127"/>
                  </a:cubicBezTo>
                  <a:cubicBezTo>
                    <a:pt x="459393" y="417127"/>
                    <a:pt x="452933" y="413444"/>
                    <a:pt x="448318" y="407920"/>
                  </a:cubicBezTo>
                  <a:lnTo>
                    <a:pt x="440012" y="546017"/>
                  </a:lnTo>
                  <a:cubicBezTo>
                    <a:pt x="439090" y="558906"/>
                    <a:pt x="428938" y="568112"/>
                    <a:pt x="416017" y="568112"/>
                  </a:cubicBezTo>
                  <a:lnTo>
                    <a:pt x="369872" y="568112"/>
                  </a:lnTo>
                  <a:cubicBezTo>
                    <a:pt x="356951" y="568112"/>
                    <a:pt x="346800" y="558906"/>
                    <a:pt x="345877" y="546017"/>
                  </a:cubicBezTo>
                  <a:lnTo>
                    <a:pt x="336648" y="407920"/>
                  </a:lnTo>
                  <a:cubicBezTo>
                    <a:pt x="332956" y="413444"/>
                    <a:pt x="326496" y="417127"/>
                    <a:pt x="319112" y="417127"/>
                  </a:cubicBezTo>
                  <a:cubicBezTo>
                    <a:pt x="307115" y="417127"/>
                    <a:pt x="296963" y="406079"/>
                    <a:pt x="296963" y="394111"/>
                  </a:cubicBezTo>
                  <a:lnTo>
                    <a:pt x="296040" y="252332"/>
                  </a:lnTo>
                  <a:cubicBezTo>
                    <a:pt x="296040" y="239443"/>
                    <a:pt x="306192" y="229316"/>
                    <a:pt x="319112" y="229316"/>
                  </a:cubicBezTo>
                  <a:close/>
                  <a:moveTo>
                    <a:pt x="218220" y="220143"/>
                  </a:moveTo>
                  <a:cubicBezTo>
                    <a:pt x="233254" y="220143"/>
                    <a:pt x="245442" y="232298"/>
                    <a:pt x="245442" y="247291"/>
                  </a:cubicBezTo>
                  <a:cubicBezTo>
                    <a:pt x="245442" y="262284"/>
                    <a:pt x="233254" y="274439"/>
                    <a:pt x="218220" y="274439"/>
                  </a:cubicBezTo>
                  <a:cubicBezTo>
                    <a:pt x="203186" y="274439"/>
                    <a:pt x="190998" y="262284"/>
                    <a:pt x="190998" y="247291"/>
                  </a:cubicBezTo>
                  <a:cubicBezTo>
                    <a:pt x="190998" y="232298"/>
                    <a:pt x="203186" y="220143"/>
                    <a:pt x="218220" y="220143"/>
                  </a:cubicBezTo>
                  <a:close/>
                  <a:moveTo>
                    <a:pt x="124127" y="220143"/>
                  </a:moveTo>
                  <a:cubicBezTo>
                    <a:pt x="139161" y="220143"/>
                    <a:pt x="151349" y="232298"/>
                    <a:pt x="151349" y="247291"/>
                  </a:cubicBezTo>
                  <a:cubicBezTo>
                    <a:pt x="151349" y="262284"/>
                    <a:pt x="139161" y="274439"/>
                    <a:pt x="124127" y="274439"/>
                  </a:cubicBezTo>
                  <a:cubicBezTo>
                    <a:pt x="109093" y="274439"/>
                    <a:pt x="96905" y="262284"/>
                    <a:pt x="96905" y="247291"/>
                  </a:cubicBezTo>
                  <a:cubicBezTo>
                    <a:pt x="96905" y="232298"/>
                    <a:pt x="109093" y="220143"/>
                    <a:pt x="124127" y="220143"/>
                  </a:cubicBezTo>
                  <a:close/>
                  <a:moveTo>
                    <a:pt x="111618" y="137146"/>
                  </a:moveTo>
                  <a:lnTo>
                    <a:pt x="249963" y="137146"/>
                  </a:lnTo>
                  <a:cubicBezTo>
                    <a:pt x="259186" y="137146"/>
                    <a:pt x="267487" y="144528"/>
                    <a:pt x="267487" y="154677"/>
                  </a:cubicBezTo>
                  <a:cubicBezTo>
                    <a:pt x="267487" y="164827"/>
                    <a:pt x="259186" y="172209"/>
                    <a:pt x="249963" y="172209"/>
                  </a:cubicBezTo>
                  <a:lnTo>
                    <a:pt x="111618" y="172209"/>
                  </a:lnTo>
                  <a:cubicBezTo>
                    <a:pt x="101472" y="172209"/>
                    <a:pt x="94094" y="163905"/>
                    <a:pt x="94094" y="154677"/>
                  </a:cubicBezTo>
                  <a:cubicBezTo>
                    <a:pt x="94094" y="144528"/>
                    <a:pt x="101472" y="137146"/>
                    <a:pt x="111618" y="137146"/>
                  </a:cubicBezTo>
                  <a:close/>
                  <a:moveTo>
                    <a:pt x="392944" y="88472"/>
                  </a:moveTo>
                  <a:cubicBezTo>
                    <a:pt x="427588" y="88472"/>
                    <a:pt x="455673" y="116490"/>
                    <a:pt x="455673" y="151053"/>
                  </a:cubicBezTo>
                  <a:cubicBezTo>
                    <a:pt x="455673" y="185616"/>
                    <a:pt x="427588" y="213634"/>
                    <a:pt x="392944" y="213634"/>
                  </a:cubicBezTo>
                  <a:cubicBezTo>
                    <a:pt x="358300" y="213634"/>
                    <a:pt x="330215" y="185616"/>
                    <a:pt x="330215" y="151053"/>
                  </a:cubicBezTo>
                  <a:cubicBezTo>
                    <a:pt x="330215" y="116490"/>
                    <a:pt x="358300" y="88472"/>
                    <a:pt x="392944" y="88472"/>
                  </a:cubicBezTo>
                  <a:close/>
                  <a:moveTo>
                    <a:pt x="18450" y="0"/>
                  </a:moveTo>
                  <a:lnTo>
                    <a:pt x="404971" y="0"/>
                  </a:lnTo>
                  <a:cubicBezTo>
                    <a:pt x="415119" y="0"/>
                    <a:pt x="423421" y="8289"/>
                    <a:pt x="423421" y="18421"/>
                  </a:cubicBezTo>
                  <a:lnTo>
                    <a:pt x="423421" y="70920"/>
                  </a:lnTo>
                  <a:cubicBezTo>
                    <a:pt x="414196" y="67236"/>
                    <a:pt x="403126" y="64473"/>
                    <a:pt x="392056" y="64473"/>
                  </a:cubicBezTo>
                  <a:cubicBezTo>
                    <a:pt x="367149" y="64473"/>
                    <a:pt x="344087" y="75526"/>
                    <a:pt x="328405" y="93947"/>
                  </a:cubicBezTo>
                  <a:lnTo>
                    <a:pt x="58117" y="93947"/>
                  </a:lnTo>
                  <a:lnTo>
                    <a:pt x="58117" y="299340"/>
                  </a:lnTo>
                  <a:cubicBezTo>
                    <a:pt x="58117" y="311313"/>
                    <a:pt x="68264" y="320524"/>
                    <a:pt x="79334" y="320524"/>
                  </a:cubicBezTo>
                  <a:lnTo>
                    <a:pt x="273056" y="320524"/>
                  </a:lnTo>
                  <a:lnTo>
                    <a:pt x="273056" y="367497"/>
                  </a:lnTo>
                  <a:lnTo>
                    <a:pt x="79334" y="367497"/>
                  </a:lnTo>
                  <a:cubicBezTo>
                    <a:pt x="42434" y="367497"/>
                    <a:pt x="11992" y="337103"/>
                    <a:pt x="11992" y="299340"/>
                  </a:cubicBezTo>
                  <a:lnTo>
                    <a:pt x="11992" y="95789"/>
                  </a:lnTo>
                  <a:cubicBezTo>
                    <a:pt x="5535" y="93026"/>
                    <a:pt x="0" y="86578"/>
                    <a:pt x="0" y="78289"/>
                  </a:cubicBezTo>
                  <a:lnTo>
                    <a:pt x="0" y="18421"/>
                  </a:lnTo>
                  <a:cubicBezTo>
                    <a:pt x="0" y="8289"/>
                    <a:pt x="8302" y="0"/>
                    <a:pt x="18450" y="0"/>
                  </a:cubicBezTo>
                  <a:close/>
                </a:path>
              </a:pathLst>
            </a:custGeom>
            <a:solidFill>
              <a:schemeClr val="bg1"/>
            </a:solid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19" name="iṩḷíḋè"/>
            <p:cNvSpPr/>
            <p:nvPr/>
          </p:nvSpPr>
          <p:spPr>
            <a:xfrm>
              <a:off x="9341643" y="1338985"/>
              <a:ext cx="428626" cy="373202"/>
            </a:xfrm>
            <a:custGeom>
              <a:avLst/>
              <a:gdLst>
                <a:gd name="connsiteX0" fmla="*/ 24839 w 606022"/>
                <a:gd name="connsiteY0" fmla="*/ 154651 h 527661"/>
                <a:gd name="connsiteX1" fmla="*/ 187786 w 606022"/>
                <a:gd name="connsiteY1" fmla="*/ 154651 h 527661"/>
                <a:gd name="connsiteX2" fmla="*/ 212625 w 606022"/>
                <a:gd name="connsiteY2" fmla="*/ 179452 h 527661"/>
                <a:gd name="connsiteX3" fmla="*/ 212625 w 606022"/>
                <a:gd name="connsiteY3" fmla="*/ 336196 h 527661"/>
                <a:gd name="connsiteX4" fmla="*/ 186792 w 606022"/>
                <a:gd name="connsiteY4" fmla="*/ 360997 h 527661"/>
                <a:gd name="connsiteX5" fmla="*/ 167914 w 606022"/>
                <a:gd name="connsiteY5" fmla="*/ 351076 h 527661"/>
                <a:gd name="connsiteX6" fmla="*/ 157978 w 606022"/>
                <a:gd name="connsiteY6" fmla="*/ 503852 h 527661"/>
                <a:gd name="connsiteX7" fmla="*/ 132145 w 606022"/>
                <a:gd name="connsiteY7" fmla="*/ 527661 h 527661"/>
                <a:gd name="connsiteX8" fmla="*/ 80480 w 606022"/>
                <a:gd name="connsiteY8" fmla="*/ 527661 h 527661"/>
                <a:gd name="connsiteX9" fmla="*/ 54647 w 606022"/>
                <a:gd name="connsiteY9" fmla="*/ 503852 h 527661"/>
                <a:gd name="connsiteX10" fmla="*/ 44711 w 606022"/>
                <a:gd name="connsiteY10" fmla="*/ 352069 h 527661"/>
                <a:gd name="connsiteX11" fmla="*/ 25833 w 606022"/>
                <a:gd name="connsiteY11" fmla="*/ 360997 h 527661"/>
                <a:gd name="connsiteX12" fmla="*/ 994 w 606022"/>
                <a:gd name="connsiteY12" fmla="*/ 336196 h 527661"/>
                <a:gd name="connsiteX13" fmla="*/ 0 w 606022"/>
                <a:gd name="connsiteY13" fmla="*/ 179452 h 527661"/>
                <a:gd name="connsiteX14" fmla="*/ 24839 w 606022"/>
                <a:gd name="connsiteY14" fmla="*/ 154651 h 527661"/>
                <a:gd name="connsiteX15" fmla="*/ 331782 w 606022"/>
                <a:gd name="connsiteY15" fmla="*/ 130920 h 527661"/>
                <a:gd name="connsiteX16" fmla="*/ 444021 w 606022"/>
                <a:gd name="connsiteY16" fmla="*/ 130920 h 527661"/>
                <a:gd name="connsiteX17" fmla="*/ 469846 w 606022"/>
                <a:gd name="connsiteY17" fmla="*/ 157678 h 527661"/>
                <a:gd name="connsiteX18" fmla="*/ 444021 w 606022"/>
                <a:gd name="connsiteY18" fmla="*/ 184435 h 527661"/>
                <a:gd name="connsiteX19" fmla="*/ 331782 w 606022"/>
                <a:gd name="connsiteY19" fmla="*/ 184435 h 527661"/>
                <a:gd name="connsiteX20" fmla="*/ 305957 w 606022"/>
                <a:gd name="connsiteY20" fmla="*/ 157678 h 527661"/>
                <a:gd name="connsiteX21" fmla="*/ 331782 w 606022"/>
                <a:gd name="connsiteY21" fmla="*/ 130920 h 527661"/>
                <a:gd name="connsiteX22" fmla="*/ 503213 w 606022"/>
                <a:gd name="connsiteY22" fmla="*/ 73423 h 527661"/>
                <a:gd name="connsiteX23" fmla="*/ 529572 w 606022"/>
                <a:gd name="connsiteY23" fmla="*/ 99703 h 527661"/>
                <a:gd name="connsiteX24" fmla="*/ 503213 w 606022"/>
                <a:gd name="connsiteY24" fmla="*/ 125983 h 527661"/>
                <a:gd name="connsiteX25" fmla="*/ 476854 w 606022"/>
                <a:gd name="connsiteY25" fmla="*/ 99703 h 527661"/>
                <a:gd name="connsiteX26" fmla="*/ 503213 w 606022"/>
                <a:gd name="connsiteY26" fmla="*/ 73423 h 527661"/>
                <a:gd name="connsiteX27" fmla="*/ 287128 w 606022"/>
                <a:gd name="connsiteY27" fmla="*/ 52570 h 527661"/>
                <a:gd name="connsiteX28" fmla="*/ 282160 w 606022"/>
                <a:gd name="connsiteY28" fmla="*/ 57530 h 527661"/>
                <a:gd name="connsiteX29" fmla="*/ 282160 w 606022"/>
                <a:gd name="connsiteY29" fmla="*/ 221192 h 527661"/>
                <a:gd name="connsiteX30" fmla="*/ 287128 w 606022"/>
                <a:gd name="connsiteY30" fmla="*/ 226152 h 527661"/>
                <a:gd name="connsiteX31" fmla="*/ 547409 w 606022"/>
                <a:gd name="connsiteY31" fmla="*/ 226152 h 527661"/>
                <a:gd name="connsiteX32" fmla="*/ 551383 w 606022"/>
                <a:gd name="connsiteY32" fmla="*/ 221192 h 527661"/>
                <a:gd name="connsiteX33" fmla="*/ 551383 w 606022"/>
                <a:gd name="connsiteY33" fmla="*/ 57530 h 527661"/>
                <a:gd name="connsiteX34" fmla="*/ 547409 w 606022"/>
                <a:gd name="connsiteY34" fmla="*/ 52570 h 527661"/>
                <a:gd name="connsiteX35" fmla="*/ 287128 w 606022"/>
                <a:gd name="connsiteY35" fmla="*/ 0 h 527661"/>
                <a:gd name="connsiteX36" fmla="*/ 547409 w 606022"/>
                <a:gd name="connsiteY36" fmla="*/ 0 h 527661"/>
                <a:gd name="connsiteX37" fmla="*/ 606022 w 606022"/>
                <a:gd name="connsiteY37" fmla="*/ 57530 h 527661"/>
                <a:gd name="connsiteX38" fmla="*/ 606022 w 606022"/>
                <a:gd name="connsiteY38" fmla="*/ 221192 h 527661"/>
                <a:gd name="connsiteX39" fmla="*/ 547409 w 606022"/>
                <a:gd name="connsiteY39" fmla="*/ 278722 h 527661"/>
                <a:gd name="connsiteX40" fmla="*/ 287128 w 606022"/>
                <a:gd name="connsiteY40" fmla="*/ 278722 h 527661"/>
                <a:gd name="connsiteX41" fmla="*/ 229508 w 606022"/>
                <a:gd name="connsiteY41" fmla="*/ 221192 h 527661"/>
                <a:gd name="connsiteX42" fmla="*/ 229508 w 606022"/>
                <a:gd name="connsiteY42" fmla="*/ 57530 h 527661"/>
                <a:gd name="connsiteX43" fmla="*/ 287128 w 606022"/>
                <a:gd name="connsiteY43" fmla="*/ 0 h 527661"/>
                <a:gd name="connsiteX44" fmla="*/ 106313 w 606022"/>
                <a:gd name="connsiteY44" fmla="*/ 0 h 527661"/>
                <a:gd name="connsiteX45" fmla="*/ 175835 w 606022"/>
                <a:gd name="connsiteY45" fmla="*/ 68964 h 527661"/>
                <a:gd name="connsiteX46" fmla="*/ 106313 w 606022"/>
                <a:gd name="connsiteY46" fmla="*/ 137928 h 527661"/>
                <a:gd name="connsiteX47" fmla="*/ 36791 w 606022"/>
                <a:gd name="connsiteY47" fmla="*/ 68964 h 527661"/>
                <a:gd name="connsiteX48" fmla="*/ 106313 w 606022"/>
                <a:gd name="connsiteY48" fmla="*/ 0 h 52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22" h="527661">
                  <a:moveTo>
                    <a:pt x="24839" y="154651"/>
                  </a:moveTo>
                  <a:cubicBezTo>
                    <a:pt x="35769" y="154651"/>
                    <a:pt x="187786" y="154651"/>
                    <a:pt x="187786" y="154651"/>
                  </a:cubicBezTo>
                  <a:cubicBezTo>
                    <a:pt x="201696" y="154651"/>
                    <a:pt x="212625" y="166556"/>
                    <a:pt x="212625" y="179452"/>
                  </a:cubicBezTo>
                  <a:lnTo>
                    <a:pt x="212625" y="336196"/>
                  </a:lnTo>
                  <a:cubicBezTo>
                    <a:pt x="211631" y="350084"/>
                    <a:pt x="200702" y="360997"/>
                    <a:pt x="186792" y="360997"/>
                  </a:cubicBezTo>
                  <a:cubicBezTo>
                    <a:pt x="178843" y="360997"/>
                    <a:pt x="171888" y="357029"/>
                    <a:pt x="167914" y="351076"/>
                  </a:cubicBezTo>
                  <a:lnTo>
                    <a:pt x="157978" y="503852"/>
                  </a:lnTo>
                  <a:cubicBezTo>
                    <a:pt x="156985" y="517741"/>
                    <a:pt x="146055" y="527661"/>
                    <a:pt x="132145" y="527661"/>
                  </a:cubicBezTo>
                  <a:lnTo>
                    <a:pt x="80480" y="527661"/>
                  </a:lnTo>
                  <a:cubicBezTo>
                    <a:pt x="66570" y="527661"/>
                    <a:pt x="55640" y="517741"/>
                    <a:pt x="54647" y="503852"/>
                  </a:cubicBezTo>
                  <a:lnTo>
                    <a:pt x="44711" y="352069"/>
                  </a:lnTo>
                  <a:cubicBezTo>
                    <a:pt x="40737" y="357029"/>
                    <a:pt x="33782" y="360997"/>
                    <a:pt x="25833" y="360997"/>
                  </a:cubicBezTo>
                  <a:cubicBezTo>
                    <a:pt x="11923" y="360997"/>
                    <a:pt x="994" y="350084"/>
                    <a:pt x="994" y="336196"/>
                  </a:cubicBezTo>
                  <a:lnTo>
                    <a:pt x="0" y="179452"/>
                  </a:lnTo>
                  <a:cubicBezTo>
                    <a:pt x="0" y="165564"/>
                    <a:pt x="10929" y="154651"/>
                    <a:pt x="24839" y="154651"/>
                  </a:cubicBezTo>
                  <a:close/>
                  <a:moveTo>
                    <a:pt x="331782" y="130920"/>
                  </a:moveTo>
                  <a:lnTo>
                    <a:pt x="444021" y="130920"/>
                  </a:lnTo>
                  <a:cubicBezTo>
                    <a:pt x="458920" y="130920"/>
                    <a:pt x="469846" y="142812"/>
                    <a:pt x="469846" y="157678"/>
                  </a:cubicBezTo>
                  <a:cubicBezTo>
                    <a:pt x="469846" y="172543"/>
                    <a:pt x="458920" y="184435"/>
                    <a:pt x="444021" y="184435"/>
                  </a:cubicBezTo>
                  <a:lnTo>
                    <a:pt x="331782" y="184435"/>
                  </a:lnTo>
                  <a:cubicBezTo>
                    <a:pt x="317876" y="184435"/>
                    <a:pt x="305957" y="172543"/>
                    <a:pt x="305957" y="157678"/>
                  </a:cubicBezTo>
                  <a:cubicBezTo>
                    <a:pt x="305957" y="142812"/>
                    <a:pt x="317876" y="130920"/>
                    <a:pt x="331782" y="130920"/>
                  </a:cubicBezTo>
                  <a:close/>
                  <a:moveTo>
                    <a:pt x="503213" y="73423"/>
                  </a:moveTo>
                  <a:cubicBezTo>
                    <a:pt x="517771" y="73423"/>
                    <a:pt x="529572" y="85189"/>
                    <a:pt x="529572" y="99703"/>
                  </a:cubicBezTo>
                  <a:cubicBezTo>
                    <a:pt x="529572" y="114217"/>
                    <a:pt x="517771" y="125983"/>
                    <a:pt x="503213" y="125983"/>
                  </a:cubicBezTo>
                  <a:cubicBezTo>
                    <a:pt x="488655" y="125983"/>
                    <a:pt x="476854" y="114217"/>
                    <a:pt x="476854" y="99703"/>
                  </a:cubicBezTo>
                  <a:cubicBezTo>
                    <a:pt x="476854" y="85189"/>
                    <a:pt x="488655" y="73423"/>
                    <a:pt x="503213" y="73423"/>
                  </a:cubicBezTo>
                  <a:close/>
                  <a:moveTo>
                    <a:pt x="287128" y="52570"/>
                  </a:moveTo>
                  <a:cubicBezTo>
                    <a:pt x="285141" y="52570"/>
                    <a:pt x="282160" y="54554"/>
                    <a:pt x="282160" y="57530"/>
                  </a:cubicBezTo>
                  <a:lnTo>
                    <a:pt x="282160" y="221192"/>
                  </a:lnTo>
                  <a:cubicBezTo>
                    <a:pt x="282160" y="224168"/>
                    <a:pt x="285141" y="226152"/>
                    <a:pt x="287128" y="226152"/>
                  </a:cubicBezTo>
                  <a:lnTo>
                    <a:pt x="547409" y="226152"/>
                  </a:lnTo>
                  <a:cubicBezTo>
                    <a:pt x="550389" y="226152"/>
                    <a:pt x="551383" y="224168"/>
                    <a:pt x="551383" y="221192"/>
                  </a:cubicBezTo>
                  <a:lnTo>
                    <a:pt x="551383" y="57530"/>
                  </a:lnTo>
                  <a:cubicBezTo>
                    <a:pt x="551383" y="54554"/>
                    <a:pt x="550389" y="52570"/>
                    <a:pt x="547409" y="52570"/>
                  </a:cubicBezTo>
                  <a:close/>
                  <a:moveTo>
                    <a:pt x="287128" y="0"/>
                  </a:moveTo>
                  <a:lnTo>
                    <a:pt x="547409" y="0"/>
                  </a:lnTo>
                  <a:cubicBezTo>
                    <a:pt x="579199" y="0"/>
                    <a:pt x="606022" y="25789"/>
                    <a:pt x="606022" y="57530"/>
                  </a:cubicBezTo>
                  <a:lnTo>
                    <a:pt x="606022" y="221192"/>
                  </a:lnTo>
                  <a:cubicBezTo>
                    <a:pt x="606022" y="252933"/>
                    <a:pt x="579199" y="278722"/>
                    <a:pt x="547409" y="278722"/>
                  </a:cubicBezTo>
                  <a:lnTo>
                    <a:pt x="287128" y="278722"/>
                  </a:lnTo>
                  <a:cubicBezTo>
                    <a:pt x="255337" y="278722"/>
                    <a:pt x="229508" y="252933"/>
                    <a:pt x="229508" y="221192"/>
                  </a:cubicBezTo>
                  <a:lnTo>
                    <a:pt x="229508" y="57530"/>
                  </a:lnTo>
                  <a:cubicBezTo>
                    <a:pt x="229508" y="25789"/>
                    <a:pt x="255337" y="0"/>
                    <a:pt x="287128" y="0"/>
                  </a:cubicBezTo>
                  <a:close/>
                  <a:moveTo>
                    <a:pt x="106313" y="0"/>
                  </a:moveTo>
                  <a:cubicBezTo>
                    <a:pt x="144709" y="0"/>
                    <a:pt x="175835" y="30876"/>
                    <a:pt x="175835" y="68964"/>
                  </a:cubicBezTo>
                  <a:cubicBezTo>
                    <a:pt x="175835" y="107052"/>
                    <a:pt x="144709" y="137928"/>
                    <a:pt x="106313" y="137928"/>
                  </a:cubicBezTo>
                  <a:cubicBezTo>
                    <a:pt x="67917" y="137928"/>
                    <a:pt x="36791" y="107052"/>
                    <a:pt x="36791" y="68964"/>
                  </a:cubicBezTo>
                  <a:cubicBezTo>
                    <a:pt x="36791" y="30876"/>
                    <a:pt x="67917" y="0"/>
                    <a:pt x="106313" y="0"/>
                  </a:cubicBezTo>
                  <a:close/>
                </a:path>
              </a:pathLst>
            </a:custGeom>
            <a:solidFill>
              <a:schemeClr val="bg1"/>
            </a:solid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cxnSp>
          <p:nvCxnSpPr>
            <p:cNvPr id="16" name="直接连接符 15"/>
            <p:cNvCxnSpPr/>
            <p:nvPr/>
          </p:nvCxnSpPr>
          <p:spPr>
            <a:xfrm>
              <a:off x="4518338" y="1304132"/>
              <a:ext cx="0" cy="493395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8675" y="2587207"/>
            <a:ext cx="2212846" cy="2139861"/>
          </a:xfrm>
          <a:prstGeom prst="rect">
            <a:avLst/>
          </a:prstGeom>
        </p:spPr>
      </p:pic>
      <p:graphicFrame>
        <p:nvGraphicFramePr>
          <p:cNvPr id="17" name="表格 10"/>
          <p:cNvGraphicFramePr>
            <a:graphicFrameLocks noGrp="1"/>
          </p:cNvGraphicFramePr>
          <p:nvPr/>
        </p:nvGraphicFramePr>
        <p:xfrm>
          <a:off x="4978131" y="2663190"/>
          <a:ext cx="6631977" cy="1962982"/>
        </p:xfrm>
        <a:graphic>
          <a:graphicData uri="http://schemas.openxmlformats.org/drawingml/2006/table">
            <a:tbl>
              <a:tblPr firstRow="1" bandRow="1">
                <a:tableStyleId>{3B4B98B0-60AC-42C2-AFA5-B58CD77FA1E5}</a:tableStyleId>
              </a:tblPr>
              <a:tblGrid>
                <a:gridCol w="1604395"/>
                <a:gridCol w="1446182"/>
                <a:gridCol w="2052471"/>
                <a:gridCol w="1528929"/>
              </a:tblGrid>
              <a:tr h="594360">
                <a:tc>
                  <a:txBody>
                    <a:bodyPr/>
                    <a:lstStyle/>
                    <a:p>
                      <a:pPr algn="ctr"/>
                      <a:r>
                        <a:rPr lang="zh-CN" altLang="en-US" sz="2000" dirty="0"/>
                        <a:t>机构名称</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dirty="0"/>
                        <a:t>联系人</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dirty="0"/>
                        <a:t>咨询电话</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dirty="0"/>
                        <a:t>备注</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r>
              <a:tr h="445770">
                <a:tc>
                  <a:txBody>
                    <a:bodyPr/>
                    <a:lstStyle/>
                    <a:p>
                      <a:pPr algn="ctr"/>
                      <a:r>
                        <a:rPr lang="zh-CN" altLang="en-US" sz="2000" dirty="0"/>
                        <a:t>横琴分行</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dirty="0"/>
                        <a:t>吴馥钙</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en-US" altLang="zh-CN" sz="2000" dirty="0"/>
                        <a:t>13926998368</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c>
                  <a:txBody>
                    <a:bodyPr/>
                    <a:lstStyle/>
                    <a:p>
                      <a:pPr algn="ctr"/>
                      <a:r>
                        <a:rPr lang="zh-CN" altLang="en-US" sz="2000" dirty="0"/>
                        <a:t>贷款办理</a:t>
                      </a:r>
                      <a:endParaRPr lang="zh-CN" altLang="en-US" sz="2000" b="1" dirty="0">
                        <a:latin typeface="微软雅黑" panose="020B0503020204020204" pitchFamily="34" charset="-122"/>
                        <a:ea typeface="微软雅黑" panose="020B0503020204020204" pitchFamily="34" charset="-122"/>
                      </a:endParaRPr>
                    </a:p>
                  </a:txBody>
                  <a:tcPr marL="91441" marR="91441" marT="45719" marB="45719" anchor="ctr"/>
                </a:tc>
              </a:tr>
              <a:tr h="468630">
                <a:tc>
                  <a:txBody>
                    <a:bodyPr/>
                    <a:lstStyle/>
                    <a:p>
                      <a:pPr algn="ctr"/>
                      <a:r>
                        <a:rPr lang="zh-CN" altLang="en-US" sz="2000" dirty="0"/>
                        <a:t>横琴分行</a:t>
                      </a:r>
                      <a:endParaRPr lang="en-US" altLang="zh-CN" sz="2000" dirty="0"/>
                    </a:p>
                  </a:txBody>
                  <a:tcPr marL="91441" marR="91441" marT="45719" marB="45719" anchor="ctr"/>
                </a:tc>
                <a:tc>
                  <a:txBody>
                    <a:bodyPr/>
                    <a:lstStyle/>
                    <a:p>
                      <a:pPr algn="ctr"/>
                      <a:r>
                        <a:rPr lang="zh-CN" altLang="en-US" sz="2000" dirty="0"/>
                        <a:t>黄   靖</a:t>
                      </a:r>
                      <a:endParaRPr lang="en-US" altLang="zh-CN" sz="2000" dirty="0"/>
                    </a:p>
                  </a:txBody>
                  <a:tcPr marL="91441" marR="91441" marT="45719" marB="45719" anchor="ctr"/>
                </a:tc>
                <a:tc>
                  <a:txBody>
                    <a:bodyPr/>
                    <a:lstStyle/>
                    <a:p>
                      <a:pPr algn="ctr"/>
                      <a:r>
                        <a:rPr lang="en-US" altLang="zh-CN" sz="2000" dirty="0"/>
                        <a:t>13702330610</a:t>
                      </a:r>
                      <a:endParaRPr lang="en-US" altLang="zh-CN" sz="2000" dirty="0"/>
                    </a:p>
                  </a:txBody>
                  <a:tcPr marL="91441" marR="91441" marT="45719" marB="45719" anchor="ctr"/>
                </a:tc>
                <a:tc>
                  <a:txBody>
                    <a:bodyPr/>
                    <a:lstStyle/>
                    <a:p>
                      <a:pPr algn="ctr"/>
                      <a:r>
                        <a:rPr lang="zh-CN" altLang="en-US" sz="2000" dirty="0"/>
                        <a:t>贷款办理</a:t>
                      </a:r>
                      <a:endParaRPr lang="en-US" altLang="zh-CN" sz="2000" dirty="0"/>
                    </a:p>
                  </a:txBody>
                  <a:tcPr marL="91441" marR="91441" marT="45719" marB="45719" anchor="ctr"/>
                </a:tc>
              </a:tr>
              <a:tr h="454222">
                <a:tc>
                  <a:txBody>
                    <a:bodyPr/>
                    <a:lstStyle/>
                    <a:p>
                      <a:pPr algn="ctr"/>
                      <a:r>
                        <a:rPr lang="zh-CN" altLang="en-US" sz="2000" dirty="0"/>
                        <a:t>总行公司部</a:t>
                      </a:r>
                      <a:endParaRPr lang="en-US" altLang="zh-CN" sz="2000" dirty="0"/>
                    </a:p>
                  </a:txBody>
                  <a:tcPr marL="91441" marR="91441" marT="45719" marB="45719" anchor="ctr"/>
                </a:tc>
                <a:tc>
                  <a:txBody>
                    <a:bodyPr/>
                    <a:lstStyle/>
                    <a:p>
                      <a:pPr algn="ctr"/>
                      <a:r>
                        <a:rPr lang="zh-CN" altLang="en-US" sz="2000" dirty="0"/>
                        <a:t>廖   珣</a:t>
                      </a:r>
                      <a:endParaRPr lang="en-US" altLang="zh-CN" sz="2000" dirty="0"/>
                    </a:p>
                  </a:txBody>
                  <a:tcPr marL="91441" marR="91441" marT="45719" marB="45719" anchor="ctr"/>
                </a:tc>
                <a:tc>
                  <a:txBody>
                    <a:bodyPr/>
                    <a:lstStyle/>
                    <a:p>
                      <a:pPr algn="ctr"/>
                      <a:r>
                        <a:rPr lang="en-US" altLang="zh-CN" sz="2000" dirty="0"/>
                        <a:t>13926960986</a:t>
                      </a:r>
                      <a:endParaRPr lang="en-US" altLang="zh-CN" sz="2000" dirty="0"/>
                    </a:p>
                  </a:txBody>
                  <a:tcPr marL="91441" marR="91441" marT="45719" marB="45719" anchor="ctr"/>
                </a:tc>
                <a:tc>
                  <a:txBody>
                    <a:bodyPr/>
                    <a:lstStyle/>
                    <a:p>
                      <a:pPr algn="ctr"/>
                      <a:r>
                        <a:rPr lang="zh-CN" altLang="en-US" sz="2000" dirty="0"/>
                        <a:t>政策咨询</a:t>
                      </a:r>
                      <a:endParaRPr lang="en-US" altLang="zh-CN" sz="2000" dirty="0"/>
                    </a:p>
                  </a:txBody>
                  <a:tcPr marL="91441" marR="91441" marT="45719" marB="45719" anchor="ctr"/>
                </a:tc>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5"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673101" y="4033914"/>
            <a:ext cx="10845798" cy="1108539"/>
          </a:xfrm>
        </p:spPr>
        <p:txBody>
          <a:bodyPr>
            <a:normAutofit/>
          </a:bodyPr>
          <a:lstStyle/>
          <a:p>
            <a:r>
              <a:rPr lang="en-US" altLang="zh-CN" sz="6600" b="0" dirty="0">
                <a:solidFill>
                  <a:srgbClr val="11155B"/>
                </a:solidFill>
                <a:latin typeface="Impact" panose="020B0806030902050204" pitchFamily="34" charset="0"/>
              </a:rPr>
              <a:t>- </a:t>
            </a:r>
            <a:r>
              <a:rPr lang="zh-CN" altLang="en-US" sz="6600" b="0" dirty="0">
                <a:solidFill>
                  <a:srgbClr val="11155B"/>
                </a:solidFill>
                <a:latin typeface="Impact" panose="020B0806030902050204" pitchFamily="34" charset="0"/>
              </a:rPr>
              <a:t>感谢聆听 </a:t>
            </a:r>
            <a:r>
              <a:rPr lang="en-US" altLang="zh-CN" sz="6600" b="0" dirty="0">
                <a:solidFill>
                  <a:srgbClr val="11155B"/>
                </a:solidFill>
                <a:latin typeface="Impact" panose="020B0806030902050204" pitchFamily="34" charset="0"/>
              </a:rPr>
              <a:t>-</a:t>
            </a:r>
            <a:endParaRPr lang="zh-CN" altLang="en-US" sz="2800" dirty="0">
              <a:solidFill>
                <a:srgbClr val="11155B"/>
              </a:solidFill>
            </a:endParaRPr>
          </a:p>
        </p:txBody>
      </p:sp>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78368" y="435083"/>
            <a:ext cx="2435263" cy="56437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珠海农商银行简介</a:t>
            </a:r>
            <a:endParaRPr lang="zh-CN" altLang="en-US" dirty="0"/>
          </a:p>
        </p:txBody>
      </p:sp>
      <p:sp>
        <p:nvSpPr>
          <p:cNvPr id="6" name="文本占位符 5"/>
          <p:cNvSpPr>
            <a:spLocks noGrp="1"/>
          </p:cNvSpPr>
          <p:nvPr>
            <p:ph type="body" idx="1"/>
          </p:nvPr>
        </p:nvSpPr>
        <p:spPr/>
        <p:txBody>
          <a:bodyPr>
            <a:normAutofit/>
          </a:bodyPr>
          <a:lstStyle/>
          <a:p>
            <a:pPr>
              <a:defRPr/>
            </a:pPr>
            <a:r>
              <a:rPr lang="zh-CN" altLang="en-US" sz="1600" dirty="0">
                <a:latin typeface="+mn-ea"/>
              </a:rPr>
              <a:t>发展历程      业务优势</a:t>
            </a:r>
            <a:endParaRPr lang="en-US" altLang="zh-CN" sz="1600" dirty="0">
              <a:latin typeface="+mn-ea"/>
            </a:endParaRPr>
          </a:p>
          <a:p>
            <a:pPr>
              <a:defRPr/>
            </a:pPr>
            <a:r>
              <a:rPr lang="zh-CN" altLang="en-US" sz="1600" dirty="0">
                <a:latin typeface="+mn-ea"/>
              </a:rPr>
              <a:t>普惠金融      惠企政策</a:t>
            </a:r>
            <a:endParaRPr lang="en-US" altLang="zh-CN" sz="1600" dirty="0">
              <a:latin typeface="+mn-ea"/>
            </a:endParaRPr>
          </a:p>
        </p:txBody>
      </p:sp>
      <p:sp>
        <p:nvSpPr>
          <p:cNvPr id="9" name="文本框 8"/>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7193116" y="1325869"/>
            <a:ext cx="4212477" cy="23699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任意多边形 28"/>
          <p:cNvSpPr>
            <a:spLocks noChangeArrowheads="1"/>
          </p:cNvSpPr>
          <p:nvPr/>
        </p:nvSpPr>
        <p:spPr bwMode="auto">
          <a:xfrm>
            <a:off x="7326149" y="4508267"/>
            <a:ext cx="217340" cy="288032"/>
          </a:xfrm>
          <a:custGeom>
            <a:avLst/>
            <a:gdLst>
              <a:gd name="T0" fmla="*/ 201222 w 668742"/>
              <a:gd name="T1" fmla="*/ 99806 h 807243"/>
              <a:gd name="T2" fmla="*/ 110778 w 668742"/>
              <a:gd name="T3" fmla="*/ 190017 h 807243"/>
              <a:gd name="T4" fmla="*/ 201222 w 668742"/>
              <a:gd name="T5" fmla="*/ 280228 h 807243"/>
              <a:gd name="T6" fmla="*/ 291666 w 668742"/>
              <a:gd name="T7" fmla="*/ 190017 h 807243"/>
              <a:gd name="T8" fmla="*/ 201222 w 668742"/>
              <a:gd name="T9" fmla="*/ 99806 h 807243"/>
              <a:gd name="T10" fmla="*/ 198438 w 668742"/>
              <a:gd name="T11" fmla="*/ 0 h 807243"/>
              <a:gd name="T12" fmla="*/ 338755 w 668742"/>
              <a:gd name="T13" fmla="*/ 57971 h 807243"/>
              <a:gd name="T14" fmla="*/ 338754 w 668742"/>
              <a:gd name="T15" fmla="*/ 57971 h 807243"/>
              <a:gd name="T16" fmla="*/ 338754 w 668742"/>
              <a:gd name="T17" fmla="*/ 337883 h 807243"/>
              <a:gd name="T18" fmla="*/ 198438 w 668742"/>
              <a:gd name="T19" fmla="*/ 477838 h 807243"/>
              <a:gd name="T20" fmla="*/ 58121 w 668742"/>
              <a:gd name="T21" fmla="*/ 337882 h 807243"/>
              <a:gd name="T22" fmla="*/ 58121 w 668742"/>
              <a:gd name="T23" fmla="*/ 57971 h 807243"/>
              <a:gd name="T24" fmla="*/ 198438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dirty="0"/>
              <a:t>发展历程</a:t>
            </a:r>
            <a:endParaRPr lang="zh-CN" altLang="en-US" dirty="0"/>
          </a:p>
        </p:txBody>
      </p:sp>
      <p:sp>
        <p:nvSpPr>
          <p:cNvPr id="3" name="文本框 3"/>
          <p:cNvSpPr>
            <a:spLocks noChangeArrowheads="1"/>
          </p:cNvSpPr>
          <p:nvPr/>
        </p:nvSpPr>
        <p:spPr bwMode="auto">
          <a:xfrm>
            <a:off x="781049" y="1481512"/>
            <a:ext cx="4879178" cy="2031325"/>
          </a:xfrm>
          <a:prstGeom prst="rect">
            <a:avLst/>
          </a:prstGeom>
          <a:noFill/>
          <a:ln w="9525">
            <a:noFill/>
            <a:miter lim="800000"/>
          </a:ln>
        </p:spPr>
        <p:txBody>
          <a:bodyPr wrap="square">
            <a:spAutoFit/>
          </a:bodyPr>
          <a:lstStyle/>
          <a:p>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始创于</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1952</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年</a:t>
            </a:r>
            <a:endPar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资产规模超</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600</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亿元</a:t>
            </a:r>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拥有</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102</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家支行网点，从业</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1300</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余人</a:t>
            </a:r>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endPar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跻身中国银行业金融机构</a:t>
            </a:r>
            <a:r>
              <a:rPr lang="en-US" altLang="zh-CN"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rPr>
              <a:t>强之列</a:t>
            </a:r>
            <a:endParaRPr lang="zh-CN" altLang="en-US" b="1" dirty="0">
              <a:solidFill>
                <a:srgbClr val="00206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 name="直接连接符 3"/>
          <p:cNvSpPr>
            <a:spLocks noChangeShapeType="1"/>
          </p:cNvSpPr>
          <p:nvPr/>
        </p:nvSpPr>
        <p:spPr bwMode="auto">
          <a:xfrm>
            <a:off x="854054" y="3774302"/>
            <a:ext cx="4176463" cy="0"/>
          </a:xfrm>
          <a:prstGeom prst="line">
            <a:avLst/>
          </a:prstGeom>
          <a:noFill/>
          <a:ln w="6350">
            <a:solidFill>
              <a:srgbClr val="D8D8D8"/>
            </a:solidFill>
            <a:bevel/>
          </a:ln>
        </p:spPr>
        <p:txBody>
          <a:bodyPr/>
          <a:lstStyle/>
          <a:p>
            <a:endParaRPr lang="zh-CN" altLang="en-US">
              <a:latin typeface="微软雅黑" panose="020B0503020204020204" pitchFamily="34" charset="-122"/>
              <a:ea typeface="微软雅黑" panose="020B0503020204020204" pitchFamily="34" charset="-122"/>
            </a:endParaRPr>
          </a:p>
        </p:txBody>
      </p:sp>
      <p:sp>
        <p:nvSpPr>
          <p:cNvPr id="5" name="矩形 6"/>
          <p:cNvSpPr>
            <a:spLocks noChangeArrowheads="1"/>
          </p:cNvSpPr>
          <p:nvPr/>
        </p:nvSpPr>
        <p:spPr bwMode="auto">
          <a:xfrm>
            <a:off x="669925" y="4939436"/>
            <a:ext cx="10942146" cy="64116"/>
          </a:xfrm>
          <a:prstGeom prst="rect">
            <a:avLst/>
          </a:prstGeom>
          <a:solidFill>
            <a:srgbClr val="0070C0"/>
          </a:solidFill>
          <a:ln w="12700">
            <a:no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6" name="任意多边形 16"/>
          <p:cNvSpPr>
            <a:spLocks noChangeArrowheads="1"/>
          </p:cNvSpPr>
          <p:nvPr/>
        </p:nvSpPr>
        <p:spPr bwMode="auto">
          <a:xfrm>
            <a:off x="1642939" y="4499273"/>
            <a:ext cx="217340" cy="288032"/>
          </a:xfrm>
          <a:custGeom>
            <a:avLst/>
            <a:gdLst>
              <a:gd name="T0" fmla="*/ 201222 w 668742"/>
              <a:gd name="T1" fmla="*/ 99806 h 807243"/>
              <a:gd name="T2" fmla="*/ 110778 w 668742"/>
              <a:gd name="T3" fmla="*/ 190017 h 807243"/>
              <a:gd name="T4" fmla="*/ 201222 w 668742"/>
              <a:gd name="T5" fmla="*/ 280228 h 807243"/>
              <a:gd name="T6" fmla="*/ 291666 w 668742"/>
              <a:gd name="T7" fmla="*/ 190017 h 807243"/>
              <a:gd name="T8" fmla="*/ 201222 w 668742"/>
              <a:gd name="T9" fmla="*/ 99806 h 807243"/>
              <a:gd name="T10" fmla="*/ 198438 w 668742"/>
              <a:gd name="T11" fmla="*/ 0 h 807243"/>
              <a:gd name="T12" fmla="*/ 338755 w 668742"/>
              <a:gd name="T13" fmla="*/ 57971 h 807243"/>
              <a:gd name="T14" fmla="*/ 338754 w 668742"/>
              <a:gd name="T15" fmla="*/ 57971 h 807243"/>
              <a:gd name="T16" fmla="*/ 338754 w 668742"/>
              <a:gd name="T17" fmla="*/ 337883 h 807243"/>
              <a:gd name="T18" fmla="*/ 198438 w 668742"/>
              <a:gd name="T19" fmla="*/ 477838 h 807243"/>
              <a:gd name="T20" fmla="*/ 58121 w 668742"/>
              <a:gd name="T21" fmla="*/ 337882 h 807243"/>
              <a:gd name="T22" fmla="*/ 58121 w 668742"/>
              <a:gd name="T23" fmla="*/ 57971 h 807243"/>
              <a:gd name="T24" fmla="*/ 198438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7" name="任意多边形 17"/>
          <p:cNvSpPr>
            <a:spLocks noChangeArrowheads="1"/>
          </p:cNvSpPr>
          <p:nvPr/>
        </p:nvSpPr>
        <p:spPr bwMode="auto">
          <a:xfrm>
            <a:off x="4330058" y="4493193"/>
            <a:ext cx="216471" cy="288032"/>
          </a:xfrm>
          <a:custGeom>
            <a:avLst/>
            <a:gdLst>
              <a:gd name="T0" fmla="*/ 200417 w 668742"/>
              <a:gd name="T1" fmla="*/ 99806 h 807243"/>
              <a:gd name="T2" fmla="*/ 110335 w 668742"/>
              <a:gd name="T3" fmla="*/ 190017 h 807243"/>
              <a:gd name="T4" fmla="*/ 200417 w 668742"/>
              <a:gd name="T5" fmla="*/ 280228 h 807243"/>
              <a:gd name="T6" fmla="*/ 290500 w 668742"/>
              <a:gd name="T7" fmla="*/ 190017 h 807243"/>
              <a:gd name="T8" fmla="*/ 200417 w 668742"/>
              <a:gd name="T9" fmla="*/ 99806 h 807243"/>
              <a:gd name="T10" fmla="*/ 197645 w 668742"/>
              <a:gd name="T11" fmla="*/ 0 h 807243"/>
              <a:gd name="T12" fmla="*/ 337400 w 668742"/>
              <a:gd name="T13" fmla="*/ 57971 h 807243"/>
              <a:gd name="T14" fmla="*/ 337399 w 668742"/>
              <a:gd name="T15" fmla="*/ 57971 h 807243"/>
              <a:gd name="T16" fmla="*/ 337399 w 668742"/>
              <a:gd name="T17" fmla="*/ 337883 h 807243"/>
              <a:gd name="T18" fmla="*/ 197645 w 668742"/>
              <a:gd name="T19" fmla="*/ 477838 h 807243"/>
              <a:gd name="T20" fmla="*/ 57889 w 668742"/>
              <a:gd name="T21" fmla="*/ 337882 h 807243"/>
              <a:gd name="T22" fmla="*/ 57889 w 668742"/>
              <a:gd name="T23" fmla="*/ 57971 h 807243"/>
              <a:gd name="T24" fmla="*/ 197645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8" name="任意多边形 27"/>
          <p:cNvSpPr>
            <a:spLocks noChangeArrowheads="1"/>
          </p:cNvSpPr>
          <p:nvPr/>
        </p:nvSpPr>
        <p:spPr bwMode="auto">
          <a:xfrm>
            <a:off x="9915423" y="4493193"/>
            <a:ext cx="216471" cy="288032"/>
          </a:xfrm>
          <a:custGeom>
            <a:avLst/>
            <a:gdLst>
              <a:gd name="T0" fmla="*/ 200417 w 668742"/>
              <a:gd name="T1" fmla="*/ 99806 h 807243"/>
              <a:gd name="T2" fmla="*/ 110335 w 668742"/>
              <a:gd name="T3" fmla="*/ 190017 h 807243"/>
              <a:gd name="T4" fmla="*/ 200417 w 668742"/>
              <a:gd name="T5" fmla="*/ 280228 h 807243"/>
              <a:gd name="T6" fmla="*/ 290500 w 668742"/>
              <a:gd name="T7" fmla="*/ 190017 h 807243"/>
              <a:gd name="T8" fmla="*/ 200417 w 668742"/>
              <a:gd name="T9" fmla="*/ 99806 h 807243"/>
              <a:gd name="T10" fmla="*/ 197645 w 668742"/>
              <a:gd name="T11" fmla="*/ 0 h 807243"/>
              <a:gd name="T12" fmla="*/ 337400 w 668742"/>
              <a:gd name="T13" fmla="*/ 57971 h 807243"/>
              <a:gd name="T14" fmla="*/ 337399 w 668742"/>
              <a:gd name="T15" fmla="*/ 57971 h 807243"/>
              <a:gd name="T16" fmla="*/ 337399 w 668742"/>
              <a:gd name="T17" fmla="*/ 337883 h 807243"/>
              <a:gd name="T18" fmla="*/ 197645 w 668742"/>
              <a:gd name="T19" fmla="*/ 477838 h 807243"/>
              <a:gd name="T20" fmla="*/ 57889 w 668742"/>
              <a:gd name="T21" fmla="*/ 337882 h 807243"/>
              <a:gd name="T22" fmla="*/ 57889 w 668742"/>
              <a:gd name="T23" fmla="*/ 57971 h 807243"/>
              <a:gd name="T24" fmla="*/ 197645 w 668742"/>
              <a:gd name="T25" fmla="*/ 0 h 8072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8742"/>
              <a:gd name="T40" fmla="*/ 0 h 807243"/>
              <a:gd name="T41" fmla="*/ 668742 w 668742"/>
              <a:gd name="T42" fmla="*/ 807243 h 8072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8742" h="807243">
                <a:moveTo>
                  <a:pt x="339063" y="168608"/>
                </a:moveTo>
                <a:cubicBezTo>
                  <a:pt x="254895" y="168608"/>
                  <a:pt x="186663" y="236840"/>
                  <a:pt x="186663" y="321008"/>
                </a:cubicBezTo>
                <a:cubicBezTo>
                  <a:pt x="186663" y="405176"/>
                  <a:pt x="254895" y="473408"/>
                  <a:pt x="339063" y="473408"/>
                </a:cubicBezTo>
                <a:cubicBezTo>
                  <a:pt x="423231" y="473408"/>
                  <a:pt x="491463" y="405176"/>
                  <a:pt x="491463" y="321008"/>
                </a:cubicBezTo>
                <a:cubicBezTo>
                  <a:pt x="491463" y="236840"/>
                  <a:pt x="423231" y="168608"/>
                  <a:pt x="339063" y="168608"/>
                </a:cubicBezTo>
                <a:close/>
                <a:moveTo>
                  <a:pt x="334372" y="0"/>
                </a:moveTo>
                <a:cubicBezTo>
                  <a:pt x="419945" y="0"/>
                  <a:pt x="505518" y="32645"/>
                  <a:pt x="570808" y="97935"/>
                </a:cubicBezTo>
                <a:lnTo>
                  <a:pt x="570807" y="97935"/>
                </a:lnTo>
                <a:cubicBezTo>
                  <a:pt x="701387" y="228516"/>
                  <a:pt x="701387" y="440228"/>
                  <a:pt x="570807" y="570808"/>
                </a:cubicBezTo>
                <a:lnTo>
                  <a:pt x="334372" y="807243"/>
                </a:lnTo>
                <a:lnTo>
                  <a:pt x="97935" y="570807"/>
                </a:lnTo>
                <a:cubicBezTo>
                  <a:pt x="-32645" y="440227"/>
                  <a:pt x="-32645" y="228515"/>
                  <a:pt x="97935" y="97935"/>
                </a:cubicBezTo>
                <a:cubicBezTo>
                  <a:pt x="163225" y="32645"/>
                  <a:pt x="248799" y="0"/>
                  <a:pt x="334372" y="0"/>
                </a:cubicBezTo>
                <a:close/>
              </a:path>
            </a:pathLst>
          </a:custGeom>
          <a:solidFill>
            <a:srgbClr val="0070C0"/>
          </a:solidFill>
          <a:ln w="12700" cap="flat" cmpd="sng">
            <a:noFill/>
            <a:bevel/>
          </a:ln>
        </p:spPr>
        <p:txBody>
          <a:bodyPr anchor="ctr"/>
          <a:lstStyle/>
          <a:p>
            <a:endParaRPr lang="zh-CN" altLang="en-US">
              <a:latin typeface="微软雅黑" panose="020B0503020204020204" pitchFamily="34" charset="-122"/>
              <a:ea typeface="微软雅黑" panose="020B0503020204020204" pitchFamily="34" charset="-122"/>
            </a:endParaRPr>
          </a:p>
        </p:txBody>
      </p:sp>
      <p:sp>
        <p:nvSpPr>
          <p:cNvPr id="10" name="椭圆 14"/>
          <p:cNvSpPr>
            <a:spLocks noChangeArrowheads="1"/>
          </p:cNvSpPr>
          <p:nvPr/>
        </p:nvSpPr>
        <p:spPr bwMode="auto">
          <a:xfrm>
            <a:off x="1680776" y="4855518"/>
            <a:ext cx="14166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1" name="椭圆 30"/>
          <p:cNvSpPr>
            <a:spLocks noChangeArrowheads="1"/>
          </p:cNvSpPr>
          <p:nvPr/>
        </p:nvSpPr>
        <p:spPr bwMode="auto">
          <a:xfrm>
            <a:off x="4368231" y="4849438"/>
            <a:ext cx="14012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2" name="椭圆 32"/>
          <p:cNvSpPr>
            <a:spLocks noChangeArrowheads="1"/>
          </p:cNvSpPr>
          <p:nvPr/>
        </p:nvSpPr>
        <p:spPr bwMode="auto">
          <a:xfrm>
            <a:off x="7363986" y="4868307"/>
            <a:ext cx="14166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3" name="椭圆 35"/>
          <p:cNvSpPr>
            <a:spLocks noChangeArrowheads="1"/>
          </p:cNvSpPr>
          <p:nvPr/>
        </p:nvSpPr>
        <p:spPr bwMode="auto">
          <a:xfrm>
            <a:off x="9953596" y="4853233"/>
            <a:ext cx="140126" cy="146051"/>
          </a:xfrm>
          <a:prstGeom prst="ellipse">
            <a:avLst/>
          </a:prstGeom>
          <a:solidFill>
            <a:srgbClr val="0070C0"/>
          </a:solidFill>
          <a:ln w="28575">
            <a:solidFill>
              <a:schemeClr val="bg1">
                <a:lumMod val="65000"/>
              </a:schemeClr>
            </a:solid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4" name="文本框 36"/>
          <p:cNvSpPr>
            <a:spLocks noChangeArrowheads="1"/>
          </p:cNvSpPr>
          <p:nvPr/>
        </p:nvSpPr>
        <p:spPr bwMode="auto">
          <a:xfrm>
            <a:off x="781049" y="3965650"/>
            <a:ext cx="8010525" cy="369332"/>
          </a:xfrm>
          <a:prstGeom prst="rect">
            <a:avLst/>
          </a:prstGeom>
          <a:noFill/>
          <a:ln w="9525">
            <a:noFill/>
            <a:miter lim="800000"/>
          </a:ln>
        </p:spPr>
        <p:txBody>
          <a:bodyPr>
            <a:spAutoFit/>
          </a:bodyPr>
          <a:lstStyle/>
          <a:p>
            <a:r>
              <a:rPr lang="zh-CN" altLang="en-US"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与珠海共发展 ，做地方金融服务主力军</a:t>
            </a:r>
            <a:endParaRPr lang="zh-CN" altLang="en-US"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文本框 37"/>
          <p:cNvSpPr>
            <a:spLocks noChangeArrowheads="1"/>
          </p:cNvSpPr>
          <p:nvPr/>
        </p:nvSpPr>
        <p:spPr bwMode="auto">
          <a:xfrm>
            <a:off x="786705" y="5258314"/>
            <a:ext cx="1656184" cy="738664"/>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改制以来已投放</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200</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亿元贷款助力地方经济</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 </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文本框 37"/>
          <p:cNvSpPr>
            <a:spLocks noChangeArrowheads="1"/>
          </p:cNvSpPr>
          <p:nvPr/>
        </p:nvSpPr>
        <p:spPr bwMode="auto">
          <a:xfrm>
            <a:off x="3220638" y="5257924"/>
            <a:ext cx="2334356" cy="738664"/>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小微企业贷款余额近</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80</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亿元，客户数量</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3000</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余家，</a:t>
            </a:r>
            <a:endPar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均位居全市银行机构前列</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文本框 37"/>
          <p:cNvSpPr>
            <a:spLocks noChangeArrowheads="1"/>
          </p:cNvSpPr>
          <p:nvPr/>
        </p:nvSpPr>
        <p:spPr bwMode="auto">
          <a:xfrm>
            <a:off x="6525487" y="5257924"/>
            <a:ext cx="1960329" cy="738664"/>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涉农贷款余额超</a:t>
            </a:r>
            <a:r>
              <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14</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亿元，长期位居全市银行机构前列</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文本框 37"/>
          <p:cNvSpPr>
            <a:spLocks noChangeArrowheads="1"/>
          </p:cNvSpPr>
          <p:nvPr/>
        </p:nvSpPr>
        <p:spPr bwMode="auto">
          <a:xfrm>
            <a:off x="9206681" y="5257924"/>
            <a:ext cx="1656184" cy="738664"/>
          </a:xfrm>
          <a:prstGeom prst="rect">
            <a:avLst/>
          </a:prstGeom>
          <a:ln>
            <a:prstDash val="sysDash"/>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首家夜市银行</a:t>
            </a:r>
            <a:endPar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唯一海岛银行</a:t>
            </a:r>
            <a:endParaRPr lang="en-US" altLang="zh-CN"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rPr>
              <a:t>首家科技支行</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矩形 10"/>
          <p:cNvSpPr>
            <a:spLocks noChangeArrowheads="1"/>
          </p:cNvSpPr>
          <p:nvPr/>
        </p:nvSpPr>
        <p:spPr bwMode="auto">
          <a:xfrm>
            <a:off x="7086902" y="3746270"/>
            <a:ext cx="4424904" cy="56065"/>
          </a:xfrm>
          <a:prstGeom prst="rect">
            <a:avLst/>
          </a:prstGeom>
          <a:solidFill>
            <a:srgbClr val="1581DB">
              <a:alpha val="49804"/>
            </a:srgbClr>
          </a:solidFill>
          <a:ln w="12700">
            <a:no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p:cBhvr>
                                        <p:cTn id="7" dur="25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p:cBhvr>
                                        <p:cTn id="11" dur="250"/>
                                        <p:tgtEl>
                                          <p:spTgt spid="20"/>
                                        </p:tgtEl>
                                      </p:cBhvr>
                                    </p:animEffect>
                                  </p:childTnLst>
                                </p:cTn>
                              </p:par>
                            </p:childTnLst>
                          </p:cTn>
                        </p:par>
                        <p:par>
                          <p:cTn id="12" fill="hold">
                            <p:stCondLst>
                              <p:cond delay="1000"/>
                            </p:stCondLst>
                            <p:childTnLst>
                              <p:par>
                                <p:cTn id="13" presetID="12" presetClass="entr" presetSubtype="4"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p:cTn id="15" dur="500"/>
                                        <p:tgtEl>
                                          <p:spTgt spid="3"/>
                                        </p:tgtEl>
                                        <p:attrNameLst>
                                          <p:attrName>ppt_y</p:attrName>
                                        </p:attrNameLst>
                                      </p:cBhvr>
                                      <p:tavLst>
                                        <p:tav tm="0">
                                          <p:val>
                                            <p:strVal val="#ppt_y+#ppt_h*1.125000"/>
                                          </p:val>
                                        </p:tav>
                                        <p:tav tm="100000">
                                          <p:val>
                                            <p:strVal val="#ppt_y"/>
                                          </p:val>
                                        </p:tav>
                                      </p:tavLst>
                                    </p:anim>
                                    <p:animEffect>
                                      <p:cBhvr>
                                        <p:cTn id="16" dur="500"/>
                                        <p:tgtEl>
                                          <p:spTgt spid="3"/>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p:cBhvr>
                                        <p:cTn id="20" dur="500"/>
                                        <p:tgtEl>
                                          <p:spTgt spid="14"/>
                                        </p:tgtEl>
                                      </p:cBhvr>
                                    </p:animEffect>
                                  </p:childTnLst>
                                </p:cTn>
                              </p:par>
                            </p:childTnLst>
                          </p:cTn>
                        </p:par>
                        <p:par>
                          <p:cTn id="21" fill="hold">
                            <p:stCondLst>
                              <p:cond delay="2000"/>
                            </p:stCondLst>
                            <p:childTnLst>
                              <p:par>
                                <p:cTn id="22" presetID="22" presetClass="entr" presetSubtype="8" fill="hold" grpId="0" nodeType="afterEffect">
                                  <p:stCondLst>
                                    <p:cond delay="250"/>
                                  </p:stCondLst>
                                  <p:childTnLst>
                                    <p:set>
                                      <p:cBhvr>
                                        <p:cTn id="23" dur="1" fill="hold">
                                          <p:stCondLst>
                                            <p:cond delay="0"/>
                                          </p:stCondLst>
                                        </p:cTn>
                                        <p:tgtEl>
                                          <p:spTgt spid="5"/>
                                        </p:tgtEl>
                                        <p:attrNameLst>
                                          <p:attrName>style.visibility</p:attrName>
                                        </p:attrNameLst>
                                      </p:cBhvr>
                                      <p:to>
                                        <p:strVal val="visible"/>
                                      </p:to>
                                    </p:set>
                                    <p:animEffect>
                                      <p:cBhvr>
                                        <p:cTn id="24" dur="500"/>
                                        <p:tgtEl>
                                          <p:spTgt spid="5"/>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10"/>
                                        </p:tgtEl>
                                        <p:attrNameLst>
                                          <p:attrName>style.visibility</p:attrName>
                                        </p:attrNameLst>
                                      </p:cBhvr>
                                      <p:to>
                                        <p:strVal val="visible"/>
                                      </p:to>
                                    </p:set>
                                    <p:anim calcmode="lin" valueType="num">
                                      <p:cBhvr>
                                        <p:cTn id="27" dur="100" fill="hold"/>
                                        <p:tgtEl>
                                          <p:spTgt spid="10"/>
                                        </p:tgtEl>
                                        <p:attrNameLst>
                                          <p:attrName>ppt_w</p:attrName>
                                        </p:attrNameLst>
                                      </p:cBhvr>
                                      <p:tavLst>
                                        <p:tav tm="0">
                                          <p:val>
                                            <p:fltVal val="0"/>
                                          </p:val>
                                        </p:tav>
                                        <p:tav tm="100000">
                                          <p:val>
                                            <p:strVal val="#ppt_w"/>
                                          </p:val>
                                        </p:tav>
                                      </p:tavLst>
                                    </p:anim>
                                    <p:anim calcmode="lin" valueType="num">
                                      <p:cBhvr>
                                        <p:cTn id="28" dur="100" fill="hold"/>
                                        <p:tgtEl>
                                          <p:spTgt spid="10"/>
                                        </p:tgtEl>
                                        <p:attrNameLst>
                                          <p:attrName>ppt_h</p:attrName>
                                        </p:attrNameLst>
                                      </p:cBhvr>
                                      <p:tavLst>
                                        <p:tav tm="0">
                                          <p:val>
                                            <p:fltVal val="0"/>
                                          </p:val>
                                        </p:tav>
                                        <p:tav tm="100000">
                                          <p:val>
                                            <p:strVal val="#ppt_h"/>
                                          </p:val>
                                        </p:tav>
                                      </p:tavLst>
                                    </p:anim>
                                    <p:animEffect>
                                      <p:cBhvr>
                                        <p:cTn id="29" dur="100"/>
                                        <p:tgtEl>
                                          <p:spTgt spid="10"/>
                                        </p:tgtEl>
                                      </p:cBhvr>
                                    </p:animEffect>
                                  </p:childTnLst>
                                </p:cTn>
                              </p:par>
                              <p:par>
                                <p:cTn id="30" presetID="10" presetClass="entr" presetSubtype="0" fill="hold" grpId="0" nodeType="withEffect">
                                  <p:stCondLst>
                                    <p:cond delay="350"/>
                                  </p:stCondLst>
                                  <p:childTnLst>
                                    <p:set>
                                      <p:cBhvr>
                                        <p:cTn id="31" dur="1" fill="hold">
                                          <p:stCondLst>
                                            <p:cond delay="0"/>
                                          </p:stCondLst>
                                        </p:cTn>
                                        <p:tgtEl>
                                          <p:spTgt spid="11"/>
                                        </p:tgtEl>
                                        <p:attrNameLst>
                                          <p:attrName>style.visibility</p:attrName>
                                        </p:attrNameLst>
                                      </p:cBhvr>
                                      <p:to>
                                        <p:strVal val="visible"/>
                                      </p:to>
                                    </p:set>
                                    <p:anim calcmode="lin" valueType="num">
                                      <p:cBhvr>
                                        <p:cTn id="32" dur="100" fill="hold"/>
                                        <p:tgtEl>
                                          <p:spTgt spid="11"/>
                                        </p:tgtEl>
                                        <p:attrNameLst>
                                          <p:attrName>ppt_w</p:attrName>
                                        </p:attrNameLst>
                                      </p:cBhvr>
                                      <p:tavLst>
                                        <p:tav tm="0">
                                          <p:val>
                                            <p:fltVal val="0"/>
                                          </p:val>
                                        </p:tav>
                                        <p:tav tm="100000">
                                          <p:val>
                                            <p:strVal val="#ppt_w"/>
                                          </p:val>
                                        </p:tav>
                                      </p:tavLst>
                                    </p:anim>
                                    <p:anim calcmode="lin" valueType="num">
                                      <p:cBhvr>
                                        <p:cTn id="33" dur="100" fill="hold"/>
                                        <p:tgtEl>
                                          <p:spTgt spid="11"/>
                                        </p:tgtEl>
                                        <p:attrNameLst>
                                          <p:attrName>ppt_h</p:attrName>
                                        </p:attrNameLst>
                                      </p:cBhvr>
                                      <p:tavLst>
                                        <p:tav tm="0">
                                          <p:val>
                                            <p:fltVal val="0"/>
                                          </p:val>
                                        </p:tav>
                                        <p:tav tm="100000">
                                          <p:val>
                                            <p:strVal val="#ppt_h"/>
                                          </p:val>
                                        </p:tav>
                                      </p:tavLst>
                                    </p:anim>
                                    <p:animEffect>
                                      <p:cBhvr>
                                        <p:cTn id="34" dur="100"/>
                                        <p:tgtEl>
                                          <p:spTgt spid="11"/>
                                        </p:tgtEl>
                                      </p:cBhvr>
                                    </p:animEffect>
                                  </p:childTnLst>
                                </p:cTn>
                              </p:par>
                              <p:par>
                                <p:cTn id="35" presetID="10" presetClass="entr" presetSubtype="0" fill="hold" grpId="0" nodeType="withEffect">
                                  <p:stCondLst>
                                    <p:cond delay="550"/>
                                  </p:stCondLst>
                                  <p:childTnLst>
                                    <p:set>
                                      <p:cBhvr>
                                        <p:cTn id="36" dur="1" fill="hold">
                                          <p:stCondLst>
                                            <p:cond delay="0"/>
                                          </p:stCondLst>
                                        </p:cTn>
                                        <p:tgtEl>
                                          <p:spTgt spid="12"/>
                                        </p:tgtEl>
                                        <p:attrNameLst>
                                          <p:attrName>style.visibility</p:attrName>
                                        </p:attrNameLst>
                                      </p:cBhvr>
                                      <p:to>
                                        <p:strVal val="visible"/>
                                      </p:to>
                                    </p:set>
                                    <p:anim calcmode="lin" valueType="num">
                                      <p:cBhvr>
                                        <p:cTn id="37" dur="100" fill="hold"/>
                                        <p:tgtEl>
                                          <p:spTgt spid="12"/>
                                        </p:tgtEl>
                                        <p:attrNameLst>
                                          <p:attrName>ppt_w</p:attrName>
                                        </p:attrNameLst>
                                      </p:cBhvr>
                                      <p:tavLst>
                                        <p:tav tm="0">
                                          <p:val>
                                            <p:fltVal val="0"/>
                                          </p:val>
                                        </p:tav>
                                        <p:tav tm="100000">
                                          <p:val>
                                            <p:strVal val="#ppt_w"/>
                                          </p:val>
                                        </p:tav>
                                      </p:tavLst>
                                    </p:anim>
                                    <p:anim calcmode="lin" valueType="num">
                                      <p:cBhvr>
                                        <p:cTn id="38" dur="100" fill="hold"/>
                                        <p:tgtEl>
                                          <p:spTgt spid="12"/>
                                        </p:tgtEl>
                                        <p:attrNameLst>
                                          <p:attrName>ppt_h</p:attrName>
                                        </p:attrNameLst>
                                      </p:cBhvr>
                                      <p:tavLst>
                                        <p:tav tm="0">
                                          <p:val>
                                            <p:fltVal val="0"/>
                                          </p:val>
                                        </p:tav>
                                        <p:tav tm="100000">
                                          <p:val>
                                            <p:strVal val="#ppt_h"/>
                                          </p:val>
                                        </p:tav>
                                      </p:tavLst>
                                    </p:anim>
                                    <p:animEffect>
                                      <p:cBhvr>
                                        <p:cTn id="39" dur="100"/>
                                        <p:tgtEl>
                                          <p:spTgt spid="12"/>
                                        </p:tgtEl>
                                      </p:cBhvr>
                                    </p:animEffect>
                                  </p:childTnLst>
                                </p:cTn>
                              </p:par>
                              <p:par>
                                <p:cTn id="40" presetID="10" presetClass="entr" presetSubtype="0" fill="hold" grpId="0" nodeType="withEffect">
                                  <p:stCondLst>
                                    <p:cond delay="650"/>
                                  </p:stCondLst>
                                  <p:childTnLst>
                                    <p:set>
                                      <p:cBhvr>
                                        <p:cTn id="41" dur="1" fill="hold">
                                          <p:stCondLst>
                                            <p:cond delay="0"/>
                                          </p:stCondLst>
                                        </p:cTn>
                                        <p:tgtEl>
                                          <p:spTgt spid="13"/>
                                        </p:tgtEl>
                                        <p:attrNameLst>
                                          <p:attrName>style.visibility</p:attrName>
                                        </p:attrNameLst>
                                      </p:cBhvr>
                                      <p:to>
                                        <p:strVal val="visible"/>
                                      </p:to>
                                    </p:set>
                                    <p:anim calcmode="lin" valueType="num">
                                      <p:cBhvr>
                                        <p:cTn id="42" dur="100" fill="hold"/>
                                        <p:tgtEl>
                                          <p:spTgt spid="13"/>
                                        </p:tgtEl>
                                        <p:attrNameLst>
                                          <p:attrName>ppt_w</p:attrName>
                                        </p:attrNameLst>
                                      </p:cBhvr>
                                      <p:tavLst>
                                        <p:tav tm="0">
                                          <p:val>
                                            <p:fltVal val="0"/>
                                          </p:val>
                                        </p:tav>
                                        <p:tav tm="100000">
                                          <p:val>
                                            <p:strVal val="#ppt_w"/>
                                          </p:val>
                                        </p:tav>
                                      </p:tavLst>
                                    </p:anim>
                                    <p:anim calcmode="lin" valueType="num">
                                      <p:cBhvr>
                                        <p:cTn id="43" dur="100" fill="hold"/>
                                        <p:tgtEl>
                                          <p:spTgt spid="13"/>
                                        </p:tgtEl>
                                        <p:attrNameLst>
                                          <p:attrName>ppt_h</p:attrName>
                                        </p:attrNameLst>
                                      </p:cBhvr>
                                      <p:tavLst>
                                        <p:tav tm="0">
                                          <p:val>
                                            <p:fltVal val="0"/>
                                          </p:val>
                                        </p:tav>
                                        <p:tav tm="100000">
                                          <p:val>
                                            <p:strVal val="#ppt_h"/>
                                          </p:val>
                                        </p:tav>
                                      </p:tavLst>
                                    </p:anim>
                                    <p:animEffect>
                                      <p:cBhvr>
                                        <p:cTn id="44" dur="100"/>
                                        <p:tgtEl>
                                          <p:spTgt spid="13"/>
                                        </p:tgtEl>
                                      </p:cBhvr>
                                    </p:animEffect>
                                  </p:childTnLst>
                                </p:cTn>
                              </p:par>
                            </p:childTnLst>
                          </p:cTn>
                        </p:par>
                        <p:par>
                          <p:cTn id="45" fill="hold">
                            <p:stCondLst>
                              <p:cond delay="2750"/>
                            </p:stCondLst>
                            <p:childTnLst>
                              <p:par>
                                <p:cTn id="46" presetID="49" presetClass="entr" presetSubtype="0" decel="100000" fill="hold" grpId="0" nodeType="afterEffect">
                                  <p:stCondLst>
                                    <p:cond delay="0"/>
                                  </p:stCondLst>
                                  <p:childTnLst>
                                    <p:set>
                                      <p:cBhvr>
                                        <p:cTn id="47" dur="1" fill="hold">
                                          <p:stCondLst>
                                            <p:cond delay="0"/>
                                          </p:stCondLst>
                                        </p:cTn>
                                        <p:tgtEl>
                                          <p:spTgt spid="6"/>
                                        </p:tgtEl>
                                        <p:attrNameLst>
                                          <p:attrName>style.visibility</p:attrName>
                                        </p:attrNameLst>
                                      </p:cBhvr>
                                      <p:to>
                                        <p:strVal val="visible"/>
                                      </p:to>
                                    </p:set>
                                    <p:anim calcmode="lin" valueType="num">
                                      <p:cBhvr>
                                        <p:cTn id="48" dur="350" fill="hold"/>
                                        <p:tgtEl>
                                          <p:spTgt spid="6"/>
                                        </p:tgtEl>
                                        <p:attrNameLst>
                                          <p:attrName>ppt_w</p:attrName>
                                        </p:attrNameLst>
                                      </p:cBhvr>
                                      <p:tavLst>
                                        <p:tav tm="0">
                                          <p:val>
                                            <p:fltVal val="0"/>
                                          </p:val>
                                        </p:tav>
                                        <p:tav tm="100000">
                                          <p:val>
                                            <p:strVal val="#ppt_w"/>
                                          </p:val>
                                        </p:tav>
                                      </p:tavLst>
                                    </p:anim>
                                    <p:anim calcmode="lin" valueType="num">
                                      <p:cBhvr>
                                        <p:cTn id="49" dur="350" fill="hold"/>
                                        <p:tgtEl>
                                          <p:spTgt spid="6"/>
                                        </p:tgtEl>
                                        <p:attrNameLst>
                                          <p:attrName>ppt_h</p:attrName>
                                        </p:attrNameLst>
                                      </p:cBhvr>
                                      <p:tavLst>
                                        <p:tav tm="0">
                                          <p:val>
                                            <p:fltVal val="0"/>
                                          </p:val>
                                        </p:tav>
                                        <p:tav tm="100000">
                                          <p:val>
                                            <p:strVal val="#ppt_h"/>
                                          </p:val>
                                        </p:tav>
                                      </p:tavLst>
                                    </p:anim>
                                    <p:anim calcmode="lin" valueType="num">
                                      <p:cBhvr>
                                        <p:cTn id="50" dur="350" fill="hold"/>
                                        <p:tgtEl>
                                          <p:spTgt spid="6"/>
                                        </p:tgtEl>
                                        <p:attrNameLst>
                                          <p:attrName>style.rotation</p:attrName>
                                        </p:attrNameLst>
                                      </p:cBhvr>
                                      <p:tavLst>
                                        <p:tav tm="0">
                                          <p:val>
                                            <p:fltVal val="360"/>
                                          </p:val>
                                        </p:tav>
                                        <p:tav tm="100000">
                                          <p:val>
                                            <p:fltVal val="0"/>
                                          </p:val>
                                        </p:tav>
                                      </p:tavLst>
                                    </p:anim>
                                    <p:animEffect>
                                      <p:cBhvr>
                                        <p:cTn id="51" dur="350"/>
                                        <p:tgtEl>
                                          <p:spTgt spid="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p:cBhvr>
                                        <p:cTn id="54" dur="350"/>
                                        <p:tgtEl>
                                          <p:spTgt spid="15"/>
                                        </p:tgtEl>
                                      </p:cBhvr>
                                    </p:animEffect>
                                  </p:childTnLst>
                                </p:cTn>
                              </p:par>
                            </p:childTnLst>
                          </p:cTn>
                        </p:par>
                        <p:par>
                          <p:cTn id="55" fill="hold">
                            <p:stCondLst>
                              <p:cond delay="3250"/>
                            </p:stCondLst>
                            <p:childTnLst>
                              <p:par>
                                <p:cTn id="56" presetID="49" presetClass="entr" presetSubtype="0" decel="100000" fill="hold" grpId="0" nodeType="afterEffect">
                                  <p:stCondLst>
                                    <p:cond delay="0"/>
                                  </p:stCondLst>
                                  <p:childTnLst>
                                    <p:set>
                                      <p:cBhvr>
                                        <p:cTn id="57" dur="1" fill="hold">
                                          <p:stCondLst>
                                            <p:cond delay="0"/>
                                          </p:stCondLst>
                                        </p:cTn>
                                        <p:tgtEl>
                                          <p:spTgt spid="7"/>
                                        </p:tgtEl>
                                        <p:attrNameLst>
                                          <p:attrName>style.visibility</p:attrName>
                                        </p:attrNameLst>
                                      </p:cBhvr>
                                      <p:to>
                                        <p:strVal val="visible"/>
                                      </p:to>
                                    </p:set>
                                    <p:anim calcmode="lin" valueType="num">
                                      <p:cBhvr>
                                        <p:cTn id="58" dur="350" fill="hold"/>
                                        <p:tgtEl>
                                          <p:spTgt spid="7"/>
                                        </p:tgtEl>
                                        <p:attrNameLst>
                                          <p:attrName>ppt_w</p:attrName>
                                        </p:attrNameLst>
                                      </p:cBhvr>
                                      <p:tavLst>
                                        <p:tav tm="0">
                                          <p:val>
                                            <p:fltVal val="0"/>
                                          </p:val>
                                        </p:tav>
                                        <p:tav tm="100000">
                                          <p:val>
                                            <p:strVal val="#ppt_w"/>
                                          </p:val>
                                        </p:tav>
                                      </p:tavLst>
                                    </p:anim>
                                    <p:anim calcmode="lin" valueType="num">
                                      <p:cBhvr>
                                        <p:cTn id="59" dur="350" fill="hold"/>
                                        <p:tgtEl>
                                          <p:spTgt spid="7"/>
                                        </p:tgtEl>
                                        <p:attrNameLst>
                                          <p:attrName>ppt_h</p:attrName>
                                        </p:attrNameLst>
                                      </p:cBhvr>
                                      <p:tavLst>
                                        <p:tav tm="0">
                                          <p:val>
                                            <p:fltVal val="0"/>
                                          </p:val>
                                        </p:tav>
                                        <p:tav tm="100000">
                                          <p:val>
                                            <p:strVal val="#ppt_h"/>
                                          </p:val>
                                        </p:tav>
                                      </p:tavLst>
                                    </p:anim>
                                    <p:anim calcmode="lin" valueType="num">
                                      <p:cBhvr>
                                        <p:cTn id="60" dur="350" fill="hold"/>
                                        <p:tgtEl>
                                          <p:spTgt spid="7"/>
                                        </p:tgtEl>
                                        <p:attrNameLst>
                                          <p:attrName>style.rotation</p:attrName>
                                        </p:attrNameLst>
                                      </p:cBhvr>
                                      <p:tavLst>
                                        <p:tav tm="0">
                                          <p:val>
                                            <p:fltVal val="360"/>
                                          </p:val>
                                        </p:tav>
                                        <p:tav tm="100000">
                                          <p:val>
                                            <p:fltVal val="0"/>
                                          </p:val>
                                        </p:tav>
                                      </p:tavLst>
                                    </p:anim>
                                    <p:animEffect>
                                      <p:cBhvr>
                                        <p:cTn id="61" dur="350"/>
                                        <p:tgtEl>
                                          <p:spTgt spid="7"/>
                                        </p:tgtEl>
                                      </p:cBhvr>
                                    </p:animEffect>
                                  </p:childTnLst>
                                </p:cTn>
                              </p:par>
                            </p:childTnLst>
                          </p:cTn>
                        </p:par>
                        <p:par>
                          <p:cTn id="62" fill="hold">
                            <p:stCondLst>
                              <p:cond delay="3750"/>
                            </p:stCondLst>
                            <p:childTnLst>
                              <p:par>
                                <p:cTn id="63" presetID="49" presetClass="entr" presetSubtype="0" decel="100000"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350" fill="hold"/>
                                        <p:tgtEl>
                                          <p:spTgt spid="9"/>
                                        </p:tgtEl>
                                        <p:attrNameLst>
                                          <p:attrName>ppt_w</p:attrName>
                                        </p:attrNameLst>
                                      </p:cBhvr>
                                      <p:tavLst>
                                        <p:tav tm="0">
                                          <p:val>
                                            <p:fltVal val="0"/>
                                          </p:val>
                                        </p:tav>
                                        <p:tav tm="100000">
                                          <p:val>
                                            <p:strVal val="#ppt_w"/>
                                          </p:val>
                                        </p:tav>
                                      </p:tavLst>
                                    </p:anim>
                                    <p:anim calcmode="lin" valueType="num">
                                      <p:cBhvr>
                                        <p:cTn id="66" dur="350" fill="hold"/>
                                        <p:tgtEl>
                                          <p:spTgt spid="9"/>
                                        </p:tgtEl>
                                        <p:attrNameLst>
                                          <p:attrName>ppt_h</p:attrName>
                                        </p:attrNameLst>
                                      </p:cBhvr>
                                      <p:tavLst>
                                        <p:tav tm="0">
                                          <p:val>
                                            <p:fltVal val="0"/>
                                          </p:val>
                                        </p:tav>
                                        <p:tav tm="100000">
                                          <p:val>
                                            <p:strVal val="#ppt_h"/>
                                          </p:val>
                                        </p:tav>
                                      </p:tavLst>
                                    </p:anim>
                                    <p:anim calcmode="lin" valueType="num">
                                      <p:cBhvr>
                                        <p:cTn id="67" dur="350" fill="hold"/>
                                        <p:tgtEl>
                                          <p:spTgt spid="9"/>
                                        </p:tgtEl>
                                        <p:attrNameLst>
                                          <p:attrName>style.rotation</p:attrName>
                                        </p:attrNameLst>
                                      </p:cBhvr>
                                      <p:tavLst>
                                        <p:tav tm="0">
                                          <p:val>
                                            <p:fltVal val="360"/>
                                          </p:val>
                                        </p:tav>
                                        <p:tav tm="100000">
                                          <p:val>
                                            <p:fltVal val="0"/>
                                          </p:val>
                                        </p:tav>
                                      </p:tavLst>
                                    </p:anim>
                                    <p:animEffect>
                                      <p:cBhvr>
                                        <p:cTn id="68" dur="350"/>
                                        <p:tgtEl>
                                          <p:spTgt spid="9"/>
                                        </p:tgtEl>
                                      </p:cBhvr>
                                    </p:animEffect>
                                  </p:childTnLst>
                                </p:cTn>
                              </p:par>
                            </p:childTnLst>
                          </p:cTn>
                        </p:par>
                        <p:par>
                          <p:cTn id="69" fill="hold">
                            <p:stCondLst>
                              <p:cond delay="4250"/>
                            </p:stCondLst>
                            <p:childTnLst>
                              <p:par>
                                <p:cTn id="70" presetID="49" presetClass="entr" presetSubtype="0" decel="100000" fill="hold" grpId="0" nodeType="afterEffect">
                                  <p:stCondLst>
                                    <p:cond delay="0"/>
                                  </p:stCondLst>
                                  <p:childTnLst>
                                    <p:set>
                                      <p:cBhvr>
                                        <p:cTn id="71" dur="1" fill="hold">
                                          <p:stCondLst>
                                            <p:cond delay="0"/>
                                          </p:stCondLst>
                                        </p:cTn>
                                        <p:tgtEl>
                                          <p:spTgt spid="8"/>
                                        </p:tgtEl>
                                        <p:attrNameLst>
                                          <p:attrName>style.visibility</p:attrName>
                                        </p:attrNameLst>
                                      </p:cBhvr>
                                      <p:to>
                                        <p:strVal val="visible"/>
                                      </p:to>
                                    </p:set>
                                    <p:anim calcmode="lin" valueType="num">
                                      <p:cBhvr>
                                        <p:cTn id="72" dur="350" fill="hold"/>
                                        <p:tgtEl>
                                          <p:spTgt spid="8"/>
                                        </p:tgtEl>
                                        <p:attrNameLst>
                                          <p:attrName>ppt_w</p:attrName>
                                        </p:attrNameLst>
                                      </p:cBhvr>
                                      <p:tavLst>
                                        <p:tav tm="0">
                                          <p:val>
                                            <p:fltVal val="0"/>
                                          </p:val>
                                        </p:tav>
                                        <p:tav tm="100000">
                                          <p:val>
                                            <p:strVal val="#ppt_w"/>
                                          </p:val>
                                        </p:tav>
                                      </p:tavLst>
                                    </p:anim>
                                    <p:anim calcmode="lin" valueType="num">
                                      <p:cBhvr>
                                        <p:cTn id="73" dur="350" fill="hold"/>
                                        <p:tgtEl>
                                          <p:spTgt spid="8"/>
                                        </p:tgtEl>
                                        <p:attrNameLst>
                                          <p:attrName>ppt_h</p:attrName>
                                        </p:attrNameLst>
                                      </p:cBhvr>
                                      <p:tavLst>
                                        <p:tav tm="0">
                                          <p:val>
                                            <p:fltVal val="0"/>
                                          </p:val>
                                        </p:tav>
                                        <p:tav tm="100000">
                                          <p:val>
                                            <p:strVal val="#ppt_h"/>
                                          </p:val>
                                        </p:tav>
                                      </p:tavLst>
                                    </p:anim>
                                    <p:anim calcmode="lin" valueType="num">
                                      <p:cBhvr>
                                        <p:cTn id="74" dur="350" fill="hold"/>
                                        <p:tgtEl>
                                          <p:spTgt spid="8"/>
                                        </p:tgtEl>
                                        <p:attrNameLst>
                                          <p:attrName>style.rotation</p:attrName>
                                        </p:attrNameLst>
                                      </p:cBhvr>
                                      <p:tavLst>
                                        <p:tav tm="0">
                                          <p:val>
                                            <p:fltVal val="360"/>
                                          </p:val>
                                        </p:tav>
                                        <p:tav tm="100000">
                                          <p:val>
                                            <p:fltVal val="0"/>
                                          </p:val>
                                        </p:tav>
                                      </p:tavLst>
                                    </p:anim>
                                    <p:animEffect>
                                      <p:cBhvr>
                                        <p:cTn id="75" dur="350"/>
                                        <p:tgtEl>
                                          <p:spTgt spid="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6"/>
                                        </p:tgtEl>
                                        <p:attrNameLst>
                                          <p:attrName>style.visibility</p:attrName>
                                        </p:attrNameLst>
                                      </p:cBhvr>
                                      <p:to>
                                        <p:strVal val="visible"/>
                                      </p:to>
                                    </p:set>
                                    <p:animEffect>
                                      <p:cBhvr>
                                        <p:cTn id="78" dur="350"/>
                                        <p:tgtEl>
                                          <p:spTgt spid="1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7"/>
                                        </p:tgtEl>
                                        <p:attrNameLst>
                                          <p:attrName>style.visibility</p:attrName>
                                        </p:attrNameLst>
                                      </p:cBhvr>
                                      <p:to>
                                        <p:strVal val="visible"/>
                                      </p:to>
                                    </p:set>
                                    <p:animEffect>
                                      <p:cBhvr>
                                        <p:cTn id="81" dur="350"/>
                                        <p:tgtEl>
                                          <p:spTgt spid="1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8"/>
                                        </p:tgtEl>
                                        <p:attrNameLst>
                                          <p:attrName>style.visibility</p:attrName>
                                        </p:attrNameLst>
                                      </p:cBhvr>
                                      <p:to>
                                        <p:strVal val="visible"/>
                                      </p:to>
                                    </p:set>
                                    <p:animEffect>
                                      <p:cBhvr>
                                        <p:cTn id="84" dur="3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 grpId="0" bldLvl="0" autoUpdateAnimBg="0"/>
      <p:bldP spid="4" grpId="0" animBg="1"/>
      <p:bldP spid="5" grpId="0" bldLvl="0" animBg="1" autoUpdateAnimBg="0"/>
      <p:bldP spid="6" grpId="0" animBg="1"/>
      <p:bldP spid="7" grpId="0" animBg="1"/>
      <p:bldP spid="8" grpId="0" animBg="1"/>
      <p:bldP spid="10" grpId="0" bldLvl="0" animBg="1" autoUpdateAnimBg="0"/>
      <p:bldP spid="11" grpId="0" bldLvl="0" animBg="1" autoUpdateAnimBg="0"/>
      <p:bldP spid="12" grpId="0" bldLvl="0" animBg="1" autoUpdateAnimBg="0"/>
      <p:bldP spid="13" grpId="0" bldLvl="0" animBg="1" autoUpdateAnimBg="0"/>
      <p:bldP spid="14" grpId="0" bldLvl="0" autoUpdateAnimBg="0"/>
      <p:bldP spid="15" grpId="0" bldLvl="0" animBg="1" autoUpdateAnimBg="0"/>
      <p:bldP spid="16" grpId="0" bldLvl="0" animBg="1" autoUpdateAnimBg="0"/>
      <p:bldP spid="17" grpId="0" bldLvl="0" animBg="1" autoUpdateAnimBg="0"/>
      <p:bldP spid="18" grpId="0" bldLvl="0" animBg="1" autoUpdateAnimBg="0"/>
      <p:bldP spid="20" grpId="0" bldLvl="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业务优势</a:t>
            </a:r>
            <a:endParaRPr lang="zh-CN" altLang="en-US" dirty="0"/>
          </a:p>
        </p:txBody>
      </p:sp>
      <p:sp>
        <p:nvSpPr>
          <p:cNvPr id="5" name="等腰三角形 2"/>
          <p:cNvSpPr/>
          <p:nvPr/>
        </p:nvSpPr>
        <p:spPr bwMode="auto">
          <a:xfrm rot="3036074">
            <a:off x="5946273" y="1775147"/>
            <a:ext cx="1584000" cy="1692000"/>
          </a:xfrm>
          <a:custGeom>
            <a:avLst/>
            <a:gdLst>
              <a:gd name="T0" fmla="*/ 894556 w 1152128"/>
              <a:gd name="T1" fmla="*/ 0 h 1333073"/>
              <a:gd name="T2" fmla="*/ 1067647 w 1152128"/>
              <a:gd name="T3" fmla="*/ 298435 h 1333073"/>
              <a:gd name="T4" fmla="*/ 1789112 w 1152128"/>
              <a:gd name="T5" fmla="*/ 1175543 h 1333073"/>
              <a:gd name="T6" fmla="*/ 894556 w 1152128"/>
              <a:gd name="T7" fmla="*/ 2070100 h 1333073"/>
              <a:gd name="T8" fmla="*/ 0 w 1152128"/>
              <a:gd name="T9" fmla="*/ 1175543 h 1333073"/>
              <a:gd name="T10" fmla="*/ 721465 w 1152128"/>
              <a:gd name="T11" fmla="*/ 298435 h 1333073"/>
              <a:gd name="T12" fmla="*/ 894556 w 1152128"/>
              <a:gd name="T13" fmla="*/ 0 h 13330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128" h="1333073">
                <a:moveTo>
                  <a:pt x="576064" y="0"/>
                </a:moveTo>
                <a:lnTo>
                  <a:pt x="687529" y="192182"/>
                </a:lnTo>
                <a:cubicBezTo>
                  <a:pt x="952381" y="243689"/>
                  <a:pt x="1152128" y="477023"/>
                  <a:pt x="1152128" y="757009"/>
                </a:cubicBezTo>
                <a:cubicBezTo>
                  <a:pt x="1152128" y="1075160"/>
                  <a:pt x="894215" y="1333073"/>
                  <a:pt x="576064" y="1333073"/>
                </a:cubicBezTo>
                <a:cubicBezTo>
                  <a:pt x="257913" y="1333073"/>
                  <a:pt x="0" y="1075160"/>
                  <a:pt x="0" y="757009"/>
                </a:cubicBezTo>
                <a:cubicBezTo>
                  <a:pt x="0" y="477023"/>
                  <a:pt x="199747" y="243689"/>
                  <a:pt x="464599" y="192182"/>
                </a:cubicBezTo>
                <a:lnTo>
                  <a:pt x="576064" y="0"/>
                </a:lnTo>
                <a:close/>
              </a:path>
            </a:pathLst>
          </a:custGeom>
          <a:solidFill>
            <a:schemeClr val="accent4">
              <a:lumMod val="75000"/>
            </a:schemeClr>
          </a:solidFill>
          <a:ln w="28575" cmpd="sng">
            <a:solidFill>
              <a:srgbClr val="F8F8F8"/>
            </a:solidFill>
            <a:round/>
          </a:ln>
        </p:spPr>
        <p:txBody>
          <a:bodyPr wrap="none" anchor="ctr"/>
          <a:lstStyle/>
          <a:p>
            <a:endParaRPr lang="zh-CN" altLang="en-US"/>
          </a:p>
        </p:txBody>
      </p:sp>
      <p:sp>
        <p:nvSpPr>
          <p:cNvPr id="6" name="TextBox 24"/>
          <p:cNvSpPr txBox="1">
            <a:spLocks noChangeArrowheads="1"/>
          </p:cNvSpPr>
          <p:nvPr/>
        </p:nvSpPr>
        <p:spPr bwMode="auto">
          <a:xfrm>
            <a:off x="6253371" y="2413328"/>
            <a:ext cx="911493" cy="523601"/>
          </a:xfrm>
          <a:prstGeom prst="rect">
            <a:avLst/>
          </a:prstGeom>
          <a:noFill/>
          <a:ln w="9525">
            <a:noFill/>
            <a:miter lim="800000"/>
          </a:ln>
        </p:spPr>
        <p:txBody>
          <a:bodyPr wrap="none" anchor="ctr"/>
          <a:lstStyle/>
          <a:p>
            <a:pPr algn="ctr"/>
            <a:r>
              <a:rPr lang="zh-CN" altLang="en-US" b="1" dirty="0">
                <a:solidFill>
                  <a:srgbClr val="FFFFFF"/>
                </a:solidFill>
                <a:latin typeface="微软雅黑" panose="020B0503020204020204" pitchFamily="34" charset="-122"/>
                <a:ea typeface="微软雅黑" panose="020B0503020204020204" pitchFamily="34" charset="-122"/>
              </a:rPr>
              <a:t>产品支持</a:t>
            </a:r>
            <a:endParaRPr lang="zh-CN" altLang="en-US" b="1" dirty="0">
              <a:solidFill>
                <a:srgbClr val="FFFFFF"/>
              </a:solidFill>
              <a:latin typeface="微软雅黑" panose="020B0503020204020204" pitchFamily="34" charset="-122"/>
              <a:ea typeface="微软雅黑" panose="020B0503020204020204" pitchFamily="34" charset="-122"/>
            </a:endParaRPr>
          </a:p>
        </p:txBody>
      </p:sp>
      <p:sp>
        <p:nvSpPr>
          <p:cNvPr id="7" name="等腰三角形 2"/>
          <p:cNvSpPr/>
          <p:nvPr/>
        </p:nvSpPr>
        <p:spPr bwMode="auto">
          <a:xfrm rot="9140283">
            <a:off x="5293730" y="2994186"/>
            <a:ext cx="1623478" cy="1764000"/>
          </a:xfrm>
          <a:custGeom>
            <a:avLst/>
            <a:gdLst>
              <a:gd name="T0" fmla="*/ 894557 w 1152128"/>
              <a:gd name="T1" fmla="*/ 0 h 1333073"/>
              <a:gd name="T2" fmla="*/ 1067648 w 1152128"/>
              <a:gd name="T3" fmla="*/ 298435 h 1333073"/>
              <a:gd name="T4" fmla="*/ 1789113 w 1152128"/>
              <a:gd name="T5" fmla="*/ 1175543 h 1333073"/>
              <a:gd name="T6" fmla="*/ 894557 w 1152128"/>
              <a:gd name="T7" fmla="*/ 2070100 h 1333073"/>
              <a:gd name="T8" fmla="*/ 0 w 1152128"/>
              <a:gd name="T9" fmla="*/ 1175543 h 1333073"/>
              <a:gd name="T10" fmla="*/ 721465 w 1152128"/>
              <a:gd name="T11" fmla="*/ 298435 h 1333073"/>
              <a:gd name="T12" fmla="*/ 894557 w 1152128"/>
              <a:gd name="T13" fmla="*/ 0 h 13330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128" h="1333073">
                <a:moveTo>
                  <a:pt x="576064" y="0"/>
                </a:moveTo>
                <a:lnTo>
                  <a:pt x="687529" y="192182"/>
                </a:lnTo>
                <a:cubicBezTo>
                  <a:pt x="952381" y="243689"/>
                  <a:pt x="1152128" y="477023"/>
                  <a:pt x="1152128" y="757009"/>
                </a:cubicBezTo>
                <a:cubicBezTo>
                  <a:pt x="1152128" y="1075160"/>
                  <a:pt x="894215" y="1333073"/>
                  <a:pt x="576064" y="1333073"/>
                </a:cubicBezTo>
                <a:cubicBezTo>
                  <a:pt x="257913" y="1333073"/>
                  <a:pt x="0" y="1075160"/>
                  <a:pt x="0" y="757009"/>
                </a:cubicBezTo>
                <a:cubicBezTo>
                  <a:pt x="0" y="477023"/>
                  <a:pt x="199747" y="243689"/>
                  <a:pt x="464599" y="192182"/>
                </a:cubicBezTo>
                <a:lnTo>
                  <a:pt x="576064" y="0"/>
                </a:lnTo>
                <a:close/>
              </a:path>
            </a:pathLst>
          </a:custGeom>
          <a:solidFill>
            <a:schemeClr val="tx2">
              <a:lumMod val="75000"/>
            </a:schemeClr>
          </a:solidFill>
          <a:ln>
            <a:solidFill>
              <a:schemeClr val="bg1"/>
            </a:solidFill>
          </a:ln>
        </p:spPr>
        <p:style>
          <a:lnRef idx="1">
            <a:schemeClr val="accent5"/>
          </a:lnRef>
          <a:fillRef idx="3">
            <a:schemeClr val="accent5"/>
          </a:fillRef>
          <a:effectRef idx="2">
            <a:schemeClr val="accent5"/>
          </a:effectRef>
          <a:fontRef idx="minor">
            <a:schemeClr val="lt1"/>
          </a:fontRef>
        </p:style>
        <p:txBody>
          <a:bodyPr wrap="none" anchor="ctr"/>
          <a:lstStyle/>
          <a:p>
            <a:endParaRPr lang="zh-CN" altLang="en-US"/>
          </a:p>
        </p:txBody>
      </p:sp>
      <p:sp>
        <p:nvSpPr>
          <p:cNvPr id="8" name="TextBox 26"/>
          <p:cNvSpPr txBox="1">
            <a:spLocks noChangeArrowheads="1"/>
          </p:cNvSpPr>
          <p:nvPr/>
        </p:nvSpPr>
        <p:spPr bwMode="auto">
          <a:xfrm>
            <a:off x="5492735" y="3599269"/>
            <a:ext cx="1068697" cy="522266"/>
          </a:xfrm>
          <a:prstGeom prst="rect">
            <a:avLst/>
          </a:prstGeom>
          <a:noFill/>
          <a:ln w="9525">
            <a:noFill/>
            <a:miter lim="800000"/>
          </a:ln>
        </p:spPr>
        <p:txBody>
          <a:bodyPr wrap="none" anchor="ctr"/>
          <a:lstStyle/>
          <a:p>
            <a:pPr algn="ctr"/>
            <a:r>
              <a:rPr lang="zh-CN" altLang="en-US" b="1" dirty="0">
                <a:solidFill>
                  <a:srgbClr val="FFFFFF"/>
                </a:solidFill>
                <a:latin typeface="微软雅黑" panose="020B0503020204020204" pitchFamily="34" charset="-122"/>
                <a:ea typeface="微软雅黑" panose="020B0503020204020204" pitchFamily="34" charset="-122"/>
              </a:rPr>
              <a:t>合作支持</a:t>
            </a:r>
            <a:endParaRPr lang="zh-CN" altLang="en-US" b="1" dirty="0">
              <a:solidFill>
                <a:srgbClr val="FFFFFF"/>
              </a:solidFill>
              <a:latin typeface="微软雅黑" panose="020B0503020204020204" pitchFamily="34" charset="-122"/>
              <a:ea typeface="微软雅黑" panose="020B0503020204020204" pitchFamily="34" charset="-122"/>
            </a:endParaRPr>
          </a:p>
        </p:txBody>
      </p:sp>
      <p:sp>
        <p:nvSpPr>
          <p:cNvPr id="9" name="等腰三角形 2"/>
          <p:cNvSpPr/>
          <p:nvPr/>
        </p:nvSpPr>
        <p:spPr bwMode="auto">
          <a:xfrm rot="16474574">
            <a:off x="4296080" y="1869056"/>
            <a:ext cx="1620000" cy="1925661"/>
          </a:xfrm>
          <a:custGeom>
            <a:avLst/>
            <a:gdLst>
              <a:gd name="T0" fmla="*/ 894556 w 1152128"/>
              <a:gd name="T1" fmla="*/ 0 h 1333073"/>
              <a:gd name="T2" fmla="*/ 1067647 w 1152128"/>
              <a:gd name="T3" fmla="*/ 298435 h 1333073"/>
              <a:gd name="T4" fmla="*/ 1789112 w 1152128"/>
              <a:gd name="T5" fmla="*/ 1175543 h 1333073"/>
              <a:gd name="T6" fmla="*/ 894556 w 1152128"/>
              <a:gd name="T7" fmla="*/ 2070100 h 1333073"/>
              <a:gd name="T8" fmla="*/ 0 w 1152128"/>
              <a:gd name="T9" fmla="*/ 1175543 h 1333073"/>
              <a:gd name="T10" fmla="*/ 721465 w 1152128"/>
              <a:gd name="T11" fmla="*/ 298435 h 1333073"/>
              <a:gd name="T12" fmla="*/ 894556 w 1152128"/>
              <a:gd name="T13" fmla="*/ 0 h 13330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128" h="1333073">
                <a:moveTo>
                  <a:pt x="576064" y="0"/>
                </a:moveTo>
                <a:lnTo>
                  <a:pt x="687529" y="192182"/>
                </a:lnTo>
                <a:cubicBezTo>
                  <a:pt x="952381" y="243689"/>
                  <a:pt x="1152128" y="477023"/>
                  <a:pt x="1152128" y="757009"/>
                </a:cubicBezTo>
                <a:cubicBezTo>
                  <a:pt x="1152128" y="1075160"/>
                  <a:pt x="894215" y="1333073"/>
                  <a:pt x="576064" y="1333073"/>
                </a:cubicBezTo>
                <a:cubicBezTo>
                  <a:pt x="257913" y="1333073"/>
                  <a:pt x="0" y="1075160"/>
                  <a:pt x="0" y="757009"/>
                </a:cubicBezTo>
                <a:cubicBezTo>
                  <a:pt x="0" y="477023"/>
                  <a:pt x="199747" y="243689"/>
                  <a:pt x="464599" y="192182"/>
                </a:cubicBezTo>
                <a:lnTo>
                  <a:pt x="576064" y="0"/>
                </a:lnTo>
                <a:close/>
              </a:path>
            </a:pathLst>
          </a:custGeom>
          <a:solidFill>
            <a:srgbClr val="F55959"/>
          </a:solidFill>
          <a:ln w="28575" cmpd="sng">
            <a:solidFill>
              <a:srgbClr val="F8F8F8"/>
            </a:solidFill>
            <a:round/>
          </a:ln>
        </p:spPr>
        <p:txBody>
          <a:bodyPr wrap="none" anchor="ctr"/>
          <a:lstStyle/>
          <a:p>
            <a:endParaRPr lang="zh-CN" altLang="en-US"/>
          </a:p>
        </p:txBody>
      </p:sp>
      <p:sp>
        <p:nvSpPr>
          <p:cNvPr id="10" name="TextBox 28"/>
          <p:cNvSpPr txBox="1">
            <a:spLocks noChangeArrowheads="1"/>
          </p:cNvSpPr>
          <p:nvPr/>
        </p:nvSpPr>
        <p:spPr bwMode="auto">
          <a:xfrm>
            <a:off x="4644828" y="2547563"/>
            <a:ext cx="1068697" cy="523601"/>
          </a:xfrm>
          <a:prstGeom prst="rect">
            <a:avLst/>
          </a:prstGeom>
          <a:noFill/>
          <a:ln w="9525">
            <a:noFill/>
            <a:miter lim="800000"/>
          </a:ln>
        </p:spPr>
        <p:txBody>
          <a:bodyPr wrap="none" anchor="ctr"/>
          <a:lstStyle/>
          <a:p>
            <a:pPr algn="ctr"/>
            <a:r>
              <a:rPr lang="zh-CN" altLang="en-US" b="1" dirty="0">
                <a:solidFill>
                  <a:srgbClr val="FFFFFF"/>
                </a:solidFill>
                <a:latin typeface="微软雅黑" panose="020B0503020204020204" pitchFamily="34" charset="-122"/>
                <a:ea typeface="微软雅黑" panose="020B0503020204020204" pitchFamily="34" charset="-122"/>
              </a:rPr>
              <a:t>决策支持</a:t>
            </a:r>
            <a:endParaRPr lang="zh-CN" altLang="en-US" b="1" dirty="0">
              <a:solidFill>
                <a:srgbClr val="FFFFFF"/>
              </a:solidFill>
              <a:latin typeface="微软雅黑" panose="020B0503020204020204" pitchFamily="34" charset="-122"/>
              <a:ea typeface="微软雅黑" panose="020B0503020204020204" pitchFamily="34" charset="-122"/>
            </a:endParaRPr>
          </a:p>
        </p:txBody>
      </p:sp>
      <p:sp>
        <p:nvSpPr>
          <p:cNvPr id="11" name="TextBox 29"/>
          <p:cNvSpPr txBox="1">
            <a:spLocks noChangeArrowheads="1"/>
          </p:cNvSpPr>
          <p:nvPr/>
        </p:nvSpPr>
        <p:spPr bwMode="auto">
          <a:xfrm>
            <a:off x="1397251" y="1453236"/>
            <a:ext cx="1846980" cy="369332"/>
          </a:xfrm>
          <a:prstGeom prst="rect">
            <a:avLst/>
          </a:prstGeom>
          <a:noFill/>
          <a:ln w="9525">
            <a:noFill/>
            <a:miter lim="800000"/>
          </a:ln>
        </p:spPr>
        <p:txBody>
          <a:bodyPr wrap="none">
            <a:spAutoFit/>
          </a:bodyPr>
          <a:lstStyle/>
          <a:p>
            <a:r>
              <a:rPr lang="en-US" altLang="zh-CN" b="1" dirty="0">
                <a:solidFill>
                  <a:srgbClr val="4D4D4D"/>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总行决策支持</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12" name="TextBox 30"/>
          <p:cNvSpPr txBox="1">
            <a:spLocks noChangeArrowheads="1"/>
          </p:cNvSpPr>
          <p:nvPr/>
        </p:nvSpPr>
        <p:spPr bwMode="auto">
          <a:xfrm>
            <a:off x="1397251" y="1996224"/>
            <a:ext cx="1872208" cy="738664"/>
          </a:xfrm>
          <a:prstGeom prst="rect">
            <a:avLst/>
          </a:prstGeom>
          <a:noFill/>
          <a:ln w="9525">
            <a:noFill/>
            <a:miter lim="800000"/>
          </a:ln>
        </p:spPr>
        <p:txBody>
          <a:bodyPr wrap="square">
            <a:spAutoFit/>
          </a:bodyPr>
          <a:lstStyle/>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审批环节短</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操作流程快</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endParaRPr>
          </a:p>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服务方式灵活</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3" name="TextBox 31"/>
          <p:cNvSpPr txBox="1">
            <a:spLocks noChangeArrowheads="1"/>
          </p:cNvSpPr>
          <p:nvPr/>
        </p:nvSpPr>
        <p:spPr bwMode="auto">
          <a:xfrm>
            <a:off x="9117997" y="1453236"/>
            <a:ext cx="1846980" cy="369332"/>
          </a:xfrm>
          <a:prstGeom prst="rect">
            <a:avLst/>
          </a:prstGeom>
          <a:noFill/>
          <a:ln w="9525">
            <a:noFill/>
            <a:miter lim="800000"/>
          </a:ln>
        </p:spPr>
        <p:txBody>
          <a:bodyPr wrap="none">
            <a:spAutoFit/>
          </a:bodyPr>
          <a:lstStyle/>
          <a:p>
            <a:r>
              <a:rPr lang="en-US" altLang="zh-CN" b="1" dirty="0">
                <a:solidFill>
                  <a:schemeClr val="tx1">
                    <a:lumMod val="75000"/>
                    <a:lumOff val="25000"/>
                  </a:schemeClr>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创新金融产品</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14" name="TextBox 32"/>
          <p:cNvSpPr txBox="1">
            <a:spLocks noChangeArrowheads="1"/>
          </p:cNvSpPr>
          <p:nvPr/>
        </p:nvSpPr>
        <p:spPr bwMode="auto">
          <a:xfrm>
            <a:off x="8998144" y="3644481"/>
            <a:ext cx="2893380" cy="954107"/>
          </a:xfrm>
          <a:prstGeom prst="rect">
            <a:avLst/>
          </a:prstGeom>
          <a:noFill/>
          <a:ln w="9525">
            <a:noFill/>
            <a:miter lim="800000"/>
          </a:ln>
        </p:spPr>
        <p:txBody>
          <a:bodyPr wrap="square">
            <a:spAutoFit/>
          </a:bodyPr>
          <a:lstStyle/>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打造“金摇篮”小微企业信贷品牌、“金太阳”三农贷款品牌，积极开展信贷业务创新，致力于开发符合企业发展新趋势的产品服务</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5" name="TextBox 33"/>
          <p:cNvSpPr txBox="1">
            <a:spLocks noChangeArrowheads="1"/>
          </p:cNvSpPr>
          <p:nvPr/>
        </p:nvSpPr>
        <p:spPr bwMode="auto">
          <a:xfrm>
            <a:off x="4292345" y="5213170"/>
            <a:ext cx="2893381" cy="369332"/>
          </a:xfrm>
          <a:prstGeom prst="rect">
            <a:avLst/>
          </a:prstGeom>
          <a:noFill/>
          <a:ln w="9525">
            <a:noFill/>
            <a:miter lim="800000"/>
          </a:ln>
        </p:spPr>
        <p:txBody>
          <a:bodyPr wrap="square">
            <a:spAutoFit/>
          </a:bodyPr>
          <a:lstStyle/>
          <a:p>
            <a:r>
              <a:rPr lang="en-US" altLang="zh-CN" b="1" dirty="0">
                <a:solidFill>
                  <a:schemeClr val="tx1">
                    <a:lumMod val="75000"/>
                    <a:lumOff val="25000"/>
                  </a:schemeClr>
                </a:solidFill>
                <a:latin typeface="微软雅黑" panose="020B0503020204020204" pitchFamily="34" charset="-122"/>
                <a:ea typeface="微软雅黑" panose="020B0503020204020204" pitchFamily="34" charset="-122"/>
              </a:rPr>
              <a:t>■  </a:t>
            </a:r>
            <a:r>
              <a:rPr lang="zh-CN" altLang="en-US" b="1" dirty="0">
                <a:solidFill>
                  <a:srgbClr val="C00000"/>
                </a:solidFill>
                <a:latin typeface="微软雅黑" panose="020B0503020204020204" pitchFamily="34" charset="-122"/>
                <a:ea typeface="微软雅黑" panose="020B0503020204020204" pitchFamily="34" charset="-122"/>
              </a:rPr>
              <a:t>强化多方合作</a:t>
            </a:r>
            <a:endParaRPr lang="zh-CN" altLang="en-US" b="1" dirty="0">
              <a:solidFill>
                <a:srgbClr val="C00000"/>
              </a:solidFill>
              <a:latin typeface="微软雅黑" panose="020B0503020204020204" pitchFamily="34" charset="-122"/>
              <a:ea typeface="微软雅黑" panose="020B0503020204020204" pitchFamily="34" charset="-122"/>
            </a:endParaRPr>
          </a:p>
        </p:txBody>
      </p:sp>
      <p:sp>
        <p:nvSpPr>
          <p:cNvPr id="16" name="TextBox 34"/>
          <p:cNvSpPr txBox="1">
            <a:spLocks noChangeArrowheads="1"/>
          </p:cNvSpPr>
          <p:nvPr/>
        </p:nvSpPr>
        <p:spPr bwMode="auto">
          <a:xfrm>
            <a:off x="4292345" y="5684630"/>
            <a:ext cx="3354628" cy="738664"/>
          </a:xfrm>
          <a:prstGeom prst="rect">
            <a:avLst/>
          </a:prstGeom>
          <a:noFill/>
          <a:ln w="9525">
            <a:noFill/>
            <a:miter lim="800000"/>
          </a:ln>
        </p:spPr>
        <p:txBody>
          <a:bodyPr wrap="square">
            <a:spAutoFit/>
          </a:bodyPr>
          <a:lstStyle/>
          <a:p>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不断创新服务方式，加强与政府、协（商）会及工业园区合作，构建共享化渠道合作模式</a:t>
            </a:r>
            <a:endPar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17" name="图片 14"/>
          <p:cNvPicPr>
            <a:picLocks noChangeAspect="1" noChangeArrowheads="1"/>
          </p:cNvPicPr>
          <p:nvPr/>
        </p:nvPicPr>
        <p:blipFill>
          <a:blip r:embed="rId1" cstate="print"/>
          <a:stretch>
            <a:fillRect/>
          </a:stretch>
        </p:blipFill>
        <p:spPr bwMode="auto">
          <a:xfrm>
            <a:off x="7981122" y="5120679"/>
            <a:ext cx="2635628" cy="1430767"/>
          </a:xfrm>
          <a:prstGeom prst="rect">
            <a:avLst/>
          </a:prstGeom>
          <a:noFill/>
          <a:ln w="19050">
            <a:solidFill>
              <a:schemeClr val="bg1">
                <a:lumMod val="75000"/>
              </a:schemeClr>
            </a:solidFill>
            <a:bevel/>
          </a:ln>
        </p:spPr>
      </p:pic>
      <p:pic>
        <p:nvPicPr>
          <p:cNvPr id="18" name="图片 17"/>
          <p:cNvPicPr>
            <a:picLocks noChangeAspect="1" noChangeArrowheads="1"/>
          </p:cNvPicPr>
          <p:nvPr/>
        </p:nvPicPr>
        <p:blipFill>
          <a:blip r:embed="rId2" cstate="print"/>
          <a:stretch>
            <a:fillRect/>
          </a:stretch>
        </p:blipFill>
        <p:spPr bwMode="auto">
          <a:xfrm>
            <a:off x="1358888" y="2928310"/>
            <a:ext cx="2138061" cy="2284860"/>
          </a:xfrm>
          <a:prstGeom prst="rect">
            <a:avLst/>
          </a:prstGeom>
          <a:noFill/>
          <a:ln w="19050">
            <a:solidFill>
              <a:schemeClr val="bg1">
                <a:lumMod val="75000"/>
              </a:schemeClr>
            </a:solidFill>
            <a:bevel/>
          </a:ln>
        </p:spPr>
      </p:pic>
      <p:pic>
        <p:nvPicPr>
          <p:cNvPr id="19" name="图片 14"/>
          <p:cNvPicPr>
            <a:picLocks noChangeAspect="1" noChangeArrowheads="1"/>
          </p:cNvPicPr>
          <p:nvPr/>
        </p:nvPicPr>
        <p:blipFill>
          <a:blip r:embed="rId3" cstate="print"/>
          <a:stretch>
            <a:fillRect/>
          </a:stretch>
        </p:blipFill>
        <p:spPr bwMode="auto">
          <a:xfrm>
            <a:off x="9117997" y="2004981"/>
            <a:ext cx="2402490" cy="1462298"/>
          </a:xfrm>
          <a:prstGeom prst="rect">
            <a:avLst/>
          </a:prstGeom>
          <a:noFill/>
          <a:ln w="19050">
            <a:solidFill>
              <a:schemeClr val="bg1">
                <a:lumMod val="75000"/>
              </a:schemeClr>
            </a:solidFill>
            <a:bevel/>
          </a:ln>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12"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9"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31" presetClass="entr" presetSubtype="0"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p:cTn id="22" dur="300" fill="hold"/>
                                        <p:tgtEl>
                                          <p:spTgt spid="10"/>
                                        </p:tgtEl>
                                        <p:attrNameLst>
                                          <p:attrName>ppt_w</p:attrName>
                                        </p:attrNameLst>
                                      </p:cBhvr>
                                      <p:tavLst>
                                        <p:tav tm="0">
                                          <p:val>
                                            <p:fltVal val="0"/>
                                          </p:val>
                                        </p:tav>
                                        <p:tav tm="100000">
                                          <p:val>
                                            <p:strVal val="#ppt_w"/>
                                          </p:val>
                                        </p:tav>
                                      </p:tavLst>
                                    </p:anim>
                                    <p:anim calcmode="lin" valueType="num">
                                      <p:cBhvr>
                                        <p:cTn id="23" dur="300" fill="hold"/>
                                        <p:tgtEl>
                                          <p:spTgt spid="10"/>
                                        </p:tgtEl>
                                        <p:attrNameLst>
                                          <p:attrName>ppt_h</p:attrName>
                                        </p:attrNameLst>
                                      </p:cBhvr>
                                      <p:tavLst>
                                        <p:tav tm="0">
                                          <p:val>
                                            <p:fltVal val="0"/>
                                          </p:val>
                                        </p:tav>
                                        <p:tav tm="100000">
                                          <p:val>
                                            <p:strVal val="#ppt_h"/>
                                          </p:val>
                                        </p:tav>
                                      </p:tavLst>
                                    </p:anim>
                                    <p:anim calcmode="lin" valueType="num">
                                      <p:cBhvr>
                                        <p:cTn id="24" dur="300" fill="hold"/>
                                        <p:tgtEl>
                                          <p:spTgt spid="10"/>
                                        </p:tgtEl>
                                        <p:attrNameLst>
                                          <p:attrName>style.rotation</p:attrName>
                                        </p:attrNameLst>
                                      </p:cBhvr>
                                      <p:tavLst>
                                        <p:tav tm="0">
                                          <p:val>
                                            <p:fltVal val="90"/>
                                          </p:val>
                                        </p:tav>
                                        <p:tav tm="100000">
                                          <p:val>
                                            <p:fltVal val="0"/>
                                          </p:val>
                                        </p:tav>
                                      </p:tavLst>
                                    </p:anim>
                                    <p:animEffect transition="in" filter="fade">
                                      <p:cBhvr>
                                        <p:cTn id="25" dur="300"/>
                                        <p:tgtEl>
                                          <p:spTgt spid="10"/>
                                        </p:tgtEl>
                                      </p:cBhvr>
                                    </p:animEffect>
                                  </p:childTnLst>
                                </p:cTn>
                              </p:par>
                            </p:childTnLst>
                          </p:cTn>
                        </p:par>
                        <p:par>
                          <p:cTn id="26" fill="hold">
                            <p:stCondLst>
                              <p:cond delay="2000"/>
                            </p:stCondLst>
                            <p:childTnLst>
                              <p:par>
                                <p:cTn id="27" presetID="22" presetClass="entr" presetSubtype="8"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childTnLst>
                          </p:cTn>
                        </p:par>
                        <p:par>
                          <p:cTn id="30" fill="hold">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childTnLst>
                          </p:cTn>
                        </p:par>
                        <p:par>
                          <p:cTn id="34" fill="hold">
                            <p:stCondLst>
                              <p:cond delay="3000"/>
                            </p:stCondLst>
                            <p:childTnLst>
                              <p:par>
                                <p:cTn id="35" presetID="31" presetClass="entr" presetSubtype="0"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300" fill="hold"/>
                                        <p:tgtEl>
                                          <p:spTgt spid="6"/>
                                        </p:tgtEl>
                                        <p:attrNameLst>
                                          <p:attrName>ppt_w</p:attrName>
                                        </p:attrNameLst>
                                      </p:cBhvr>
                                      <p:tavLst>
                                        <p:tav tm="0">
                                          <p:val>
                                            <p:fltVal val="0"/>
                                          </p:val>
                                        </p:tav>
                                        <p:tav tm="100000">
                                          <p:val>
                                            <p:strVal val="#ppt_w"/>
                                          </p:val>
                                        </p:tav>
                                      </p:tavLst>
                                    </p:anim>
                                    <p:anim calcmode="lin" valueType="num">
                                      <p:cBhvr>
                                        <p:cTn id="38" dur="300" fill="hold"/>
                                        <p:tgtEl>
                                          <p:spTgt spid="6"/>
                                        </p:tgtEl>
                                        <p:attrNameLst>
                                          <p:attrName>ppt_h</p:attrName>
                                        </p:attrNameLst>
                                      </p:cBhvr>
                                      <p:tavLst>
                                        <p:tav tm="0">
                                          <p:val>
                                            <p:fltVal val="0"/>
                                          </p:val>
                                        </p:tav>
                                        <p:tav tm="100000">
                                          <p:val>
                                            <p:strVal val="#ppt_h"/>
                                          </p:val>
                                        </p:tav>
                                      </p:tavLst>
                                    </p:anim>
                                    <p:anim calcmode="lin" valueType="num">
                                      <p:cBhvr>
                                        <p:cTn id="39" dur="300" fill="hold"/>
                                        <p:tgtEl>
                                          <p:spTgt spid="6"/>
                                        </p:tgtEl>
                                        <p:attrNameLst>
                                          <p:attrName>style.rotation</p:attrName>
                                        </p:attrNameLst>
                                      </p:cBhvr>
                                      <p:tavLst>
                                        <p:tav tm="0">
                                          <p:val>
                                            <p:fltVal val="90"/>
                                          </p:val>
                                        </p:tav>
                                        <p:tav tm="100000">
                                          <p:val>
                                            <p:fltVal val="0"/>
                                          </p:val>
                                        </p:tav>
                                      </p:tavLst>
                                    </p:anim>
                                    <p:animEffect transition="in" filter="fade">
                                      <p:cBhvr>
                                        <p:cTn id="40" dur="300"/>
                                        <p:tgtEl>
                                          <p:spTgt spid="6"/>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left)">
                                      <p:cBhvr>
                                        <p:cTn id="44" dur="250"/>
                                        <p:tgtEl>
                                          <p:spTgt spid="13"/>
                                        </p:tgtEl>
                                      </p:cBhvr>
                                    </p:animEffect>
                                  </p:childTnLst>
                                </p:cTn>
                              </p:par>
                            </p:childTnLst>
                          </p:cTn>
                        </p:par>
                        <p:par>
                          <p:cTn id="45" fill="hold">
                            <p:stCondLst>
                              <p:cond delay="4000"/>
                            </p:stCondLst>
                            <p:childTnLst>
                              <p:par>
                                <p:cTn id="46" presetID="22" presetClass="entr" presetSubtype="1"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up)">
                                      <p:cBhvr>
                                        <p:cTn id="48" dur="10"/>
                                        <p:tgtEl>
                                          <p:spTgt spid="14"/>
                                        </p:tgtEl>
                                      </p:cBhvr>
                                    </p:animEffect>
                                  </p:childTnLst>
                                </p:cTn>
                              </p:par>
                            </p:childTnLst>
                          </p:cTn>
                        </p:par>
                        <p:par>
                          <p:cTn id="49" fill="hold">
                            <p:stCondLst>
                              <p:cond delay="4500"/>
                            </p:stCondLst>
                            <p:childTnLst>
                              <p:par>
                                <p:cTn id="50" presetID="31" presetClass="entr" presetSubtype="0" fill="hold" grpId="0" nodeType="afterEffect">
                                  <p:stCondLst>
                                    <p:cond delay="0"/>
                                  </p:stCondLst>
                                  <p:childTnLst>
                                    <p:set>
                                      <p:cBhvr>
                                        <p:cTn id="51" dur="1" fill="hold">
                                          <p:stCondLst>
                                            <p:cond delay="0"/>
                                          </p:stCondLst>
                                        </p:cTn>
                                        <p:tgtEl>
                                          <p:spTgt spid="8"/>
                                        </p:tgtEl>
                                        <p:attrNameLst>
                                          <p:attrName>style.visibility</p:attrName>
                                        </p:attrNameLst>
                                      </p:cBhvr>
                                      <p:to>
                                        <p:strVal val="visible"/>
                                      </p:to>
                                    </p:set>
                                    <p:anim calcmode="lin" valueType="num">
                                      <p:cBhvr>
                                        <p:cTn id="52" dur="10" fill="hold"/>
                                        <p:tgtEl>
                                          <p:spTgt spid="8"/>
                                        </p:tgtEl>
                                        <p:attrNameLst>
                                          <p:attrName>ppt_w</p:attrName>
                                        </p:attrNameLst>
                                      </p:cBhvr>
                                      <p:tavLst>
                                        <p:tav tm="0">
                                          <p:val>
                                            <p:fltVal val="0"/>
                                          </p:val>
                                        </p:tav>
                                        <p:tav tm="100000">
                                          <p:val>
                                            <p:strVal val="#ppt_w"/>
                                          </p:val>
                                        </p:tav>
                                      </p:tavLst>
                                    </p:anim>
                                    <p:anim calcmode="lin" valueType="num">
                                      <p:cBhvr>
                                        <p:cTn id="53" dur="10" fill="hold"/>
                                        <p:tgtEl>
                                          <p:spTgt spid="8"/>
                                        </p:tgtEl>
                                        <p:attrNameLst>
                                          <p:attrName>ppt_h</p:attrName>
                                        </p:attrNameLst>
                                      </p:cBhvr>
                                      <p:tavLst>
                                        <p:tav tm="0">
                                          <p:val>
                                            <p:fltVal val="0"/>
                                          </p:val>
                                        </p:tav>
                                        <p:tav tm="100000">
                                          <p:val>
                                            <p:strVal val="#ppt_h"/>
                                          </p:val>
                                        </p:tav>
                                      </p:tavLst>
                                    </p:anim>
                                    <p:anim calcmode="lin" valueType="num">
                                      <p:cBhvr>
                                        <p:cTn id="54" dur="10" fill="hold"/>
                                        <p:tgtEl>
                                          <p:spTgt spid="8"/>
                                        </p:tgtEl>
                                        <p:attrNameLst>
                                          <p:attrName>style.rotation</p:attrName>
                                        </p:attrNameLst>
                                      </p:cBhvr>
                                      <p:tavLst>
                                        <p:tav tm="0">
                                          <p:val>
                                            <p:fltVal val="90"/>
                                          </p:val>
                                        </p:tav>
                                        <p:tav tm="100000">
                                          <p:val>
                                            <p:fltVal val="0"/>
                                          </p:val>
                                        </p:tav>
                                      </p:tavLst>
                                    </p:anim>
                                    <p:animEffect transition="in" filter="fade">
                                      <p:cBhvr>
                                        <p:cTn id="55" dur="10"/>
                                        <p:tgtEl>
                                          <p:spTgt spid="8"/>
                                        </p:tgtEl>
                                      </p:cBhvr>
                                    </p:animEffect>
                                  </p:childTnLst>
                                </p:cTn>
                              </p:par>
                            </p:childTnLst>
                          </p:cTn>
                        </p:par>
                        <p:par>
                          <p:cTn id="56" fill="hold">
                            <p:stCondLst>
                              <p:cond delay="5000"/>
                            </p:stCondLst>
                            <p:childTnLst>
                              <p:par>
                                <p:cTn id="57" presetID="22" presetClass="entr" presetSubtype="8" fill="hold" grpId="0" nodeType="after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left)">
                                      <p:cBhvr>
                                        <p:cTn id="59" dur="10"/>
                                        <p:tgtEl>
                                          <p:spTgt spid="15"/>
                                        </p:tgtEl>
                                      </p:cBhvr>
                                    </p:animEffect>
                                  </p:childTnLst>
                                </p:cTn>
                              </p:par>
                            </p:childTnLst>
                          </p:cTn>
                        </p:par>
                        <p:par>
                          <p:cTn id="60" fill="hold">
                            <p:stCondLst>
                              <p:cond delay="5500"/>
                            </p:stCondLst>
                            <p:childTnLst>
                              <p:par>
                                <p:cTn id="61" presetID="22" presetClass="entr" presetSubtype="1" fill="hold" grpId="0" nodeType="afterEffect">
                                  <p:stCondLst>
                                    <p:cond delay="250"/>
                                  </p:stCondLst>
                                  <p:childTnLst>
                                    <p:set>
                                      <p:cBhvr>
                                        <p:cTn id="62" dur="1" fill="hold">
                                          <p:stCondLst>
                                            <p:cond delay="0"/>
                                          </p:stCondLst>
                                        </p:cTn>
                                        <p:tgtEl>
                                          <p:spTgt spid="16"/>
                                        </p:tgtEl>
                                        <p:attrNameLst>
                                          <p:attrName>style.visibility</p:attrName>
                                        </p:attrNameLst>
                                      </p:cBhvr>
                                      <p:to>
                                        <p:strVal val="visible"/>
                                      </p:to>
                                    </p:set>
                                    <p:animEffect transition="in" filter="wipe(up)">
                                      <p:cBhvr>
                                        <p:cTn id="63" dur="10"/>
                                        <p:tgtEl>
                                          <p:spTgt spid="16"/>
                                        </p:tgtEl>
                                      </p:cBhvr>
                                    </p:animEffect>
                                  </p:childTnLst>
                                </p:cTn>
                              </p:par>
                            </p:childTnLst>
                          </p:cTn>
                        </p:par>
                        <p:par>
                          <p:cTn id="64" fill="hold">
                            <p:stCondLst>
                              <p:cond delay="6250"/>
                            </p:stCondLst>
                            <p:childTnLst>
                              <p:par>
                                <p:cTn id="65" presetID="2" presetClass="entr" presetSubtype="12" fill="hold" nodeType="after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p:cTn id="67" dur="10" fill="hold"/>
                                        <p:tgtEl>
                                          <p:spTgt spid="18"/>
                                        </p:tgtEl>
                                        <p:attrNameLst>
                                          <p:attrName>ppt_x</p:attrName>
                                        </p:attrNameLst>
                                      </p:cBhvr>
                                      <p:tavLst>
                                        <p:tav tm="0">
                                          <p:val>
                                            <p:strVal val="0-#ppt_w/2"/>
                                          </p:val>
                                        </p:tav>
                                        <p:tav tm="100000">
                                          <p:val>
                                            <p:strVal val="#ppt_x"/>
                                          </p:val>
                                        </p:tav>
                                      </p:tavLst>
                                    </p:anim>
                                    <p:anim calcmode="lin" valueType="num">
                                      <p:cBhvr>
                                        <p:cTn id="68" dur="10" fill="hold"/>
                                        <p:tgtEl>
                                          <p:spTgt spid="18"/>
                                        </p:tgtEl>
                                        <p:attrNameLst>
                                          <p:attrName>ppt_y</p:attrName>
                                        </p:attrNameLst>
                                      </p:cBhvr>
                                      <p:tavLst>
                                        <p:tav tm="0">
                                          <p:val>
                                            <p:strVal val="1+#ppt_h/2"/>
                                          </p:val>
                                        </p:tav>
                                        <p:tav tm="100000">
                                          <p:val>
                                            <p:strVal val="#ppt_y"/>
                                          </p:val>
                                        </p:tav>
                                      </p:tavLst>
                                    </p:anim>
                                  </p:childTnLst>
                                </p:cTn>
                              </p:par>
                            </p:childTnLst>
                          </p:cTn>
                        </p:par>
                        <p:par>
                          <p:cTn id="69" fill="hold">
                            <p:stCondLst>
                              <p:cond delay="6750"/>
                            </p:stCondLst>
                            <p:childTnLst>
                              <p:par>
                                <p:cTn id="70" presetID="2" presetClass="entr" presetSubtype="12" fill="hold" nodeType="afterEffect">
                                  <p:stCondLst>
                                    <p:cond delay="0"/>
                                  </p:stCondLst>
                                  <p:childTnLst>
                                    <p:set>
                                      <p:cBhvr>
                                        <p:cTn id="71" dur="1" fill="hold">
                                          <p:stCondLst>
                                            <p:cond delay="0"/>
                                          </p:stCondLst>
                                        </p:cTn>
                                        <p:tgtEl>
                                          <p:spTgt spid="19"/>
                                        </p:tgtEl>
                                        <p:attrNameLst>
                                          <p:attrName>style.visibility</p:attrName>
                                        </p:attrNameLst>
                                      </p:cBhvr>
                                      <p:to>
                                        <p:strVal val="visible"/>
                                      </p:to>
                                    </p:set>
                                    <p:anim calcmode="lin" valueType="num">
                                      <p:cBhvr>
                                        <p:cTn id="72" dur="10" fill="hold"/>
                                        <p:tgtEl>
                                          <p:spTgt spid="19"/>
                                        </p:tgtEl>
                                        <p:attrNameLst>
                                          <p:attrName>ppt_x</p:attrName>
                                        </p:attrNameLst>
                                      </p:cBhvr>
                                      <p:tavLst>
                                        <p:tav tm="0">
                                          <p:val>
                                            <p:strVal val="0-#ppt_w/2"/>
                                          </p:val>
                                        </p:tav>
                                        <p:tav tm="100000">
                                          <p:val>
                                            <p:strVal val="#ppt_x"/>
                                          </p:val>
                                        </p:tav>
                                      </p:tavLst>
                                    </p:anim>
                                    <p:anim calcmode="lin" valueType="num">
                                      <p:cBhvr>
                                        <p:cTn id="73" dur="10" fill="hold"/>
                                        <p:tgtEl>
                                          <p:spTgt spid="19"/>
                                        </p:tgtEl>
                                        <p:attrNameLst>
                                          <p:attrName>ppt_y</p:attrName>
                                        </p:attrNameLst>
                                      </p:cBhvr>
                                      <p:tavLst>
                                        <p:tav tm="0">
                                          <p:val>
                                            <p:strVal val="1+#ppt_h/2"/>
                                          </p:val>
                                        </p:tav>
                                        <p:tav tm="100000">
                                          <p:val>
                                            <p:strVal val="#ppt_y"/>
                                          </p:val>
                                        </p:tav>
                                      </p:tavLst>
                                    </p:anim>
                                  </p:childTnLst>
                                </p:cTn>
                              </p:par>
                            </p:childTnLst>
                          </p:cTn>
                        </p:par>
                        <p:par>
                          <p:cTn id="74" fill="hold">
                            <p:stCondLst>
                              <p:cond delay="7250"/>
                            </p:stCondLst>
                            <p:childTnLst>
                              <p:par>
                                <p:cTn id="75" presetID="2" presetClass="entr" presetSubtype="12" fill="hold" nodeType="afterEffect">
                                  <p:stCondLst>
                                    <p:cond delay="0"/>
                                  </p:stCondLst>
                                  <p:childTnLst>
                                    <p:set>
                                      <p:cBhvr>
                                        <p:cTn id="76" dur="1" fill="hold">
                                          <p:stCondLst>
                                            <p:cond delay="0"/>
                                          </p:stCondLst>
                                        </p:cTn>
                                        <p:tgtEl>
                                          <p:spTgt spid="17"/>
                                        </p:tgtEl>
                                        <p:attrNameLst>
                                          <p:attrName>style.visibility</p:attrName>
                                        </p:attrNameLst>
                                      </p:cBhvr>
                                      <p:to>
                                        <p:strVal val="visible"/>
                                      </p:to>
                                    </p:set>
                                    <p:anim calcmode="lin" valueType="num">
                                      <p:cBhvr>
                                        <p:cTn id="77" dur="10" fill="hold"/>
                                        <p:tgtEl>
                                          <p:spTgt spid="17"/>
                                        </p:tgtEl>
                                        <p:attrNameLst>
                                          <p:attrName>ppt_x</p:attrName>
                                        </p:attrNameLst>
                                      </p:cBhvr>
                                      <p:tavLst>
                                        <p:tav tm="0">
                                          <p:val>
                                            <p:strVal val="0-#ppt_w/2"/>
                                          </p:val>
                                        </p:tav>
                                        <p:tav tm="100000">
                                          <p:val>
                                            <p:strVal val="#ppt_x"/>
                                          </p:val>
                                        </p:tav>
                                      </p:tavLst>
                                    </p:anim>
                                    <p:anim calcmode="lin" valueType="num">
                                      <p:cBhvr>
                                        <p:cTn id="78" dur="1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utoUpdateAnimBg="0"/>
      <p:bldP spid="7" grpId="0" animBg="1"/>
      <p:bldP spid="8" grpId="0" autoUpdateAnimBg="0"/>
      <p:bldP spid="9" grpId="0" animBg="1"/>
      <p:bldP spid="10" grpId="0" autoUpdateAnimBg="0"/>
      <p:bldP spid="11" grpId="0" autoUpdateAnimBg="0"/>
      <p:bldP spid="12" grpId="0" autoUpdateAnimBg="0"/>
      <p:bldP spid="13" grpId="0" autoUpdateAnimBg="0"/>
      <p:bldP spid="14" grpId="0" autoUpdateAnimBg="0"/>
      <p:bldP spid="15" grpId="0" autoUpdateAnimBg="0"/>
      <p:bldP spid="16" grpId="0"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我们注重</a:t>
            </a:r>
            <a:endParaRPr lang="zh-CN" altLang="en-US" dirty="0"/>
          </a:p>
        </p:txBody>
      </p:sp>
      <p:pic>
        <p:nvPicPr>
          <p:cNvPr id="28" name="Picture 1"/>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786877" y="1339837"/>
            <a:ext cx="3263570" cy="2016000"/>
          </a:xfrm>
          <a:prstGeom prst="rect">
            <a:avLst/>
          </a:prstGeom>
          <a:noFill/>
        </p:spPr>
      </p:pic>
      <p:pic>
        <p:nvPicPr>
          <p:cNvPr id="29"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383552" y="1339838"/>
            <a:ext cx="3240000" cy="2016000"/>
          </a:xfrm>
          <a:prstGeom prst="rect">
            <a:avLst/>
          </a:prstGeom>
          <a:noFill/>
        </p:spPr>
      </p:pic>
      <p:sp>
        <p:nvSpPr>
          <p:cNvPr id="30" name="矩形 12"/>
          <p:cNvSpPr>
            <a:spLocks noChangeArrowheads="1"/>
          </p:cNvSpPr>
          <p:nvPr/>
        </p:nvSpPr>
        <p:spPr bwMode="auto">
          <a:xfrm>
            <a:off x="789857" y="3429000"/>
            <a:ext cx="3257610" cy="432000"/>
          </a:xfrm>
          <a:prstGeom prst="rect">
            <a:avLst/>
          </a:prstGeom>
          <a:solidFill>
            <a:schemeClr val="accent4">
              <a:lumMod val="75000"/>
            </a:schemeClr>
          </a:solidFill>
          <a:ln w="25400">
            <a:no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31" name="TextBox 13"/>
          <p:cNvSpPr>
            <a:spLocks noChangeArrowheads="1"/>
          </p:cNvSpPr>
          <p:nvPr/>
        </p:nvSpPr>
        <p:spPr bwMode="auto">
          <a:xfrm>
            <a:off x="1603433" y="3441969"/>
            <a:ext cx="1521570" cy="369332"/>
          </a:xfrm>
          <a:prstGeom prst="rect">
            <a:avLst/>
          </a:prstGeom>
          <a:noFill/>
          <a:ln w="9525">
            <a:noFill/>
            <a:miter lim="800000"/>
          </a:ln>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rPr>
              <a:t>银  企  合  作</a:t>
            </a:r>
            <a:endParaRPr lang="zh-CN" altLang="en-US"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32" name="TextBox 14"/>
          <p:cNvSpPr>
            <a:spLocks noChangeArrowheads="1"/>
          </p:cNvSpPr>
          <p:nvPr/>
        </p:nvSpPr>
        <p:spPr bwMode="auto">
          <a:xfrm>
            <a:off x="669924" y="4298332"/>
            <a:ext cx="3374562" cy="1670073"/>
          </a:xfrm>
          <a:prstGeom prst="rect">
            <a:avLst/>
          </a:prstGeom>
          <a:noFill/>
          <a:ln w="9525">
            <a:noFill/>
            <a:miter lim="800000"/>
          </a:ln>
        </p:spPr>
        <p:txBody>
          <a:bodyPr wrap="square">
            <a:spAutoFit/>
          </a:bodyPr>
          <a:lstStyle/>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以专业、便捷、可信赖的金融服务成为企业的成长伙伴</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协助企业优化业务流程、降低业务成本、提高资金收益、加强风险控制、提升客户价值</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p:txBody>
      </p:sp>
      <p:sp>
        <p:nvSpPr>
          <p:cNvPr id="33" name="矩形 16"/>
          <p:cNvSpPr>
            <a:spLocks noChangeArrowheads="1"/>
          </p:cNvSpPr>
          <p:nvPr/>
        </p:nvSpPr>
        <p:spPr bwMode="auto">
          <a:xfrm>
            <a:off x="4675552" y="3429000"/>
            <a:ext cx="3257610" cy="432000"/>
          </a:xfrm>
          <a:prstGeom prst="rect">
            <a:avLst/>
          </a:prstGeom>
          <a:solidFill>
            <a:schemeClr val="tx2">
              <a:lumMod val="75000"/>
            </a:schemeClr>
          </a:solidFill>
          <a:ln w="25400">
            <a:noFill/>
            <a:bevel/>
          </a:ln>
        </p:spPr>
        <p:txBody>
          <a:bodyPr anchor="ctr"/>
          <a:lstStyle/>
          <a:p>
            <a:pPr algn="ctr"/>
            <a:endParaRPr lang="zh-CN" altLang="zh-CN" sz="1400">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34" name="TextBox 18"/>
          <p:cNvSpPr>
            <a:spLocks noChangeArrowheads="1"/>
          </p:cNvSpPr>
          <p:nvPr/>
        </p:nvSpPr>
        <p:spPr bwMode="auto">
          <a:xfrm>
            <a:off x="4558600" y="4298332"/>
            <a:ext cx="3374562" cy="1346907"/>
          </a:xfrm>
          <a:prstGeom prst="rect">
            <a:avLst/>
          </a:prstGeom>
          <a:noFill/>
          <a:ln w="9525">
            <a:noFill/>
            <a:miter lim="800000"/>
          </a:ln>
        </p:spPr>
        <p:txBody>
          <a:bodyPr wrap="square">
            <a:spAutoFit/>
          </a:bodyPr>
          <a:lstStyle/>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与商（协）会合作，支持行业协会企业批量推荐与业务互动</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为商（协）会企业提供融资、结算、网银、自助银行、账户管理等金融服务</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p:txBody>
      </p:sp>
      <p:sp>
        <p:nvSpPr>
          <p:cNvPr id="35" name="矩形 20"/>
          <p:cNvSpPr>
            <a:spLocks noChangeArrowheads="1"/>
          </p:cNvSpPr>
          <p:nvPr/>
        </p:nvSpPr>
        <p:spPr bwMode="auto">
          <a:xfrm>
            <a:off x="8383552" y="3429000"/>
            <a:ext cx="3257610" cy="432000"/>
          </a:xfrm>
          <a:prstGeom prst="rect">
            <a:avLst/>
          </a:prstGeom>
          <a:solidFill>
            <a:srgbClr val="F55959"/>
          </a:solidFill>
          <a:ln w="25400">
            <a:noFill/>
            <a:bevel/>
          </a:ln>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36" name="TextBox 13"/>
          <p:cNvSpPr>
            <a:spLocks noChangeArrowheads="1"/>
          </p:cNvSpPr>
          <p:nvPr/>
        </p:nvSpPr>
        <p:spPr bwMode="auto">
          <a:xfrm>
            <a:off x="5618913" y="3475723"/>
            <a:ext cx="1521570" cy="369332"/>
          </a:xfrm>
          <a:prstGeom prst="rect">
            <a:avLst/>
          </a:prstGeom>
          <a:noFill/>
          <a:ln w="9525">
            <a:noFill/>
            <a:miter lim="800000"/>
          </a:ln>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rPr>
              <a:t>银  协  合  作</a:t>
            </a:r>
            <a:endParaRPr lang="zh-CN" altLang="en-US"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37" name="TextBox 13"/>
          <p:cNvSpPr>
            <a:spLocks noChangeArrowheads="1"/>
          </p:cNvSpPr>
          <p:nvPr/>
        </p:nvSpPr>
        <p:spPr bwMode="auto">
          <a:xfrm>
            <a:off x="9207252" y="3460334"/>
            <a:ext cx="1521570" cy="369332"/>
          </a:xfrm>
          <a:prstGeom prst="rect">
            <a:avLst/>
          </a:prstGeom>
          <a:noFill/>
          <a:ln w="9525">
            <a:noFill/>
            <a:miter lim="800000"/>
          </a:ln>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rPr>
              <a:t>银  政  合  作</a:t>
            </a:r>
            <a:endParaRPr lang="zh-CN" altLang="en-US"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pic>
        <p:nvPicPr>
          <p:cNvPr id="3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675553" y="1339838"/>
            <a:ext cx="3257609" cy="2016000"/>
          </a:xfrm>
          <a:prstGeom prst="rect">
            <a:avLst/>
          </a:prstGeom>
          <a:noFill/>
        </p:spPr>
      </p:pic>
      <p:sp>
        <p:nvSpPr>
          <p:cNvPr id="39" name="TextBox 18"/>
          <p:cNvSpPr>
            <a:spLocks noChangeArrowheads="1"/>
          </p:cNvSpPr>
          <p:nvPr/>
        </p:nvSpPr>
        <p:spPr bwMode="auto">
          <a:xfrm>
            <a:off x="8383553" y="4298332"/>
            <a:ext cx="3257609" cy="1993238"/>
          </a:xfrm>
          <a:prstGeom prst="rect">
            <a:avLst/>
          </a:prstGeom>
          <a:noFill/>
          <a:ln w="9525">
            <a:noFill/>
            <a:miter lim="800000"/>
          </a:ln>
        </p:spPr>
        <p:txBody>
          <a:bodyPr wrap="square">
            <a:spAutoFit/>
          </a:bodyPr>
          <a:lstStyle/>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争取政府贴息、财政补贴、风险池基金等财政扶持政策</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为企业梳理并推送各项扶持政策，有效增信担保</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a:p>
            <a:pPr>
              <a:lnSpc>
                <a:spcPct val="150000"/>
              </a:lnSpc>
              <a:buFont typeface="Wingdings" panose="05000000000000000000" pitchFamily="2" charset="2"/>
              <a:buChar char="ü"/>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rPr>
              <a:t>与相关部门一同推进服务平台的搭建与推广</a:t>
            </a:r>
            <a:endPar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sym typeface="Calibri" panose="020F050202020403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blinds(horizontal)">
                                      <p:cBhvr>
                                        <p:cTn id="11" dur="500"/>
                                        <p:tgtEl>
                                          <p:spTgt spid="38"/>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blinds(horizontal)">
                                      <p:cBhvr>
                                        <p:cTn id="15" dur="500"/>
                                        <p:tgtEl>
                                          <p:spTgt spid="29"/>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p:cBhvr>
                                        <p:cTn id="19" dur="500"/>
                                        <p:tgtEl>
                                          <p:spTgt spid="30"/>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p:cBhvr>
                                        <p:cTn id="22" dur="500"/>
                                        <p:tgtEl>
                                          <p:spTgt spid="32"/>
                                        </p:tgtEl>
                                      </p:cBhvr>
                                    </p:animEffect>
                                  </p:childTnLst>
                                </p:cTn>
                              </p:par>
                            </p:childTnLst>
                          </p:cTn>
                        </p:par>
                        <p:par>
                          <p:cTn id="23" fill="hold">
                            <p:stCondLst>
                              <p:cond delay="2000"/>
                            </p:stCondLst>
                            <p:childTnLst>
                              <p:par>
                                <p:cTn id="24" presetID="16" presetClass="entr" presetSubtype="37" fill="hold" grpId="0" nodeType="afterEffect">
                                  <p:stCondLst>
                                    <p:cond delay="0"/>
                                  </p:stCondLst>
                                  <p:childTnLst>
                                    <p:set>
                                      <p:cBhvr>
                                        <p:cTn id="25" dur="1" fill="hold">
                                          <p:stCondLst>
                                            <p:cond delay="0"/>
                                          </p:stCondLst>
                                        </p:cTn>
                                        <p:tgtEl>
                                          <p:spTgt spid="33"/>
                                        </p:tgtEl>
                                        <p:attrNameLst>
                                          <p:attrName>style.visibility</p:attrName>
                                        </p:attrNameLst>
                                      </p:cBhvr>
                                      <p:to>
                                        <p:strVal val="visible"/>
                                      </p:to>
                                    </p:set>
                                    <p:animEffect>
                                      <p:cBhvr>
                                        <p:cTn id="26" dur="500"/>
                                        <p:tgtEl>
                                          <p:spTgt spid="33"/>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animEffect>
                                      <p:cBhvr>
                                        <p:cTn id="29" dur="500"/>
                                        <p:tgtEl>
                                          <p:spTgt spid="34"/>
                                        </p:tgtEl>
                                      </p:cBhvr>
                                    </p:animEffect>
                                  </p:childTnLst>
                                </p:cTn>
                              </p:par>
                            </p:childTnLst>
                          </p:cTn>
                        </p:par>
                        <p:par>
                          <p:cTn id="30" fill="hold">
                            <p:stCondLst>
                              <p:cond delay="2500"/>
                            </p:stCondLst>
                            <p:childTnLst>
                              <p:par>
                                <p:cTn id="31" presetID="16" presetClass="entr" presetSubtype="37" fill="hold" grpId="0"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p:cBhvr>
                                        <p:cTn id="33" dur="500"/>
                                        <p:tgtEl>
                                          <p:spTgt spid="35"/>
                                        </p:tgtEl>
                                      </p:cBhvr>
                                    </p:animEffect>
                                  </p:childTnLst>
                                </p:cTn>
                              </p:par>
                              <p:par>
                                <p:cTn id="34" presetID="22" presetClass="entr" presetSubtype="1" fill="hold" grpId="0" nodeType="withEffect">
                                  <p:stCondLst>
                                    <p:cond delay="0"/>
                                  </p:stCondLst>
                                  <p:childTnLst>
                                    <p:set>
                                      <p:cBhvr>
                                        <p:cTn id="35" dur="1" fill="hold">
                                          <p:stCondLst>
                                            <p:cond delay="0"/>
                                          </p:stCondLst>
                                        </p:cTn>
                                        <p:tgtEl>
                                          <p:spTgt spid="39"/>
                                        </p:tgtEl>
                                        <p:attrNameLst>
                                          <p:attrName>style.visibility</p:attrName>
                                        </p:attrNameLst>
                                      </p:cBhvr>
                                      <p:to>
                                        <p:strVal val="visible"/>
                                      </p:to>
                                    </p:set>
                                    <p:animEffect>
                                      <p:cBhvr>
                                        <p:cTn id="3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ldLvl="0" animBg="1" autoUpdateAnimBg="0"/>
      <p:bldP spid="32" grpId="0" bldLvl="0" autoUpdateAnimBg="0"/>
      <p:bldP spid="33" grpId="0" bldLvl="0" animBg="1" autoUpdateAnimBg="0"/>
      <p:bldP spid="34" grpId="0" bldLvl="0" autoUpdateAnimBg="0"/>
      <p:bldP spid="35" grpId="0" bldLvl="0" animBg="1" autoUpdateAnimBg="0"/>
      <p:bldP spid="39" grpId="0" bldLvl="0"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88"/>
          <p:cNvGrpSpPr/>
          <p:nvPr/>
        </p:nvGrpSpPr>
        <p:grpSpPr bwMode="auto">
          <a:xfrm>
            <a:off x="4371847" y="928207"/>
            <a:ext cx="2398613" cy="2016000"/>
            <a:chOff x="337136" y="738637"/>
            <a:chExt cx="1167601" cy="1190456"/>
          </a:xfrm>
        </p:grpSpPr>
        <p:sp>
          <p:nvSpPr>
            <p:cNvPr id="12" name="Rektangel 40"/>
            <p:cNvSpPr>
              <a:spLocks noChangeArrowheads="1"/>
            </p:cNvSpPr>
            <p:nvPr/>
          </p:nvSpPr>
          <p:spPr bwMode="auto">
            <a:xfrm rot="13609">
              <a:off x="337136" y="738637"/>
              <a:ext cx="1167601" cy="1190456"/>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13" name="Billede 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bwMode="auto">
            <a:xfrm>
              <a:off x="415431" y="853578"/>
              <a:ext cx="1011011" cy="891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210"/>
          <p:cNvGrpSpPr/>
          <p:nvPr/>
        </p:nvGrpSpPr>
        <p:grpSpPr bwMode="auto">
          <a:xfrm>
            <a:off x="3503158" y="1220674"/>
            <a:ext cx="2449607" cy="2103276"/>
            <a:chOff x="4233305" y="-55318"/>
            <a:chExt cx="1352845" cy="1304065"/>
          </a:xfrm>
        </p:grpSpPr>
        <p:sp>
          <p:nvSpPr>
            <p:cNvPr id="18" name="Rektangel 40"/>
            <p:cNvSpPr>
              <a:spLocks noChangeArrowheads="1"/>
            </p:cNvSpPr>
            <p:nvPr/>
          </p:nvSpPr>
          <p:spPr bwMode="auto">
            <a:xfrm rot="48499">
              <a:off x="4233305" y="-55318"/>
              <a:ext cx="1352845" cy="1304065"/>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19" name="Billed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4325243" y="95958"/>
              <a:ext cx="1183518" cy="89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 name="Group 188"/>
          <p:cNvGrpSpPr/>
          <p:nvPr/>
        </p:nvGrpSpPr>
        <p:grpSpPr bwMode="auto">
          <a:xfrm rot="21057086">
            <a:off x="2731968" y="1769334"/>
            <a:ext cx="2552249" cy="1978605"/>
            <a:chOff x="148005" y="1094315"/>
            <a:chExt cx="2465165" cy="2465051"/>
          </a:xfrm>
        </p:grpSpPr>
        <p:sp>
          <p:nvSpPr>
            <p:cNvPr id="24" name="Rektangel 40"/>
            <p:cNvSpPr>
              <a:spLocks noChangeArrowheads="1"/>
            </p:cNvSpPr>
            <p:nvPr/>
          </p:nvSpPr>
          <p:spPr bwMode="auto">
            <a:xfrm rot="556523">
              <a:off x="148005" y="1094315"/>
              <a:ext cx="2465165" cy="2465051"/>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25" name="Billed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rot="567297">
              <a:off x="345757" y="1334599"/>
              <a:ext cx="2088348" cy="1855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6" name="Group 187"/>
          <p:cNvGrpSpPr/>
          <p:nvPr/>
        </p:nvGrpSpPr>
        <p:grpSpPr bwMode="auto">
          <a:xfrm rot="424065">
            <a:off x="2258051" y="2272668"/>
            <a:ext cx="2624301" cy="1851323"/>
            <a:chOff x="498608" y="2198345"/>
            <a:chExt cx="2465201" cy="2465083"/>
          </a:xfrm>
        </p:grpSpPr>
        <p:sp>
          <p:nvSpPr>
            <p:cNvPr id="27" name="Rektangel 40"/>
            <p:cNvSpPr>
              <a:spLocks noChangeArrowheads="1"/>
            </p:cNvSpPr>
            <p:nvPr/>
          </p:nvSpPr>
          <p:spPr bwMode="auto">
            <a:xfrm rot="21269425">
              <a:off x="498608" y="2198345"/>
              <a:ext cx="2465201" cy="2465083"/>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28" name="Billed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rot="21239730">
              <a:off x="613841" y="2392013"/>
              <a:ext cx="2131116" cy="1904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03"/>
          <p:cNvGrpSpPr/>
          <p:nvPr/>
        </p:nvGrpSpPr>
        <p:grpSpPr bwMode="auto">
          <a:xfrm rot="397794">
            <a:off x="1640243" y="2794896"/>
            <a:ext cx="2740247" cy="1927873"/>
            <a:chOff x="-3600932" y="1014240"/>
            <a:chExt cx="2733284" cy="2733162"/>
          </a:xfrm>
        </p:grpSpPr>
        <p:sp>
          <p:nvSpPr>
            <p:cNvPr id="30" name="Rektangel 40"/>
            <p:cNvSpPr>
              <a:spLocks noChangeArrowheads="1"/>
            </p:cNvSpPr>
            <p:nvPr/>
          </p:nvSpPr>
          <p:spPr bwMode="auto">
            <a:xfrm rot="21269425">
              <a:off x="-3600932" y="1014240"/>
              <a:ext cx="2733284" cy="2733162"/>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31" name="Billed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auto">
            <a:xfrm rot="21278273">
              <a:off x="-3430992" y="1307398"/>
              <a:ext cx="2342912" cy="2220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 name="Group 194"/>
          <p:cNvGrpSpPr/>
          <p:nvPr/>
        </p:nvGrpSpPr>
        <p:grpSpPr bwMode="auto">
          <a:xfrm>
            <a:off x="815414" y="3429001"/>
            <a:ext cx="2886612" cy="2253951"/>
            <a:chOff x="381166" y="707951"/>
            <a:chExt cx="1168087" cy="1168032"/>
          </a:xfrm>
        </p:grpSpPr>
        <p:sp>
          <p:nvSpPr>
            <p:cNvPr id="33" name="Rektangel 40"/>
            <p:cNvSpPr>
              <a:spLocks noChangeArrowheads="1"/>
            </p:cNvSpPr>
            <p:nvPr/>
          </p:nvSpPr>
          <p:spPr bwMode="auto">
            <a:xfrm rot="13609">
              <a:off x="381166" y="707951"/>
              <a:ext cx="1168087" cy="1168032"/>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34" name="Billed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410212" y="820062"/>
              <a:ext cx="1058792" cy="910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 name="Group 204"/>
          <p:cNvGrpSpPr/>
          <p:nvPr/>
        </p:nvGrpSpPr>
        <p:grpSpPr bwMode="auto">
          <a:xfrm rot="21091976">
            <a:off x="320590" y="4313162"/>
            <a:ext cx="3032124" cy="2328081"/>
            <a:chOff x="-3913091" y="-304363"/>
            <a:chExt cx="2725377" cy="2730628"/>
          </a:xfrm>
        </p:grpSpPr>
        <p:sp>
          <p:nvSpPr>
            <p:cNvPr id="36" name="Rektangel 40"/>
            <p:cNvSpPr>
              <a:spLocks noChangeArrowheads="1"/>
            </p:cNvSpPr>
            <p:nvPr/>
          </p:nvSpPr>
          <p:spPr bwMode="auto">
            <a:xfrm rot="556523">
              <a:off x="-3913091" y="-304363"/>
              <a:ext cx="2725377" cy="2730628"/>
            </a:xfrm>
            <a:prstGeom prst="rect">
              <a:avLst/>
            </a:prstGeom>
            <a:solidFill>
              <a:srgbClr val="FFFFFF">
                <a:lumMod val="95000"/>
              </a:srgbClr>
            </a:solidFill>
            <a:ln w="25400">
              <a:noFill/>
              <a:miter lim="800000"/>
            </a:ln>
            <a:effectLst>
              <a:outerShdw blurRad="63500" dist="38100" dir="2700000" algn="tl" rotWithShape="0">
                <a:srgbClr val="D7D8D9">
                  <a:lumMod val="50000"/>
                  <a:alpha val="39999"/>
                </a:srgbClr>
              </a:outerShdw>
            </a:effectLst>
          </p:spPr>
          <p:txBody>
            <a:bodyPr anchor="ctr"/>
            <a:lstStyle/>
            <a:p>
              <a:pPr indent="-457200" algn="ctr" defTabSz="1219200">
                <a:buFont typeface="Calibri" panose="020F0502020204030204" pitchFamily="34" charset="0"/>
                <a:buAutoNum type="arabicPeriod"/>
                <a:defRPr/>
              </a:pPr>
              <a:endParaRPr lang="zh-CN" altLang="zh-CN" sz="1600" kern="0" noProof="1">
                <a:solidFill>
                  <a:srgbClr val="FFFFFF"/>
                </a:solidFill>
                <a:latin typeface="微软雅黑" panose="020B0503020204020204" pitchFamily="34" charset="-122"/>
                <a:ea typeface="微软雅黑" panose="020B0503020204020204" pitchFamily="34" charset="-122"/>
              </a:endParaRPr>
            </a:p>
          </p:txBody>
        </p:sp>
        <p:pic>
          <p:nvPicPr>
            <p:cNvPr id="37" name="Billed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rot="585855">
              <a:off x="-3729781" y="67605"/>
              <a:ext cx="2332360" cy="2034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0" name="Group 181"/>
          <p:cNvGrpSpPr/>
          <p:nvPr/>
        </p:nvGrpSpPr>
        <p:grpSpPr bwMode="auto">
          <a:xfrm>
            <a:off x="3198045" y="1001217"/>
            <a:ext cx="8829880" cy="5856783"/>
            <a:chOff x="1727719" y="183114"/>
            <a:chExt cx="7787565" cy="5303286"/>
          </a:xfrm>
          <a:solidFill>
            <a:schemeClr val="accent2">
              <a:lumMod val="50000"/>
            </a:schemeClr>
          </a:solidFill>
        </p:grpSpPr>
        <p:sp>
          <p:nvSpPr>
            <p:cNvPr id="22" name="Freeform 4"/>
            <p:cNvSpPr/>
            <p:nvPr/>
          </p:nvSpPr>
          <p:spPr bwMode="auto">
            <a:xfrm>
              <a:off x="1786193" y="208000"/>
              <a:ext cx="7729091" cy="5278399"/>
            </a:xfrm>
            <a:custGeom>
              <a:avLst/>
              <a:gdLst>
                <a:gd name="T0" fmla="*/ 77907 w 7585674"/>
                <a:gd name="T1" fmla="*/ 5159209 h 5218028"/>
                <a:gd name="T2" fmla="*/ 130824 w 7585674"/>
                <a:gd name="T3" fmla="*/ 4841719 h 5218028"/>
                <a:gd name="T4" fmla="*/ 404226 w 7585674"/>
                <a:gd name="T5" fmla="*/ 4197920 h 5218028"/>
                <a:gd name="T6" fmla="*/ 792281 w 7585674"/>
                <a:gd name="T7" fmla="*/ 3598218 h 5218028"/>
                <a:gd name="T8" fmla="*/ 1206795 w 7585674"/>
                <a:gd name="T9" fmla="*/ 3077887 h 5218028"/>
                <a:gd name="T10" fmla="*/ 1691864 w 7585674"/>
                <a:gd name="T11" fmla="*/ 2575195 h 5218028"/>
                <a:gd name="T12" fmla="*/ 2229850 w 7585674"/>
                <a:gd name="T13" fmla="*/ 2160694 h 5218028"/>
                <a:gd name="T14" fmla="*/ 2794293 w 7585674"/>
                <a:gd name="T15" fmla="*/ 1781470 h 5218028"/>
                <a:gd name="T16" fmla="*/ 3314640 w 7585674"/>
                <a:gd name="T17" fmla="*/ 1481619 h 5218028"/>
                <a:gd name="T18" fmla="*/ 3843806 w 7585674"/>
                <a:gd name="T19" fmla="*/ 1208225 h 5218028"/>
                <a:gd name="T20" fmla="*/ 4540542 w 7585674"/>
                <a:gd name="T21" fmla="*/ 926012 h 5218028"/>
                <a:gd name="T22" fmla="*/ 5290195 w 7585674"/>
                <a:gd name="T23" fmla="*/ 643799 h 5218028"/>
                <a:gd name="T24" fmla="*/ 6286791 w 7585674"/>
                <a:gd name="T25" fmla="*/ 326309 h 5218028"/>
                <a:gd name="T26" fmla="*/ 7583248 w 7585674"/>
                <a:gd name="T27" fmla="*/ 0 h 5218028"/>
                <a:gd name="T28" fmla="*/ 7583248 w 7585674"/>
                <a:gd name="T29" fmla="*/ 79372 h 5218028"/>
                <a:gd name="T30" fmla="*/ 7574429 w 7585674"/>
                <a:gd name="T31" fmla="*/ 149926 h 5218028"/>
                <a:gd name="T32" fmla="*/ 7036443 w 7585674"/>
                <a:gd name="T33" fmla="*/ 335128 h 5218028"/>
                <a:gd name="T34" fmla="*/ 6410263 w 7585674"/>
                <a:gd name="T35" fmla="*/ 573245 h 5218028"/>
                <a:gd name="T36" fmla="*/ 5581235 w 7585674"/>
                <a:gd name="T37" fmla="*/ 952469 h 5218028"/>
                <a:gd name="T38" fmla="*/ 4787486 w 7585674"/>
                <a:gd name="T39" fmla="*/ 1446342 h 5218028"/>
                <a:gd name="T40" fmla="*/ 4240681 w 7585674"/>
                <a:gd name="T41" fmla="*/ 1904939 h 5218028"/>
                <a:gd name="T42" fmla="*/ 3817348 w 7585674"/>
                <a:gd name="T43" fmla="*/ 2407631 h 5218028"/>
                <a:gd name="T44" fmla="*/ 3561584 w 7585674"/>
                <a:gd name="T45" fmla="*/ 2901504 h 5218028"/>
                <a:gd name="T46" fmla="*/ 3429293 w 7585674"/>
                <a:gd name="T47" fmla="*/ 3439473 h 5218028"/>
                <a:gd name="T48" fmla="*/ 3411654 w 7585674"/>
                <a:gd name="T49" fmla="*/ 4056814 h 5218028"/>
                <a:gd name="T50" fmla="*/ 3491029 w 7585674"/>
                <a:gd name="T51" fmla="*/ 4612421 h 5218028"/>
                <a:gd name="T52" fmla="*/ 3658599 w 7585674"/>
                <a:gd name="T53" fmla="*/ 5168028 h 5218028"/>
                <a:gd name="T54" fmla="*/ 77907 w 7585674"/>
                <a:gd name="T55" fmla="*/ 5159209 h 52180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585674" h="5218028">
                  <a:moveTo>
                    <a:pt x="77911" y="5159209"/>
                  </a:moveTo>
                  <a:cubicBezTo>
                    <a:pt x="0" y="5218028"/>
                    <a:pt x="76441" y="5001934"/>
                    <a:pt x="130830" y="4841719"/>
                  </a:cubicBezTo>
                  <a:cubicBezTo>
                    <a:pt x="185219" y="4681504"/>
                    <a:pt x="293998" y="4405170"/>
                    <a:pt x="404246" y="4197920"/>
                  </a:cubicBezTo>
                  <a:cubicBezTo>
                    <a:pt x="514494" y="3990670"/>
                    <a:pt x="658552" y="3784890"/>
                    <a:pt x="792320" y="3598218"/>
                  </a:cubicBezTo>
                  <a:cubicBezTo>
                    <a:pt x="926088" y="3411546"/>
                    <a:pt x="1056916" y="3248391"/>
                    <a:pt x="1206854" y="3077887"/>
                  </a:cubicBezTo>
                  <a:cubicBezTo>
                    <a:pt x="1356792" y="2907383"/>
                    <a:pt x="1521430" y="2728061"/>
                    <a:pt x="1691947" y="2575195"/>
                  </a:cubicBezTo>
                  <a:cubicBezTo>
                    <a:pt x="1862465" y="2422330"/>
                    <a:pt x="2046212" y="2292982"/>
                    <a:pt x="2229959" y="2160694"/>
                  </a:cubicBezTo>
                  <a:cubicBezTo>
                    <a:pt x="2413706" y="2028407"/>
                    <a:pt x="2613623" y="1894649"/>
                    <a:pt x="2794430" y="1781470"/>
                  </a:cubicBezTo>
                  <a:cubicBezTo>
                    <a:pt x="2975237" y="1668291"/>
                    <a:pt x="3139876" y="1577160"/>
                    <a:pt x="3314803" y="1481619"/>
                  </a:cubicBezTo>
                  <a:cubicBezTo>
                    <a:pt x="3489730" y="1386078"/>
                    <a:pt x="3639668" y="1300826"/>
                    <a:pt x="3843995" y="1208225"/>
                  </a:cubicBezTo>
                  <a:cubicBezTo>
                    <a:pt x="4048322" y="1115624"/>
                    <a:pt x="4299689" y="1020083"/>
                    <a:pt x="4540765" y="926012"/>
                  </a:cubicBezTo>
                  <a:cubicBezTo>
                    <a:pt x="4781841" y="831941"/>
                    <a:pt x="4999398" y="743749"/>
                    <a:pt x="5290454" y="643799"/>
                  </a:cubicBezTo>
                  <a:cubicBezTo>
                    <a:pt x="5581510" y="543849"/>
                    <a:pt x="5904905" y="433609"/>
                    <a:pt x="6287099" y="326309"/>
                  </a:cubicBezTo>
                  <a:cubicBezTo>
                    <a:pt x="6669293" y="219009"/>
                    <a:pt x="7367533" y="41156"/>
                    <a:pt x="7583620" y="0"/>
                  </a:cubicBezTo>
                  <a:cubicBezTo>
                    <a:pt x="7581440" y="87873"/>
                    <a:pt x="7585090" y="54384"/>
                    <a:pt x="7583620" y="79372"/>
                  </a:cubicBezTo>
                  <a:cubicBezTo>
                    <a:pt x="7582150" y="104360"/>
                    <a:pt x="7585674" y="103067"/>
                    <a:pt x="7574800" y="149926"/>
                  </a:cubicBezTo>
                  <a:cubicBezTo>
                    <a:pt x="7483661" y="192552"/>
                    <a:pt x="7230825" y="264575"/>
                    <a:pt x="7036788" y="335128"/>
                  </a:cubicBezTo>
                  <a:cubicBezTo>
                    <a:pt x="6842751" y="405681"/>
                    <a:pt x="6653123" y="470355"/>
                    <a:pt x="6410577" y="573245"/>
                  </a:cubicBezTo>
                  <a:cubicBezTo>
                    <a:pt x="6168031" y="676135"/>
                    <a:pt x="5851985" y="806953"/>
                    <a:pt x="5581509" y="952469"/>
                  </a:cubicBezTo>
                  <a:cubicBezTo>
                    <a:pt x="5311033" y="1097985"/>
                    <a:pt x="5011158" y="1287597"/>
                    <a:pt x="4787721" y="1446342"/>
                  </a:cubicBezTo>
                  <a:cubicBezTo>
                    <a:pt x="4564284" y="1605087"/>
                    <a:pt x="4402587" y="1744724"/>
                    <a:pt x="4240889" y="1904939"/>
                  </a:cubicBezTo>
                  <a:cubicBezTo>
                    <a:pt x="4079191" y="2065154"/>
                    <a:pt x="3930723" y="2241537"/>
                    <a:pt x="3817535" y="2407631"/>
                  </a:cubicBezTo>
                  <a:cubicBezTo>
                    <a:pt x="3704347" y="2573725"/>
                    <a:pt x="3626438" y="2729531"/>
                    <a:pt x="3561759" y="2901504"/>
                  </a:cubicBezTo>
                  <a:cubicBezTo>
                    <a:pt x="3497080" y="3073477"/>
                    <a:pt x="3454451" y="3246921"/>
                    <a:pt x="3429461" y="3439473"/>
                  </a:cubicBezTo>
                  <a:cubicBezTo>
                    <a:pt x="3404471" y="3632025"/>
                    <a:pt x="3401531" y="3861323"/>
                    <a:pt x="3411821" y="4056814"/>
                  </a:cubicBezTo>
                  <a:cubicBezTo>
                    <a:pt x="3422111" y="4252305"/>
                    <a:pt x="3450041" y="4427219"/>
                    <a:pt x="3491200" y="4612421"/>
                  </a:cubicBezTo>
                  <a:cubicBezTo>
                    <a:pt x="3532359" y="4797623"/>
                    <a:pt x="3516503" y="4706002"/>
                    <a:pt x="3658778" y="5168028"/>
                  </a:cubicBezTo>
                  <a:lnTo>
                    <a:pt x="77911" y="5159209"/>
                  </a:lnTo>
                  <a:close/>
                </a:path>
              </a:pathLst>
            </a:custGeom>
            <a:solidFill>
              <a:schemeClr val="bg1">
                <a:lumMod val="75000"/>
              </a:schemeClr>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prstDash val="solid"/>
                  <a:round/>
                </a14:hiddenLine>
              </a:ext>
            </a:extLst>
          </p:spPr>
          <p:txBody>
            <a:bodyPr anchor="ctr"/>
            <a:lstStyle/>
            <a:p>
              <a:pPr defTabSz="1219200">
                <a:defRPr/>
              </a:pPr>
              <a:endParaRPr lang="zh-CN" altLang="en-US" sz="1600" kern="0">
                <a:solidFill>
                  <a:srgbClr val="111111"/>
                </a:solidFill>
                <a:latin typeface="微软雅黑" panose="020B0503020204020204" pitchFamily="34" charset="-122"/>
                <a:ea typeface="微软雅黑" panose="020B0503020204020204" pitchFamily="34" charset="-122"/>
              </a:endParaRPr>
            </a:p>
          </p:txBody>
        </p:sp>
        <p:sp>
          <p:nvSpPr>
            <p:cNvPr id="21" name="Freeform 174"/>
            <p:cNvSpPr/>
            <p:nvPr/>
          </p:nvSpPr>
          <p:spPr bwMode="auto">
            <a:xfrm>
              <a:off x="1727719" y="183114"/>
              <a:ext cx="7729091" cy="5303286"/>
            </a:xfrm>
            <a:custGeom>
              <a:avLst/>
              <a:gdLst>
                <a:gd name="T0" fmla="*/ 77907 w 7585674"/>
                <a:gd name="T1" fmla="*/ 5159209 h 5218028"/>
                <a:gd name="T2" fmla="*/ 130824 w 7585674"/>
                <a:gd name="T3" fmla="*/ 4841719 h 5218028"/>
                <a:gd name="T4" fmla="*/ 404226 w 7585674"/>
                <a:gd name="T5" fmla="*/ 4197920 h 5218028"/>
                <a:gd name="T6" fmla="*/ 792281 w 7585674"/>
                <a:gd name="T7" fmla="*/ 3598218 h 5218028"/>
                <a:gd name="T8" fmla="*/ 1206795 w 7585674"/>
                <a:gd name="T9" fmla="*/ 3077887 h 5218028"/>
                <a:gd name="T10" fmla="*/ 1691864 w 7585674"/>
                <a:gd name="T11" fmla="*/ 2575195 h 5218028"/>
                <a:gd name="T12" fmla="*/ 2229850 w 7585674"/>
                <a:gd name="T13" fmla="*/ 2160694 h 5218028"/>
                <a:gd name="T14" fmla="*/ 2794293 w 7585674"/>
                <a:gd name="T15" fmla="*/ 1781470 h 5218028"/>
                <a:gd name="T16" fmla="*/ 3314640 w 7585674"/>
                <a:gd name="T17" fmla="*/ 1481619 h 5218028"/>
                <a:gd name="T18" fmla="*/ 3843806 w 7585674"/>
                <a:gd name="T19" fmla="*/ 1208225 h 5218028"/>
                <a:gd name="T20" fmla="*/ 4540542 w 7585674"/>
                <a:gd name="T21" fmla="*/ 926012 h 5218028"/>
                <a:gd name="T22" fmla="*/ 5290195 w 7585674"/>
                <a:gd name="T23" fmla="*/ 643799 h 5218028"/>
                <a:gd name="T24" fmla="*/ 6286791 w 7585674"/>
                <a:gd name="T25" fmla="*/ 326309 h 5218028"/>
                <a:gd name="T26" fmla="*/ 7583248 w 7585674"/>
                <a:gd name="T27" fmla="*/ 0 h 5218028"/>
                <a:gd name="T28" fmla="*/ 7583248 w 7585674"/>
                <a:gd name="T29" fmla="*/ 79372 h 5218028"/>
                <a:gd name="T30" fmla="*/ 7574429 w 7585674"/>
                <a:gd name="T31" fmla="*/ 149926 h 5218028"/>
                <a:gd name="T32" fmla="*/ 7036443 w 7585674"/>
                <a:gd name="T33" fmla="*/ 335128 h 5218028"/>
                <a:gd name="T34" fmla="*/ 6410263 w 7585674"/>
                <a:gd name="T35" fmla="*/ 573245 h 5218028"/>
                <a:gd name="T36" fmla="*/ 5581235 w 7585674"/>
                <a:gd name="T37" fmla="*/ 952469 h 5218028"/>
                <a:gd name="T38" fmla="*/ 4787486 w 7585674"/>
                <a:gd name="T39" fmla="*/ 1446342 h 5218028"/>
                <a:gd name="T40" fmla="*/ 4240681 w 7585674"/>
                <a:gd name="T41" fmla="*/ 1904939 h 5218028"/>
                <a:gd name="T42" fmla="*/ 3817348 w 7585674"/>
                <a:gd name="T43" fmla="*/ 2407631 h 5218028"/>
                <a:gd name="T44" fmla="*/ 3561584 w 7585674"/>
                <a:gd name="T45" fmla="*/ 2901504 h 5218028"/>
                <a:gd name="T46" fmla="*/ 3429293 w 7585674"/>
                <a:gd name="T47" fmla="*/ 3439473 h 5218028"/>
                <a:gd name="T48" fmla="*/ 3411654 w 7585674"/>
                <a:gd name="T49" fmla="*/ 4056814 h 5218028"/>
                <a:gd name="T50" fmla="*/ 3491029 w 7585674"/>
                <a:gd name="T51" fmla="*/ 4612421 h 5218028"/>
                <a:gd name="T52" fmla="*/ 3658599 w 7585674"/>
                <a:gd name="T53" fmla="*/ 5168028 h 5218028"/>
                <a:gd name="T54" fmla="*/ 77907 w 7585674"/>
                <a:gd name="T55" fmla="*/ 5159209 h 52180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585674" h="5218028">
                  <a:moveTo>
                    <a:pt x="77911" y="5159209"/>
                  </a:moveTo>
                  <a:cubicBezTo>
                    <a:pt x="0" y="5218028"/>
                    <a:pt x="76441" y="5001934"/>
                    <a:pt x="130830" y="4841719"/>
                  </a:cubicBezTo>
                  <a:cubicBezTo>
                    <a:pt x="185219" y="4681504"/>
                    <a:pt x="293998" y="4405170"/>
                    <a:pt x="404246" y="4197920"/>
                  </a:cubicBezTo>
                  <a:cubicBezTo>
                    <a:pt x="514494" y="3990670"/>
                    <a:pt x="658552" y="3784890"/>
                    <a:pt x="792320" y="3598218"/>
                  </a:cubicBezTo>
                  <a:cubicBezTo>
                    <a:pt x="926088" y="3411546"/>
                    <a:pt x="1056916" y="3248391"/>
                    <a:pt x="1206854" y="3077887"/>
                  </a:cubicBezTo>
                  <a:cubicBezTo>
                    <a:pt x="1356792" y="2907383"/>
                    <a:pt x="1521430" y="2728061"/>
                    <a:pt x="1691947" y="2575195"/>
                  </a:cubicBezTo>
                  <a:cubicBezTo>
                    <a:pt x="1862465" y="2422330"/>
                    <a:pt x="2046212" y="2292982"/>
                    <a:pt x="2229959" y="2160694"/>
                  </a:cubicBezTo>
                  <a:cubicBezTo>
                    <a:pt x="2413706" y="2028407"/>
                    <a:pt x="2613623" y="1894649"/>
                    <a:pt x="2794430" y="1781470"/>
                  </a:cubicBezTo>
                  <a:cubicBezTo>
                    <a:pt x="2975237" y="1668291"/>
                    <a:pt x="3139876" y="1577160"/>
                    <a:pt x="3314803" y="1481619"/>
                  </a:cubicBezTo>
                  <a:cubicBezTo>
                    <a:pt x="3489730" y="1386078"/>
                    <a:pt x="3639668" y="1300826"/>
                    <a:pt x="3843995" y="1208225"/>
                  </a:cubicBezTo>
                  <a:cubicBezTo>
                    <a:pt x="4048322" y="1115624"/>
                    <a:pt x="4299689" y="1020083"/>
                    <a:pt x="4540765" y="926012"/>
                  </a:cubicBezTo>
                  <a:cubicBezTo>
                    <a:pt x="4781841" y="831941"/>
                    <a:pt x="4999398" y="743749"/>
                    <a:pt x="5290454" y="643799"/>
                  </a:cubicBezTo>
                  <a:cubicBezTo>
                    <a:pt x="5581510" y="543849"/>
                    <a:pt x="5904905" y="433609"/>
                    <a:pt x="6287099" y="326309"/>
                  </a:cubicBezTo>
                  <a:cubicBezTo>
                    <a:pt x="6669293" y="219009"/>
                    <a:pt x="7367533" y="41156"/>
                    <a:pt x="7583620" y="0"/>
                  </a:cubicBezTo>
                  <a:cubicBezTo>
                    <a:pt x="7581440" y="87873"/>
                    <a:pt x="7585090" y="54384"/>
                    <a:pt x="7583620" y="79372"/>
                  </a:cubicBezTo>
                  <a:cubicBezTo>
                    <a:pt x="7582150" y="104360"/>
                    <a:pt x="7585674" y="103067"/>
                    <a:pt x="7574800" y="149926"/>
                  </a:cubicBezTo>
                  <a:cubicBezTo>
                    <a:pt x="7483661" y="192552"/>
                    <a:pt x="7230825" y="264575"/>
                    <a:pt x="7036788" y="335128"/>
                  </a:cubicBezTo>
                  <a:cubicBezTo>
                    <a:pt x="6842751" y="405681"/>
                    <a:pt x="6653123" y="470355"/>
                    <a:pt x="6410577" y="573245"/>
                  </a:cubicBezTo>
                  <a:cubicBezTo>
                    <a:pt x="6168031" y="676135"/>
                    <a:pt x="5851985" y="806953"/>
                    <a:pt x="5581509" y="952469"/>
                  </a:cubicBezTo>
                  <a:cubicBezTo>
                    <a:pt x="5311033" y="1097985"/>
                    <a:pt x="5011158" y="1287597"/>
                    <a:pt x="4787721" y="1446342"/>
                  </a:cubicBezTo>
                  <a:cubicBezTo>
                    <a:pt x="4564284" y="1605087"/>
                    <a:pt x="4402587" y="1744724"/>
                    <a:pt x="4240889" y="1904939"/>
                  </a:cubicBezTo>
                  <a:cubicBezTo>
                    <a:pt x="4079191" y="2065154"/>
                    <a:pt x="3930723" y="2241537"/>
                    <a:pt x="3817535" y="2407631"/>
                  </a:cubicBezTo>
                  <a:cubicBezTo>
                    <a:pt x="3704347" y="2573725"/>
                    <a:pt x="3626438" y="2729531"/>
                    <a:pt x="3561759" y="2901504"/>
                  </a:cubicBezTo>
                  <a:cubicBezTo>
                    <a:pt x="3497080" y="3073477"/>
                    <a:pt x="3454451" y="3246921"/>
                    <a:pt x="3429461" y="3439473"/>
                  </a:cubicBezTo>
                  <a:cubicBezTo>
                    <a:pt x="3404471" y="3632025"/>
                    <a:pt x="3401531" y="3861323"/>
                    <a:pt x="3411821" y="4056814"/>
                  </a:cubicBezTo>
                  <a:cubicBezTo>
                    <a:pt x="3422111" y="4252305"/>
                    <a:pt x="3450041" y="4427219"/>
                    <a:pt x="3491200" y="4612421"/>
                  </a:cubicBezTo>
                  <a:cubicBezTo>
                    <a:pt x="3532359" y="4797623"/>
                    <a:pt x="3516503" y="4706002"/>
                    <a:pt x="3658778" y="5168028"/>
                  </a:cubicBezTo>
                  <a:lnTo>
                    <a:pt x="77911" y="5159209"/>
                  </a:lnTo>
                  <a:close/>
                </a:path>
              </a:pathLst>
            </a:custGeom>
            <a:grpFill/>
            <a:ln>
              <a:noFill/>
            </a:ln>
            <a:effectLst>
              <a:outerShdw blurRad="40000" dist="23000" dir="5400000" rotWithShape="0">
                <a:srgbClr val="000000">
                  <a:alpha val="34999"/>
                </a:srgbClr>
              </a:outerShdw>
            </a:effectLst>
            <a:extLst>
              <a:ext uri="{91240B29-F687-4F45-9708-019B960494DF}">
                <a14:hiddenLine xmlns:a14="http://schemas.microsoft.com/office/drawing/2010/main" w="9525">
                  <a:solidFill>
                    <a:srgbClr val="000000"/>
                  </a:solidFill>
                  <a:prstDash val="solid"/>
                  <a:round/>
                </a14:hiddenLine>
              </a:ext>
            </a:extLst>
          </p:spPr>
          <p:txBody>
            <a:bodyPr anchor="ctr"/>
            <a:lstStyle/>
            <a:p>
              <a:pPr defTabSz="1219200">
                <a:defRPr/>
              </a:pPr>
              <a:endParaRPr lang="zh-CN" altLang="en-US" sz="1600" kern="0">
                <a:solidFill>
                  <a:srgbClr val="111111"/>
                </a:solidFill>
                <a:latin typeface="微软雅黑" panose="020B0503020204020204" pitchFamily="34" charset="-122"/>
                <a:ea typeface="微软雅黑" panose="020B0503020204020204" pitchFamily="34" charset="-122"/>
              </a:endParaRPr>
            </a:p>
          </p:txBody>
        </p:sp>
      </p:grpSp>
      <p:sp>
        <p:nvSpPr>
          <p:cNvPr id="38" name="Freeform 856"/>
          <p:cNvSpPr/>
          <p:nvPr/>
        </p:nvSpPr>
        <p:spPr bwMode="auto">
          <a:xfrm>
            <a:off x="4890625" y="1133933"/>
            <a:ext cx="6824833" cy="5841343"/>
          </a:xfrm>
          <a:custGeom>
            <a:avLst/>
            <a:gdLst>
              <a:gd name="connsiteX0" fmla="*/ 0 w 5816600"/>
              <a:gd name="connsiteY0" fmla="*/ 4978400 h 4978400"/>
              <a:gd name="connsiteX1" fmla="*/ 38100 w 5816600"/>
              <a:gd name="connsiteY1" fmla="*/ 4521200 h 4978400"/>
              <a:gd name="connsiteX2" fmla="*/ 139700 w 5816600"/>
              <a:gd name="connsiteY2" fmla="*/ 4064000 h 4978400"/>
              <a:gd name="connsiteX3" fmla="*/ 304800 w 5816600"/>
              <a:gd name="connsiteY3" fmla="*/ 3568700 h 4978400"/>
              <a:gd name="connsiteX4" fmla="*/ 533400 w 5816600"/>
              <a:gd name="connsiteY4" fmla="*/ 3111500 h 4978400"/>
              <a:gd name="connsiteX5" fmla="*/ 825500 w 5816600"/>
              <a:gd name="connsiteY5" fmla="*/ 2667000 h 4978400"/>
              <a:gd name="connsiteX6" fmla="*/ 1155700 w 5816600"/>
              <a:gd name="connsiteY6" fmla="*/ 2260600 h 4978400"/>
              <a:gd name="connsiteX7" fmla="*/ 1524000 w 5816600"/>
              <a:gd name="connsiteY7" fmla="*/ 1917700 h 4978400"/>
              <a:gd name="connsiteX8" fmla="*/ 1866900 w 5816600"/>
              <a:gd name="connsiteY8" fmla="*/ 1651000 h 4978400"/>
              <a:gd name="connsiteX9" fmla="*/ 2260600 w 5816600"/>
              <a:gd name="connsiteY9" fmla="*/ 1384300 h 4978400"/>
              <a:gd name="connsiteX10" fmla="*/ 2641600 w 5816600"/>
              <a:gd name="connsiteY10" fmla="*/ 1168400 h 4978400"/>
              <a:gd name="connsiteX11" fmla="*/ 3111500 w 5816600"/>
              <a:gd name="connsiteY11" fmla="*/ 965200 h 4978400"/>
              <a:gd name="connsiteX12" fmla="*/ 3683000 w 5816600"/>
              <a:gd name="connsiteY12" fmla="*/ 723900 h 4978400"/>
              <a:gd name="connsiteX13" fmla="*/ 4635500 w 5816600"/>
              <a:gd name="connsiteY13" fmla="*/ 406400 h 4978400"/>
              <a:gd name="connsiteX14" fmla="*/ 5816600 w 5816600"/>
              <a:gd name="connsiteY14" fmla="*/ 0 h 4978400"/>
              <a:gd name="connsiteX0-1" fmla="*/ 0 w 5816600"/>
              <a:gd name="connsiteY0-2" fmla="*/ 4978400 h 4978400"/>
              <a:gd name="connsiteX1-3" fmla="*/ 38100 w 5816600"/>
              <a:gd name="connsiteY1-4" fmla="*/ 4521200 h 4978400"/>
              <a:gd name="connsiteX2-5" fmla="*/ 139700 w 5816600"/>
              <a:gd name="connsiteY2-6" fmla="*/ 4064000 h 4978400"/>
              <a:gd name="connsiteX3-7" fmla="*/ 304800 w 5816600"/>
              <a:gd name="connsiteY3-8" fmla="*/ 3568700 h 4978400"/>
              <a:gd name="connsiteX4-9" fmla="*/ 533400 w 5816600"/>
              <a:gd name="connsiteY4-10" fmla="*/ 3111500 h 4978400"/>
              <a:gd name="connsiteX5-11" fmla="*/ 825500 w 5816600"/>
              <a:gd name="connsiteY5-12" fmla="*/ 2667000 h 4978400"/>
              <a:gd name="connsiteX6-13" fmla="*/ 1155700 w 5816600"/>
              <a:gd name="connsiteY6-14" fmla="*/ 2260600 h 4978400"/>
              <a:gd name="connsiteX7-15" fmla="*/ 1524000 w 5816600"/>
              <a:gd name="connsiteY7-16" fmla="*/ 1917700 h 4978400"/>
              <a:gd name="connsiteX8-17" fmla="*/ 1866900 w 5816600"/>
              <a:gd name="connsiteY8-18" fmla="*/ 1651000 h 4978400"/>
              <a:gd name="connsiteX9-19" fmla="*/ 2260600 w 5816600"/>
              <a:gd name="connsiteY9-20" fmla="*/ 1384300 h 4978400"/>
              <a:gd name="connsiteX10-21" fmla="*/ 2641600 w 5816600"/>
              <a:gd name="connsiteY10-22" fmla="*/ 1168400 h 4978400"/>
              <a:gd name="connsiteX11-23" fmla="*/ 3111500 w 5816600"/>
              <a:gd name="connsiteY11-24" fmla="*/ 965200 h 4978400"/>
              <a:gd name="connsiteX12-25" fmla="*/ 3683000 w 5816600"/>
              <a:gd name="connsiteY12-26" fmla="*/ 723900 h 4978400"/>
              <a:gd name="connsiteX13-27" fmla="*/ 4635500 w 5816600"/>
              <a:gd name="connsiteY13-28" fmla="*/ 406400 h 4978400"/>
              <a:gd name="connsiteX14-29" fmla="*/ 5816600 w 5816600"/>
              <a:gd name="connsiteY14-30" fmla="*/ 0 h 4978400"/>
              <a:gd name="connsiteX0-31" fmla="*/ 0 w 5816600"/>
              <a:gd name="connsiteY0-32" fmla="*/ 4978400 h 4978400"/>
              <a:gd name="connsiteX1-33" fmla="*/ 38100 w 5816600"/>
              <a:gd name="connsiteY1-34" fmla="*/ 4521200 h 4978400"/>
              <a:gd name="connsiteX2-35" fmla="*/ 139700 w 5816600"/>
              <a:gd name="connsiteY2-36" fmla="*/ 4064000 h 4978400"/>
              <a:gd name="connsiteX3-37" fmla="*/ 304800 w 5816600"/>
              <a:gd name="connsiteY3-38" fmla="*/ 3568700 h 4978400"/>
              <a:gd name="connsiteX4-39" fmla="*/ 533400 w 5816600"/>
              <a:gd name="connsiteY4-40" fmla="*/ 3111500 h 4978400"/>
              <a:gd name="connsiteX5-41" fmla="*/ 825500 w 5816600"/>
              <a:gd name="connsiteY5-42" fmla="*/ 2667000 h 4978400"/>
              <a:gd name="connsiteX6-43" fmla="*/ 1155700 w 5816600"/>
              <a:gd name="connsiteY6-44" fmla="*/ 2260600 h 4978400"/>
              <a:gd name="connsiteX7-45" fmla="*/ 1524000 w 5816600"/>
              <a:gd name="connsiteY7-46" fmla="*/ 1917700 h 4978400"/>
              <a:gd name="connsiteX8-47" fmla="*/ 1866900 w 5816600"/>
              <a:gd name="connsiteY8-48" fmla="*/ 1651000 h 4978400"/>
              <a:gd name="connsiteX9-49" fmla="*/ 2260600 w 5816600"/>
              <a:gd name="connsiteY9-50" fmla="*/ 1384300 h 4978400"/>
              <a:gd name="connsiteX10-51" fmla="*/ 2641600 w 5816600"/>
              <a:gd name="connsiteY10-52" fmla="*/ 1168400 h 4978400"/>
              <a:gd name="connsiteX11-53" fmla="*/ 3111500 w 5816600"/>
              <a:gd name="connsiteY11-54" fmla="*/ 965200 h 4978400"/>
              <a:gd name="connsiteX12-55" fmla="*/ 3683000 w 5816600"/>
              <a:gd name="connsiteY12-56" fmla="*/ 723900 h 4978400"/>
              <a:gd name="connsiteX13-57" fmla="*/ 4635500 w 5816600"/>
              <a:gd name="connsiteY13-58" fmla="*/ 366650 h 4978400"/>
              <a:gd name="connsiteX14-59" fmla="*/ 5816600 w 5816600"/>
              <a:gd name="connsiteY14-60" fmla="*/ 0 h 4978400"/>
              <a:gd name="connsiteX0-61" fmla="*/ 0 w 5816600"/>
              <a:gd name="connsiteY0-62" fmla="*/ 4978400 h 4978400"/>
              <a:gd name="connsiteX1-63" fmla="*/ 38100 w 5816600"/>
              <a:gd name="connsiteY1-64" fmla="*/ 4521200 h 4978400"/>
              <a:gd name="connsiteX2-65" fmla="*/ 139700 w 5816600"/>
              <a:gd name="connsiteY2-66" fmla="*/ 4064000 h 4978400"/>
              <a:gd name="connsiteX3-67" fmla="*/ 304800 w 5816600"/>
              <a:gd name="connsiteY3-68" fmla="*/ 3568700 h 4978400"/>
              <a:gd name="connsiteX4-69" fmla="*/ 533400 w 5816600"/>
              <a:gd name="connsiteY4-70" fmla="*/ 3111500 h 4978400"/>
              <a:gd name="connsiteX5-71" fmla="*/ 825500 w 5816600"/>
              <a:gd name="connsiteY5-72" fmla="*/ 2667000 h 4978400"/>
              <a:gd name="connsiteX6-73" fmla="*/ 1155700 w 5816600"/>
              <a:gd name="connsiteY6-74" fmla="*/ 2260600 h 4978400"/>
              <a:gd name="connsiteX7-75" fmla="*/ 1524000 w 5816600"/>
              <a:gd name="connsiteY7-76" fmla="*/ 1917700 h 4978400"/>
              <a:gd name="connsiteX8-77" fmla="*/ 1866900 w 5816600"/>
              <a:gd name="connsiteY8-78" fmla="*/ 1651000 h 4978400"/>
              <a:gd name="connsiteX9-79" fmla="*/ 2260600 w 5816600"/>
              <a:gd name="connsiteY9-80" fmla="*/ 1384300 h 4978400"/>
              <a:gd name="connsiteX10-81" fmla="*/ 2641600 w 5816600"/>
              <a:gd name="connsiteY10-82" fmla="*/ 1168400 h 4978400"/>
              <a:gd name="connsiteX11-83" fmla="*/ 3111500 w 5816600"/>
              <a:gd name="connsiteY11-84" fmla="*/ 965200 h 4978400"/>
              <a:gd name="connsiteX12-85" fmla="*/ 3683000 w 5816600"/>
              <a:gd name="connsiteY12-86" fmla="*/ 723900 h 4978400"/>
              <a:gd name="connsiteX13-87" fmla="*/ 4635500 w 5816600"/>
              <a:gd name="connsiteY13-88" fmla="*/ 366650 h 4978400"/>
              <a:gd name="connsiteX14-89" fmla="*/ 5816600 w 5816600"/>
              <a:gd name="connsiteY14-90" fmla="*/ 0 h 4978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5816600" h="4978400">
                <a:moveTo>
                  <a:pt x="0" y="4978400"/>
                </a:moveTo>
                <a:cubicBezTo>
                  <a:pt x="7408" y="4826000"/>
                  <a:pt x="14817" y="4673600"/>
                  <a:pt x="38100" y="4521200"/>
                </a:cubicBezTo>
                <a:cubicBezTo>
                  <a:pt x="61383" y="4368800"/>
                  <a:pt x="95250" y="4222750"/>
                  <a:pt x="139700" y="4064000"/>
                </a:cubicBezTo>
                <a:cubicBezTo>
                  <a:pt x="184150" y="3905250"/>
                  <a:pt x="239183" y="3727450"/>
                  <a:pt x="304800" y="3568700"/>
                </a:cubicBezTo>
                <a:cubicBezTo>
                  <a:pt x="370417" y="3409950"/>
                  <a:pt x="446617" y="3261783"/>
                  <a:pt x="533400" y="3111500"/>
                </a:cubicBezTo>
                <a:cubicBezTo>
                  <a:pt x="620183" y="2961217"/>
                  <a:pt x="721783" y="2808817"/>
                  <a:pt x="825500" y="2667000"/>
                </a:cubicBezTo>
                <a:cubicBezTo>
                  <a:pt x="929217" y="2525183"/>
                  <a:pt x="1039283" y="2385483"/>
                  <a:pt x="1155700" y="2260600"/>
                </a:cubicBezTo>
                <a:cubicBezTo>
                  <a:pt x="1272117" y="2135717"/>
                  <a:pt x="1405467" y="2019300"/>
                  <a:pt x="1524000" y="1917700"/>
                </a:cubicBezTo>
                <a:cubicBezTo>
                  <a:pt x="1642533" y="1816100"/>
                  <a:pt x="1744133" y="1739900"/>
                  <a:pt x="1866900" y="1651000"/>
                </a:cubicBezTo>
                <a:cubicBezTo>
                  <a:pt x="1989667" y="1562100"/>
                  <a:pt x="2131483" y="1464733"/>
                  <a:pt x="2260600" y="1384300"/>
                </a:cubicBezTo>
                <a:cubicBezTo>
                  <a:pt x="2389717" y="1303867"/>
                  <a:pt x="2499783" y="1238250"/>
                  <a:pt x="2641600" y="1168400"/>
                </a:cubicBezTo>
                <a:cubicBezTo>
                  <a:pt x="2783417" y="1098550"/>
                  <a:pt x="3111500" y="965200"/>
                  <a:pt x="3111500" y="965200"/>
                </a:cubicBezTo>
                <a:cubicBezTo>
                  <a:pt x="3285067" y="891117"/>
                  <a:pt x="3429000" y="823658"/>
                  <a:pt x="3683000" y="723900"/>
                </a:cubicBezTo>
                <a:cubicBezTo>
                  <a:pt x="3937000" y="624142"/>
                  <a:pt x="4635500" y="366650"/>
                  <a:pt x="4635500" y="366650"/>
                </a:cubicBezTo>
                <a:lnTo>
                  <a:pt x="5816600" y="0"/>
                </a:lnTo>
              </a:path>
            </a:pathLst>
          </a:custGeom>
          <a:noFill/>
          <a:ln w="19050" cap="flat" cmpd="sng" algn="ctr">
            <a:solidFill>
              <a:srgbClr val="FFFFFF"/>
            </a:solidFill>
            <a:prstDash val="lgDash"/>
            <a:round/>
            <a:headEnd type="none" w="med" len="med"/>
            <a:tailEnd type="none" w="med" len="med"/>
          </a:ln>
          <a:effectLst/>
        </p:spPr>
        <p:txBody>
          <a:bodyPr anchor="ctr"/>
          <a:lstStyle/>
          <a:p>
            <a:pPr algn="ctr" defTabSz="1219200">
              <a:defRPr/>
            </a:pPr>
            <a:endParaRPr lang="en-US" sz="1600" kern="0">
              <a:solidFill>
                <a:prstClr val="black"/>
              </a:solidFill>
              <a:latin typeface="微软雅黑" panose="020B0503020204020204" pitchFamily="34" charset="-122"/>
              <a:ea typeface="微软雅黑" panose="020B0503020204020204" pitchFamily="34" charset="-122"/>
              <a:cs typeface="MS PGothic" panose="020B0600070205080204" charset="-128"/>
            </a:endParaRPr>
          </a:p>
        </p:txBody>
      </p:sp>
      <p:grpSp>
        <p:nvGrpSpPr>
          <p:cNvPr id="39" name="组合 38"/>
          <p:cNvGrpSpPr/>
          <p:nvPr/>
        </p:nvGrpSpPr>
        <p:grpSpPr>
          <a:xfrm>
            <a:off x="5729765" y="6016510"/>
            <a:ext cx="5063839" cy="502766"/>
            <a:chOff x="4208643" y="4137978"/>
            <a:chExt cx="3797879" cy="377075"/>
          </a:xfrm>
        </p:grpSpPr>
        <p:sp>
          <p:nvSpPr>
            <p:cNvPr id="40" name="TextBox 155"/>
            <p:cNvSpPr txBox="1">
              <a:spLocks noChangeArrowheads="1"/>
            </p:cNvSpPr>
            <p:nvPr/>
          </p:nvSpPr>
          <p:spPr bwMode="auto">
            <a:xfrm>
              <a:off x="4208643" y="4137978"/>
              <a:ext cx="1795800" cy="37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nb-NO" altLang="zh-CN" sz="2665" b="1" kern="0" dirty="0">
                  <a:solidFill>
                    <a:srgbClr val="FFFFFF"/>
                  </a:solidFill>
                  <a:latin typeface="微软雅黑" panose="020B0503020204020204" pitchFamily="34" charset="-122"/>
                  <a:ea typeface="微软雅黑" panose="020B0503020204020204" pitchFamily="34" charset="-122"/>
                </a:rPr>
                <a:t>4630</a:t>
              </a:r>
              <a:r>
                <a:rPr lang="zh-CN" altLang="en-US" sz="2665" b="1" kern="0" dirty="0">
                  <a:solidFill>
                    <a:srgbClr val="FFFFFF"/>
                  </a:solidFill>
                  <a:latin typeface="微软雅黑" panose="020B0503020204020204" pitchFamily="34" charset="-122"/>
                  <a:ea typeface="微软雅黑" panose="020B0503020204020204" pitchFamily="34" charset="-122"/>
                </a:rPr>
                <a:t>家</a:t>
              </a:r>
              <a:endParaRPr lang="nb-NO" altLang="zh-CN" sz="2665" b="1" kern="0" dirty="0">
                <a:solidFill>
                  <a:srgbClr val="FFFFFF"/>
                </a:solidFill>
                <a:latin typeface="微软雅黑" panose="020B0503020204020204" pitchFamily="34" charset="-122"/>
                <a:ea typeface="微软雅黑" panose="020B0503020204020204" pitchFamily="34" charset="-122"/>
              </a:endParaRPr>
            </a:p>
          </p:txBody>
        </p:sp>
        <p:sp>
          <p:nvSpPr>
            <p:cNvPr id="41" name="TextBox 857"/>
            <p:cNvSpPr txBox="1">
              <a:spLocks noChangeArrowheads="1"/>
            </p:cNvSpPr>
            <p:nvPr/>
          </p:nvSpPr>
          <p:spPr bwMode="auto">
            <a:xfrm>
              <a:off x="5976643" y="4213598"/>
              <a:ext cx="202987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专项行动累计走访企业数</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42" name="Straight Connector 867"/>
            <p:cNvCxnSpPr/>
            <p:nvPr/>
          </p:nvCxnSpPr>
          <p:spPr bwMode="auto">
            <a:xfrm>
              <a:off x="5590751" y="4356217"/>
              <a:ext cx="388367" cy="1397"/>
            </a:xfrm>
            <a:prstGeom prst="line">
              <a:avLst/>
            </a:prstGeom>
            <a:noFill/>
            <a:ln w="25400" cap="flat" cmpd="sng" algn="ctr">
              <a:solidFill>
                <a:srgbClr val="111111"/>
              </a:solidFill>
              <a:prstDash val="solid"/>
            </a:ln>
            <a:effectLst/>
          </p:spPr>
        </p:cxnSp>
      </p:grpSp>
      <p:grpSp>
        <p:nvGrpSpPr>
          <p:cNvPr id="43" name="组合 42"/>
          <p:cNvGrpSpPr/>
          <p:nvPr/>
        </p:nvGrpSpPr>
        <p:grpSpPr>
          <a:xfrm>
            <a:off x="5955853" y="5329757"/>
            <a:ext cx="4747098" cy="461666"/>
            <a:chOff x="4544483" y="3548856"/>
            <a:chExt cx="3391141" cy="346249"/>
          </a:xfrm>
        </p:grpSpPr>
        <p:sp>
          <p:nvSpPr>
            <p:cNvPr id="44" name="TextBox 157"/>
            <p:cNvSpPr txBox="1">
              <a:spLocks noChangeArrowheads="1"/>
            </p:cNvSpPr>
            <p:nvPr/>
          </p:nvSpPr>
          <p:spPr bwMode="auto">
            <a:xfrm>
              <a:off x="4544483" y="3548856"/>
              <a:ext cx="1067132"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en-US" altLang="zh-CN" sz="2400" b="1" kern="0" dirty="0">
                  <a:solidFill>
                    <a:srgbClr val="FFFFFF"/>
                  </a:solidFill>
                  <a:latin typeface="微软雅黑" panose="020B0503020204020204" pitchFamily="34" charset="-122"/>
                  <a:ea typeface="微软雅黑" panose="020B0503020204020204" pitchFamily="34" charset="-122"/>
                </a:rPr>
                <a:t>253</a:t>
              </a:r>
              <a:r>
                <a:rPr lang="zh-CN" altLang="en-US" sz="2400" b="1" kern="0" dirty="0">
                  <a:solidFill>
                    <a:srgbClr val="FFFFFF"/>
                  </a:solidFill>
                  <a:latin typeface="微软雅黑" panose="020B0503020204020204" pitchFamily="34" charset="-122"/>
                  <a:ea typeface="微软雅黑" panose="020B0503020204020204" pitchFamily="34" charset="-122"/>
                </a:rPr>
                <a:t>笔</a:t>
              </a:r>
              <a:endParaRPr lang="nb-NO" altLang="zh-CN" sz="2400" b="1" kern="0" dirty="0">
                <a:solidFill>
                  <a:srgbClr val="FFFFFF"/>
                </a:solidFill>
                <a:latin typeface="微软雅黑" panose="020B0503020204020204" pitchFamily="34" charset="-122"/>
                <a:ea typeface="微软雅黑" panose="020B0503020204020204" pitchFamily="34" charset="-122"/>
              </a:endParaRPr>
            </a:p>
          </p:txBody>
        </p:sp>
        <p:sp>
          <p:nvSpPr>
            <p:cNvPr id="45" name="TextBox 858"/>
            <p:cNvSpPr txBox="1">
              <a:spLocks noChangeArrowheads="1"/>
            </p:cNvSpPr>
            <p:nvPr/>
          </p:nvSpPr>
          <p:spPr bwMode="auto">
            <a:xfrm>
              <a:off x="5976643" y="3641190"/>
              <a:ext cx="1958981"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专项行动落地贷款笔数</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46" name="Straight Connector 869"/>
            <p:cNvCxnSpPr/>
            <p:nvPr/>
          </p:nvCxnSpPr>
          <p:spPr bwMode="auto">
            <a:xfrm>
              <a:off x="5633628" y="3772776"/>
              <a:ext cx="342893" cy="1397"/>
            </a:xfrm>
            <a:prstGeom prst="line">
              <a:avLst/>
            </a:prstGeom>
            <a:noFill/>
            <a:ln w="25400" cap="flat" cmpd="sng" algn="ctr">
              <a:solidFill>
                <a:srgbClr val="111111"/>
              </a:solidFill>
              <a:prstDash val="solid"/>
            </a:ln>
            <a:effectLst/>
          </p:spPr>
        </p:cxnSp>
      </p:grpSp>
      <p:grpSp>
        <p:nvGrpSpPr>
          <p:cNvPr id="47" name="组合 46"/>
          <p:cNvGrpSpPr/>
          <p:nvPr/>
        </p:nvGrpSpPr>
        <p:grpSpPr>
          <a:xfrm>
            <a:off x="6024628" y="4722970"/>
            <a:ext cx="4605075" cy="420627"/>
            <a:chOff x="4475629" y="3082956"/>
            <a:chExt cx="3453806" cy="315470"/>
          </a:xfrm>
        </p:grpSpPr>
        <p:sp>
          <p:nvSpPr>
            <p:cNvPr id="48" name="TextBox 158"/>
            <p:cNvSpPr txBox="1">
              <a:spLocks noChangeArrowheads="1"/>
            </p:cNvSpPr>
            <p:nvPr/>
          </p:nvSpPr>
          <p:spPr bwMode="auto">
            <a:xfrm>
              <a:off x="4475629" y="3082956"/>
              <a:ext cx="1147935" cy="31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en-US" altLang="zh-CN" sz="2135" b="1" kern="0" dirty="0">
                  <a:solidFill>
                    <a:srgbClr val="FFFFFF"/>
                  </a:solidFill>
                  <a:latin typeface="微软雅黑" panose="020B0503020204020204" pitchFamily="34" charset="-122"/>
                  <a:ea typeface="微软雅黑" panose="020B0503020204020204" pitchFamily="34" charset="-122"/>
                </a:rPr>
                <a:t>14</a:t>
              </a:r>
              <a:r>
                <a:rPr lang="zh-CN" altLang="en-US" sz="2135" b="1" kern="0" dirty="0">
                  <a:solidFill>
                    <a:srgbClr val="FFFFFF"/>
                  </a:solidFill>
                  <a:latin typeface="微软雅黑" panose="020B0503020204020204" pitchFamily="34" charset="-122"/>
                  <a:ea typeface="微软雅黑" panose="020B0503020204020204" pitchFamily="34" charset="-122"/>
                </a:rPr>
                <a:t>亿元</a:t>
              </a:r>
              <a:endParaRPr lang="nb-NO" altLang="zh-CN" sz="2135" b="1" kern="0" dirty="0">
                <a:solidFill>
                  <a:srgbClr val="FFFFFF"/>
                </a:solidFill>
                <a:latin typeface="微软雅黑" panose="020B0503020204020204" pitchFamily="34" charset="-122"/>
                <a:ea typeface="微软雅黑" panose="020B0503020204020204" pitchFamily="34" charset="-122"/>
              </a:endParaRPr>
            </a:p>
          </p:txBody>
        </p:sp>
        <p:sp>
          <p:nvSpPr>
            <p:cNvPr id="49" name="TextBox 859"/>
            <p:cNvSpPr txBox="1">
              <a:spLocks noChangeArrowheads="1"/>
            </p:cNvSpPr>
            <p:nvPr/>
          </p:nvSpPr>
          <p:spPr bwMode="auto">
            <a:xfrm>
              <a:off x="5878909" y="3144511"/>
              <a:ext cx="2050526"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专项行动已放款总额</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50" name="Straight Connector 870"/>
            <p:cNvCxnSpPr/>
            <p:nvPr/>
          </p:nvCxnSpPr>
          <p:spPr bwMode="auto">
            <a:xfrm>
              <a:off x="5521150" y="3277494"/>
              <a:ext cx="357633" cy="1397"/>
            </a:xfrm>
            <a:prstGeom prst="line">
              <a:avLst/>
            </a:prstGeom>
            <a:noFill/>
            <a:ln w="25400" cap="flat" cmpd="sng" algn="ctr">
              <a:solidFill>
                <a:srgbClr val="111111"/>
              </a:solidFill>
              <a:prstDash val="solid"/>
            </a:ln>
            <a:effectLst/>
          </p:spPr>
        </p:cxnSp>
      </p:grpSp>
      <p:grpSp>
        <p:nvGrpSpPr>
          <p:cNvPr id="51" name="组合 50"/>
          <p:cNvGrpSpPr/>
          <p:nvPr/>
        </p:nvGrpSpPr>
        <p:grpSpPr>
          <a:xfrm>
            <a:off x="6360644" y="4103708"/>
            <a:ext cx="4862946" cy="431406"/>
            <a:chOff x="4919201" y="2673802"/>
            <a:chExt cx="3246686" cy="323554"/>
          </a:xfrm>
        </p:grpSpPr>
        <p:sp>
          <p:nvSpPr>
            <p:cNvPr id="52" name="TextBox 159"/>
            <p:cNvSpPr txBox="1">
              <a:spLocks noChangeArrowheads="1"/>
            </p:cNvSpPr>
            <p:nvPr/>
          </p:nvSpPr>
          <p:spPr bwMode="auto">
            <a:xfrm>
              <a:off x="4919201" y="2673802"/>
              <a:ext cx="904671" cy="31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nb-NO" altLang="zh-CN" sz="2135" b="1" kern="0" dirty="0">
                  <a:solidFill>
                    <a:srgbClr val="FFFFFF"/>
                  </a:solidFill>
                  <a:latin typeface="微软雅黑" panose="020B0503020204020204" pitchFamily="34" charset="-122"/>
                  <a:ea typeface="微软雅黑" panose="020B0503020204020204" pitchFamily="34" charset="-122"/>
                </a:rPr>
                <a:t>18</a:t>
              </a:r>
              <a:r>
                <a:rPr lang="zh-CN" altLang="en-US" sz="2135" b="1" kern="0" dirty="0">
                  <a:solidFill>
                    <a:srgbClr val="FFFFFF"/>
                  </a:solidFill>
                  <a:latin typeface="微软雅黑" panose="020B0503020204020204" pitchFamily="34" charset="-122"/>
                  <a:ea typeface="微软雅黑" panose="020B0503020204020204" pitchFamily="34" charset="-122"/>
                </a:rPr>
                <a:t>场</a:t>
              </a:r>
              <a:endParaRPr lang="nb-NO" altLang="zh-CN" sz="2135" b="1" kern="0" dirty="0">
                <a:solidFill>
                  <a:srgbClr val="FFFFFF"/>
                </a:solidFill>
                <a:latin typeface="微软雅黑" panose="020B0503020204020204" pitchFamily="34" charset="-122"/>
                <a:ea typeface="微软雅黑" panose="020B0503020204020204" pitchFamily="34" charset="-122"/>
              </a:endParaRPr>
            </a:p>
          </p:txBody>
        </p:sp>
        <p:sp>
          <p:nvSpPr>
            <p:cNvPr id="53" name="TextBox 860"/>
            <p:cNvSpPr txBox="1">
              <a:spLocks noChangeArrowheads="1"/>
            </p:cNvSpPr>
            <p:nvPr/>
          </p:nvSpPr>
          <p:spPr bwMode="auto">
            <a:xfrm>
              <a:off x="5978656" y="2743441"/>
              <a:ext cx="2187231"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en-US" altLang="zh-CN" sz="1600" b="1" kern="0" dirty="0">
                  <a:solidFill>
                    <a:schemeClr val="tx1">
                      <a:lumMod val="75000"/>
                      <a:lumOff val="25000"/>
                    </a:schemeClr>
                  </a:solidFill>
                  <a:latin typeface="微软雅黑" panose="020B0503020204020204" pitchFamily="34" charset="-122"/>
                  <a:ea typeface="微软雅黑" panose="020B0503020204020204" pitchFamily="34" charset="-122"/>
                </a:rPr>
                <a:t>2019</a:t>
              </a: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年组织及参与银企对接活动</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54" name="Straight Connector 871"/>
            <p:cNvCxnSpPr/>
            <p:nvPr/>
          </p:nvCxnSpPr>
          <p:spPr bwMode="auto">
            <a:xfrm>
              <a:off x="5678402" y="2870308"/>
              <a:ext cx="294767" cy="1397"/>
            </a:xfrm>
            <a:prstGeom prst="line">
              <a:avLst/>
            </a:prstGeom>
            <a:noFill/>
            <a:ln w="25400" cap="flat" cmpd="sng" algn="ctr">
              <a:solidFill>
                <a:srgbClr val="111111"/>
              </a:solidFill>
              <a:prstDash val="solid"/>
            </a:ln>
            <a:effectLst/>
          </p:spPr>
        </p:cxnSp>
      </p:grpSp>
      <p:grpSp>
        <p:nvGrpSpPr>
          <p:cNvPr id="55" name="组合 54"/>
          <p:cNvGrpSpPr/>
          <p:nvPr/>
        </p:nvGrpSpPr>
        <p:grpSpPr>
          <a:xfrm>
            <a:off x="6759013" y="3565810"/>
            <a:ext cx="4545793" cy="400109"/>
            <a:chOff x="5095155" y="2218185"/>
            <a:chExt cx="3401059" cy="300082"/>
          </a:xfrm>
        </p:grpSpPr>
        <p:sp>
          <p:nvSpPr>
            <p:cNvPr id="56" name="TextBox 160"/>
            <p:cNvSpPr txBox="1">
              <a:spLocks noChangeArrowheads="1"/>
            </p:cNvSpPr>
            <p:nvPr/>
          </p:nvSpPr>
          <p:spPr bwMode="auto">
            <a:xfrm>
              <a:off x="5095155" y="2218185"/>
              <a:ext cx="69271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nb-NO" altLang="zh-CN" sz="2000" b="1" kern="0" dirty="0">
                  <a:solidFill>
                    <a:srgbClr val="FFFFFF"/>
                  </a:solidFill>
                  <a:latin typeface="微软雅黑" panose="020B0503020204020204" pitchFamily="34" charset="-122"/>
                  <a:ea typeface="微软雅黑" panose="020B0503020204020204" pitchFamily="34" charset="-122"/>
                </a:rPr>
                <a:t>30</a:t>
              </a:r>
              <a:r>
                <a:rPr lang="zh-CN" altLang="en-US" sz="2000" b="1" kern="0" dirty="0">
                  <a:solidFill>
                    <a:srgbClr val="FFFFFF"/>
                  </a:solidFill>
                  <a:latin typeface="微软雅黑" panose="020B0503020204020204" pitchFamily="34" charset="-122"/>
                  <a:ea typeface="微软雅黑" panose="020B0503020204020204" pitchFamily="34" charset="-122"/>
                </a:rPr>
                <a:t>家</a:t>
              </a:r>
              <a:endParaRPr lang="nb-NO" altLang="zh-CN" sz="2000" b="1" kern="0" dirty="0">
                <a:solidFill>
                  <a:srgbClr val="FFFFFF"/>
                </a:solidFill>
                <a:latin typeface="微软雅黑" panose="020B0503020204020204" pitchFamily="34" charset="-122"/>
                <a:ea typeface="微软雅黑" panose="020B0503020204020204" pitchFamily="34" charset="-122"/>
              </a:endParaRPr>
            </a:p>
          </p:txBody>
        </p:sp>
        <p:sp>
          <p:nvSpPr>
            <p:cNvPr id="57" name="TextBox 861"/>
            <p:cNvSpPr txBox="1">
              <a:spLocks noChangeArrowheads="1"/>
            </p:cNvSpPr>
            <p:nvPr/>
          </p:nvSpPr>
          <p:spPr bwMode="auto">
            <a:xfrm>
              <a:off x="6194263" y="2258456"/>
              <a:ext cx="230195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与我行建立战略合作商（协）会</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58" name="Straight Connector 872"/>
            <p:cNvCxnSpPr/>
            <p:nvPr/>
          </p:nvCxnSpPr>
          <p:spPr bwMode="auto">
            <a:xfrm>
              <a:off x="5834777" y="2392728"/>
              <a:ext cx="376897" cy="1397"/>
            </a:xfrm>
            <a:prstGeom prst="line">
              <a:avLst/>
            </a:prstGeom>
            <a:noFill/>
            <a:ln w="25400" cap="flat" cmpd="sng" algn="ctr">
              <a:solidFill>
                <a:srgbClr val="111111"/>
              </a:solidFill>
              <a:prstDash val="solid"/>
            </a:ln>
            <a:effectLst/>
          </p:spPr>
        </p:cxnSp>
      </p:grpSp>
      <p:grpSp>
        <p:nvGrpSpPr>
          <p:cNvPr id="59" name="组合 58"/>
          <p:cNvGrpSpPr/>
          <p:nvPr/>
        </p:nvGrpSpPr>
        <p:grpSpPr>
          <a:xfrm>
            <a:off x="7097830" y="3016676"/>
            <a:ext cx="4648439" cy="388317"/>
            <a:chOff x="4952674" y="2086107"/>
            <a:chExt cx="3486330" cy="291238"/>
          </a:xfrm>
        </p:grpSpPr>
        <p:sp>
          <p:nvSpPr>
            <p:cNvPr id="60" name="TextBox 161"/>
            <p:cNvSpPr txBox="1">
              <a:spLocks noChangeArrowheads="1"/>
            </p:cNvSpPr>
            <p:nvPr/>
          </p:nvSpPr>
          <p:spPr bwMode="auto">
            <a:xfrm>
              <a:off x="4952674" y="2086107"/>
              <a:ext cx="79635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nb-NO" altLang="zh-CN" sz="1600" b="1" kern="0" dirty="0">
                  <a:solidFill>
                    <a:srgbClr val="FFFFFF"/>
                  </a:solidFill>
                  <a:latin typeface="微软雅黑" panose="020B0503020204020204" pitchFamily="34" charset="-122"/>
                  <a:ea typeface="微软雅黑" panose="020B0503020204020204" pitchFamily="34" charset="-122"/>
                </a:rPr>
                <a:t>10</a:t>
              </a:r>
              <a:r>
                <a:rPr lang="zh-CN" altLang="en-US" sz="1600" b="1" kern="0" dirty="0">
                  <a:solidFill>
                    <a:srgbClr val="FFFFFF"/>
                  </a:solidFill>
                  <a:latin typeface="微软雅黑" panose="020B0503020204020204" pitchFamily="34" charset="-122"/>
                  <a:ea typeface="微软雅黑" panose="020B0503020204020204" pitchFamily="34" charset="-122"/>
                </a:rPr>
                <a:t>亿元</a:t>
              </a:r>
              <a:endParaRPr lang="nb-NO" altLang="zh-CN" sz="1600" b="1" kern="0" dirty="0">
                <a:solidFill>
                  <a:srgbClr val="FFFFFF"/>
                </a:solidFill>
                <a:latin typeface="微软雅黑" panose="020B0503020204020204" pitchFamily="34" charset="-122"/>
                <a:ea typeface="微软雅黑" panose="020B0503020204020204" pitchFamily="34" charset="-122"/>
              </a:endParaRPr>
            </a:p>
          </p:txBody>
        </p:sp>
        <p:sp>
          <p:nvSpPr>
            <p:cNvPr id="61" name="TextBox 862"/>
            <p:cNvSpPr txBox="1">
              <a:spLocks noChangeArrowheads="1"/>
            </p:cNvSpPr>
            <p:nvPr/>
          </p:nvSpPr>
          <p:spPr bwMode="auto">
            <a:xfrm>
              <a:off x="6131445" y="2123430"/>
              <a:ext cx="2307559"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全省首发小微企业专项金融债</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62" name="Straight Connector 873"/>
            <p:cNvCxnSpPr/>
            <p:nvPr/>
          </p:nvCxnSpPr>
          <p:spPr bwMode="auto">
            <a:xfrm>
              <a:off x="5785301" y="2239627"/>
              <a:ext cx="294767" cy="1397"/>
            </a:xfrm>
            <a:prstGeom prst="line">
              <a:avLst/>
            </a:prstGeom>
            <a:noFill/>
            <a:ln w="25400" cap="flat" cmpd="sng" algn="ctr">
              <a:solidFill>
                <a:srgbClr val="111111"/>
              </a:solidFill>
              <a:prstDash val="solid"/>
            </a:ln>
            <a:effectLst/>
          </p:spPr>
        </p:cxnSp>
      </p:grpSp>
      <p:grpSp>
        <p:nvGrpSpPr>
          <p:cNvPr id="67" name="组合 66"/>
          <p:cNvGrpSpPr/>
          <p:nvPr/>
        </p:nvGrpSpPr>
        <p:grpSpPr>
          <a:xfrm>
            <a:off x="7887344" y="2538771"/>
            <a:ext cx="3923276" cy="368280"/>
            <a:chOff x="5700931" y="1654670"/>
            <a:chExt cx="2942457" cy="276210"/>
          </a:xfrm>
        </p:grpSpPr>
        <p:sp>
          <p:nvSpPr>
            <p:cNvPr id="68" name="TextBox 163"/>
            <p:cNvSpPr txBox="1">
              <a:spLocks noChangeArrowheads="1"/>
            </p:cNvSpPr>
            <p:nvPr/>
          </p:nvSpPr>
          <p:spPr bwMode="auto">
            <a:xfrm>
              <a:off x="5700931" y="1654670"/>
              <a:ext cx="55295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en-US" altLang="zh-CN" sz="1600" b="1" kern="0" dirty="0">
                  <a:solidFill>
                    <a:srgbClr val="FFFFFF"/>
                  </a:solidFill>
                  <a:latin typeface="微软雅黑" panose="020B0503020204020204" pitchFamily="34" charset="-122"/>
                  <a:ea typeface="微软雅黑" panose="020B0503020204020204" pitchFamily="34" charset="-122"/>
                </a:rPr>
                <a:t>5</a:t>
              </a:r>
              <a:r>
                <a:rPr lang="zh-CN" altLang="en-US" sz="1600" b="1" kern="0" dirty="0">
                  <a:solidFill>
                    <a:srgbClr val="FFFFFF"/>
                  </a:solidFill>
                  <a:latin typeface="微软雅黑" panose="020B0503020204020204" pitchFamily="34" charset="-122"/>
                  <a:ea typeface="微软雅黑" panose="020B0503020204020204" pitchFamily="34" charset="-122"/>
                </a:rPr>
                <a:t>个</a:t>
              </a:r>
              <a:endParaRPr lang="nb-NO" altLang="zh-CN" sz="1600" b="1" kern="0" dirty="0">
                <a:solidFill>
                  <a:srgbClr val="FFFFFF"/>
                </a:solidFill>
                <a:latin typeface="微软雅黑" panose="020B0503020204020204" pitchFamily="34" charset="-122"/>
                <a:ea typeface="微软雅黑" panose="020B0503020204020204" pitchFamily="34" charset="-122"/>
              </a:endParaRPr>
            </a:p>
          </p:txBody>
        </p:sp>
        <p:sp>
          <p:nvSpPr>
            <p:cNvPr id="69" name="TextBox 864"/>
            <p:cNvSpPr txBox="1">
              <a:spLocks noChangeArrowheads="1"/>
            </p:cNvSpPr>
            <p:nvPr/>
          </p:nvSpPr>
          <p:spPr bwMode="auto">
            <a:xfrm>
              <a:off x="6667699" y="1676965"/>
              <a:ext cx="1975689"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MS PGothic" panose="020B0600070205080204" charset="-128"/>
                </a:defRPr>
              </a:lvl1pPr>
              <a:lvl2pPr marL="742950" indent="-285750" eaLnBrk="0" hangingPunct="0">
                <a:defRPr>
                  <a:solidFill>
                    <a:schemeClr val="tx1"/>
                  </a:solidFill>
                  <a:latin typeface="Calibri" panose="020F0502020204030204" pitchFamily="34" charset="0"/>
                  <a:ea typeface="MS PGothic" panose="020B0600070205080204" charset="-128"/>
                </a:defRPr>
              </a:lvl2pPr>
              <a:lvl3pPr marL="1143000" indent="-228600" eaLnBrk="0" hangingPunct="0">
                <a:defRPr>
                  <a:solidFill>
                    <a:schemeClr val="tx1"/>
                  </a:solidFill>
                  <a:latin typeface="Calibri" panose="020F0502020204030204" pitchFamily="34" charset="0"/>
                  <a:ea typeface="MS PGothic" panose="020B0600070205080204" charset="-128"/>
                </a:defRPr>
              </a:lvl3pPr>
              <a:lvl4pPr marL="1600200" indent="-228600" eaLnBrk="0" hangingPunct="0">
                <a:defRPr>
                  <a:solidFill>
                    <a:schemeClr val="tx1"/>
                  </a:solidFill>
                  <a:latin typeface="Calibri" panose="020F0502020204030204" pitchFamily="34" charset="0"/>
                  <a:ea typeface="MS PGothic" panose="020B0600070205080204" charset="-128"/>
                </a:defRPr>
              </a:lvl4pPr>
              <a:lvl5pPr marL="2057400" indent="-228600" eaLnBrk="0" hangingPunct="0">
                <a:defRPr>
                  <a:solidFill>
                    <a:schemeClr val="tx1"/>
                  </a:solidFill>
                  <a:latin typeface="Calibri" panose="020F050202020403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charset="-128"/>
                </a:defRPr>
              </a:lvl9pPr>
            </a:lstStyle>
            <a:p>
              <a:pPr defTabSz="1219200" eaLnBrk="1" hangingPunct="1">
                <a:defRPr/>
              </a:pPr>
              <a:r>
                <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rPr>
                <a:t>加入珠海各级政府融资平台</a:t>
              </a:r>
              <a:endParaRPr lang="zh-CN" altLang="en-US" sz="1600" b="1" kern="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70" name="Straight Connector 875"/>
            <p:cNvCxnSpPr/>
            <p:nvPr/>
          </p:nvCxnSpPr>
          <p:spPr bwMode="auto">
            <a:xfrm>
              <a:off x="6293763" y="1807058"/>
              <a:ext cx="293371" cy="1397"/>
            </a:xfrm>
            <a:prstGeom prst="line">
              <a:avLst/>
            </a:prstGeom>
            <a:noFill/>
            <a:ln w="25400" cap="flat" cmpd="sng" algn="ctr">
              <a:solidFill>
                <a:srgbClr val="111111"/>
              </a:solidFill>
              <a:prstDash val="solid"/>
            </a:ln>
            <a:effectLst/>
          </p:spPr>
        </p:cxnSp>
      </p:grpSp>
      <p:sp>
        <p:nvSpPr>
          <p:cNvPr id="2" name="标题 1"/>
          <p:cNvSpPr>
            <a:spLocks noGrp="1"/>
          </p:cNvSpPr>
          <p:nvPr>
            <p:ph type="title"/>
          </p:nvPr>
        </p:nvSpPr>
        <p:spPr>
          <a:xfrm>
            <a:off x="670718" y="-14775"/>
            <a:ext cx="10850563" cy="1028699"/>
          </a:xfrm>
        </p:spPr>
        <p:txBody>
          <a:bodyPr/>
          <a:lstStyle/>
          <a:p>
            <a:r>
              <a:rPr lang="zh-CN" altLang="en-US" dirty="0"/>
              <a:t>普惠金融</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1250"/>
                                        <p:tgtEl>
                                          <p:spTgt spid="20"/>
                                        </p:tgtEl>
                                      </p:cBhvr>
                                    </p:animEffect>
                                  </p:childTnLst>
                                </p:cTn>
                              </p:par>
                            </p:childTnLst>
                          </p:cTn>
                        </p:par>
                        <p:par>
                          <p:cTn id="8" fill="hold">
                            <p:stCondLst>
                              <p:cond delay="1500"/>
                            </p:stCondLst>
                            <p:childTnLst>
                              <p:par>
                                <p:cTn id="9" presetID="22" presetClass="entr" presetSubtype="4"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wipe(down)">
                                      <p:cBhvr>
                                        <p:cTn id="11" dur="500"/>
                                        <p:tgtEl>
                                          <p:spTgt spid="38"/>
                                        </p:tgtEl>
                                      </p:cBhvr>
                                    </p:animEffect>
                                  </p:childTnLst>
                                </p:cTn>
                              </p:par>
                            </p:childTnLst>
                          </p:cTn>
                        </p:par>
                        <p:par>
                          <p:cTn id="12" fill="hold">
                            <p:stCondLst>
                              <p:cond delay="2000"/>
                            </p:stCondLst>
                            <p:childTnLst>
                              <p:par>
                                <p:cTn id="13" presetID="53" presetClass="entr" presetSubtype="16"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p:cTn id="15" dur="500" fill="hold"/>
                                        <p:tgtEl>
                                          <p:spTgt spid="11"/>
                                        </p:tgtEl>
                                        <p:attrNameLst>
                                          <p:attrName>ppt_w</p:attrName>
                                        </p:attrNameLst>
                                      </p:cBhvr>
                                      <p:tavLst>
                                        <p:tav tm="0">
                                          <p:val>
                                            <p:fltVal val="0"/>
                                          </p:val>
                                        </p:tav>
                                        <p:tav tm="100000">
                                          <p:val>
                                            <p:strVal val="#ppt_w"/>
                                          </p:val>
                                        </p:tav>
                                      </p:tavLst>
                                    </p:anim>
                                    <p:anim calcmode="lin" valueType="num">
                                      <p:cBhvr>
                                        <p:cTn id="16" dur="500" fill="hold"/>
                                        <p:tgtEl>
                                          <p:spTgt spid="11"/>
                                        </p:tgtEl>
                                        <p:attrNameLst>
                                          <p:attrName>ppt_h</p:attrName>
                                        </p:attrNameLst>
                                      </p:cBhvr>
                                      <p:tavLst>
                                        <p:tav tm="0">
                                          <p:val>
                                            <p:fltVal val="0"/>
                                          </p:val>
                                        </p:tav>
                                        <p:tav tm="100000">
                                          <p:val>
                                            <p:strVal val="#ppt_h"/>
                                          </p:val>
                                        </p:tav>
                                      </p:tavLst>
                                    </p:anim>
                                    <p:animEffect transition="in" filter="fade">
                                      <p:cBhvr>
                                        <p:cTn id="17" dur="500"/>
                                        <p:tgtEl>
                                          <p:spTgt spid="11"/>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67"/>
                                        </p:tgtEl>
                                        <p:attrNameLst>
                                          <p:attrName>style.visibility</p:attrName>
                                        </p:attrNameLst>
                                      </p:cBhvr>
                                      <p:to>
                                        <p:strVal val="visible"/>
                                      </p:to>
                                    </p:set>
                                    <p:animEffect transition="in" filter="fade">
                                      <p:cBhvr>
                                        <p:cTn id="21" dur="500"/>
                                        <p:tgtEl>
                                          <p:spTgt spid="67"/>
                                        </p:tgtEl>
                                      </p:cBhvr>
                                    </p:animEffect>
                                  </p:childTnLst>
                                </p:cTn>
                              </p:par>
                            </p:childTnLst>
                          </p:cTn>
                        </p:par>
                        <p:par>
                          <p:cTn id="22" fill="hold">
                            <p:stCondLst>
                              <p:cond delay="3000"/>
                            </p:stCondLst>
                            <p:childTnLst>
                              <p:par>
                                <p:cTn id="23" presetID="53" presetClass="entr" presetSubtype="16"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p:cTn id="25" dur="500" fill="hold"/>
                                        <p:tgtEl>
                                          <p:spTgt spid="17"/>
                                        </p:tgtEl>
                                        <p:attrNameLst>
                                          <p:attrName>ppt_w</p:attrName>
                                        </p:attrNameLst>
                                      </p:cBhvr>
                                      <p:tavLst>
                                        <p:tav tm="0">
                                          <p:val>
                                            <p:fltVal val="0"/>
                                          </p:val>
                                        </p:tav>
                                        <p:tav tm="100000">
                                          <p:val>
                                            <p:strVal val="#ppt_w"/>
                                          </p:val>
                                        </p:tav>
                                      </p:tavLst>
                                    </p:anim>
                                    <p:anim calcmode="lin" valueType="num">
                                      <p:cBhvr>
                                        <p:cTn id="26" dur="500" fill="hold"/>
                                        <p:tgtEl>
                                          <p:spTgt spid="17"/>
                                        </p:tgtEl>
                                        <p:attrNameLst>
                                          <p:attrName>ppt_h</p:attrName>
                                        </p:attrNameLst>
                                      </p:cBhvr>
                                      <p:tavLst>
                                        <p:tav tm="0">
                                          <p:val>
                                            <p:fltVal val="0"/>
                                          </p:val>
                                        </p:tav>
                                        <p:tav tm="100000">
                                          <p:val>
                                            <p:strVal val="#ppt_h"/>
                                          </p:val>
                                        </p:tav>
                                      </p:tavLst>
                                    </p:anim>
                                    <p:animEffect transition="in" filter="fade">
                                      <p:cBhvr>
                                        <p:cTn id="27" dur="500"/>
                                        <p:tgtEl>
                                          <p:spTgt spid="17"/>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250"/>
                                        <p:tgtEl>
                                          <p:spTgt spid="59"/>
                                        </p:tgtEl>
                                      </p:cBhvr>
                                    </p:animEffect>
                                  </p:childTnLst>
                                </p:cTn>
                              </p:par>
                            </p:childTnLst>
                          </p:cTn>
                        </p:par>
                        <p:par>
                          <p:cTn id="32" fill="hold">
                            <p:stCondLst>
                              <p:cond delay="4000"/>
                            </p:stCondLst>
                            <p:childTnLst>
                              <p:par>
                                <p:cTn id="33" presetID="53" presetClass="entr" presetSubtype="16"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p:cTn id="35" dur="250" fill="hold"/>
                                        <p:tgtEl>
                                          <p:spTgt spid="23"/>
                                        </p:tgtEl>
                                        <p:attrNameLst>
                                          <p:attrName>ppt_w</p:attrName>
                                        </p:attrNameLst>
                                      </p:cBhvr>
                                      <p:tavLst>
                                        <p:tav tm="0">
                                          <p:val>
                                            <p:fltVal val="0"/>
                                          </p:val>
                                        </p:tav>
                                        <p:tav tm="100000">
                                          <p:val>
                                            <p:strVal val="#ppt_w"/>
                                          </p:val>
                                        </p:tav>
                                      </p:tavLst>
                                    </p:anim>
                                    <p:anim calcmode="lin" valueType="num">
                                      <p:cBhvr>
                                        <p:cTn id="36" dur="250" fill="hold"/>
                                        <p:tgtEl>
                                          <p:spTgt spid="23"/>
                                        </p:tgtEl>
                                        <p:attrNameLst>
                                          <p:attrName>ppt_h</p:attrName>
                                        </p:attrNameLst>
                                      </p:cBhvr>
                                      <p:tavLst>
                                        <p:tav tm="0">
                                          <p:val>
                                            <p:fltVal val="0"/>
                                          </p:val>
                                        </p:tav>
                                        <p:tav tm="100000">
                                          <p:val>
                                            <p:strVal val="#ppt_h"/>
                                          </p:val>
                                        </p:tav>
                                      </p:tavLst>
                                    </p:anim>
                                    <p:animEffect transition="in" filter="fade">
                                      <p:cBhvr>
                                        <p:cTn id="37" dur="250"/>
                                        <p:tgtEl>
                                          <p:spTgt spid="23"/>
                                        </p:tgtEl>
                                      </p:cBhvr>
                                    </p:animEffect>
                                  </p:childTnLst>
                                </p:cTn>
                              </p:par>
                            </p:childTnLst>
                          </p:cTn>
                        </p:par>
                        <p:par>
                          <p:cTn id="38" fill="hold">
                            <p:stCondLst>
                              <p:cond delay="4500"/>
                            </p:stCondLst>
                            <p:childTnLst>
                              <p:par>
                                <p:cTn id="39" presetID="10" presetClass="entr" presetSubtype="0" fill="hold" nodeType="after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250"/>
                                        <p:tgtEl>
                                          <p:spTgt spid="55"/>
                                        </p:tgtEl>
                                      </p:cBhvr>
                                    </p:animEffect>
                                  </p:childTnLst>
                                </p:cTn>
                              </p:par>
                            </p:childTnLst>
                          </p:cTn>
                        </p:par>
                        <p:par>
                          <p:cTn id="42" fill="hold">
                            <p:stCondLst>
                              <p:cond delay="5000"/>
                            </p:stCondLst>
                            <p:childTnLst>
                              <p:par>
                                <p:cTn id="43" presetID="53" presetClass="entr" presetSubtype="16" fill="hold" nodeType="afterEffect">
                                  <p:stCondLst>
                                    <p:cond delay="0"/>
                                  </p:stCondLst>
                                  <p:childTnLst>
                                    <p:set>
                                      <p:cBhvr>
                                        <p:cTn id="44" dur="1" fill="hold">
                                          <p:stCondLst>
                                            <p:cond delay="0"/>
                                          </p:stCondLst>
                                        </p:cTn>
                                        <p:tgtEl>
                                          <p:spTgt spid="26"/>
                                        </p:tgtEl>
                                        <p:attrNameLst>
                                          <p:attrName>style.visibility</p:attrName>
                                        </p:attrNameLst>
                                      </p:cBhvr>
                                      <p:to>
                                        <p:strVal val="visible"/>
                                      </p:to>
                                    </p:set>
                                    <p:anim calcmode="lin" valueType="num">
                                      <p:cBhvr>
                                        <p:cTn id="45" dur="250" fill="hold"/>
                                        <p:tgtEl>
                                          <p:spTgt spid="26"/>
                                        </p:tgtEl>
                                        <p:attrNameLst>
                                          <p:attrName>ppt_w</p:attrName>
                                        </p:attrNameLst>
                                      </p:cBhvr>
                                      <p:tavLst>
                                        <p:tav tm="0">
                                          <p:val>
                                            <p:fltVal val="0"/>
                                          </p:val>
                                        </p:tav>
                                        <p:tav tm="100000">
                                          <p:val>
                                            <p:strVal val="#ppt_w"/>
                                          </p:val>
                                        </p:tav>
                                      </p:tavLst>
                                    </p:anim>
                                    <p:anim calcmode="lin" valueType="num">
                                      <p:cBhvr>
                                        <p:cTn id="46" dur="250" fill="hold"/>
                                        <p:tgtEl>
                                          <p:spTgt spid="26"/>
                                        </p:tgtEl>
                                        <p:attrNameLst>
                                          <p:attrName>ppt_h</p:attrName>
                                        </p:attrNameLst>
                                      </p:cBhvr>
                                      <p:tavLst>
                                        <p:tav tm="0">
                                          <p:val>
                                            <p:fltVal val="0"/>
                                          </p:val>
                                        </p:tav>
                                        <p:tav tm="100000">
                                          <p:val>
                                            <p:strVal val="#ppt_h"/>
                                          </p:val>
                                        </p:tav>
                                      </p:tavLst>
                                    </p:anim>
                                    <p:animEffect transition="in" filter="fade">
                                      <p:cBhvr>
                                        <p:cTn id="47" dur="250"/>
                                        <p:tgtEl>
                                          <p:spTgt spid="26"/>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51"/>
                                        </p:tgtEl>
                                        <p:attrNameLst>
                                          <p:attrName>style.visibility</p:attrName>
                                        </p:attrNameLst>
                                      </p:cBhvr>
                                      <p:to>
                                        <p:strVal val="visible"/>
                                      </p:to>
                                    </p:set>
                                    <p:animEffect transition="in" filter="fade">
                                      <p:cBhvr>
                                        <p:cTn id="51" dur="300"/>
                                        <p:tgtEl>
                                          <p:spTgt spid="51"/>
                                        </p:tgtEl>
                                      </p:cBhvr>
                                    </p:animEffect>
                                  </p:childTnLst>
                                </p:cTn>
                              </p:par>
                            </p:childTnLst>
                          </p:cTn>
                        </p:par>
                        <p:par>
                          <p:cTn id="52" fill="hold">
                            <p:stCondLst>
                              <p:cond delay="6000"/>
                            </p:stCondLst>
                            <p:childTnLst>
                              <p:par>
                                <p:cTn id="53" presetID="53" presetClass="entr" presetSubtype="16"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 calcmode="lin" valueType="num">
                                      <p:cBhvr>
                                        <p:cTn id="55" dur="300" fill="hold"/>
                                        <p:tgtEl>
                                          <p:spTgt spid="29"/>
                                        </p:tgtEl>
                                        <p:attrNameLst>
                                          <p:attrName>ppt_w</p:attrName>
                                        </p:attrNameLst>
                                      </p:cBhvr>
                                      <p:tavLst>
                                        <p:tav tm="0">
                                          <p:val>
                                            <p:fltVal val="0"/>
                                          </p:val>
                                        </p:tav>
                                        <p:tav tm="100000">
                                          <p:val>
                                            <p:strVal val="#ppt_w"/>
                                          </p:val>
                                        </p:tav>
                                      </p:tavLst>
                                    </p:anim>
                                    <p:anim calcmode="lin" valueType="num">
                                      <p:cBhvr>
                                        <p:cTn id="56" dur="300" fill="hold"/>
                                        <p:tgtEl>
                                          <p:spTgt spid="29"/>
                                        </p:tgtEl>
                                        <p:attrNameLst>
                                          <p:attrName>ppt_h</p:attrName>
                                        </p:attrNameLst>
                                      </p:cBhvr>
                                      <p:tavLst>
                                        <p:tav tm="0">
                                          <p:val>
                                            <p:fltVal val="0"/>
                                          </p:val>
                                        </p:tav>
                                        <p:tav tm="100000">
                                          <p:val>
                                            <p:strVal val="#ppt_h"/>
                                          </p:val>
                                        </p:tav>
                                      </p:tavLst>
                                    </p:anim>
                                    <p:animEffect transition="in" filter="fade">
                                      <p:cBhvr>
                                        <p:cTn id="57" dur="300"/>
                                        <p:tgtEl>
                                          <p:spTgt spid="29"/>
                                        </p:tgtEl>
                                      </p:cBhvr>
                                    </p:animEffect>
                                  </p:childTnLst>
                                </p:cTn>
                              </p:par>
                            </p:childTnLst>
                          </p:cTn>
                        </p:par>
                        <p:par>
                          <p:cTn id="58" fill="hold">
                            <p:stCondLst>
                              <p:cond delay="6500"/>
                            </p:stCondLst>
                            <p:childTnLst>
                              <p:par>
                                <p:cTn id="59" presetID="10" presetClass="entr" presetSubtype="0" fill="hold" nodeType="afterEffect">
                                  <p:stCondLst>
                                    <p:cond delay="0"/>
                                  </p:stCondLst>
                                  <p:childTnLst>
                                    <p:set>
                                      <p:cBhvr>
                                        <p:cTn id="60" dur="1" fill="hold">
                                          <p:stCondLst>
                                            <p:cond delay="0"/>
                                          </p:stCondLst>
                                        </p:cTn>
                                        <p:tgtEl>
                                          <p:spTgt spid="47"/>
                                        </p:tgtEl>
                                        <p:attrNameLst>
                                          <p:attrName>style.visibility</p:attrName>
                                        </p:attrNameLst>
                                      </p:cBhvr>
                                      <p:to>
                                        <p:strVal val="visible"/>
                                      </p:to>
                                    </p:set>
                                    <p:animEffect transition="in" filter="fade">
                                      <p:cBhvr>
                                        <p:cTn id="61" dur="300"/>
                                        <p:tgtEl>
                                          <p:spTgt spid="47"/>
                                        </p:tgtEl>
                                      </p:cBhvr>
                                    </p:animEffect>
                                  </p:childTnLst>
                                </p:cTn>
                              </p:par>
                            </p:childTnLst>
                          </p:cTn>
                        </p:par>
                        <p:par>
                          <p:cTn id="62" fill="hold">
                            <p:stCondLst>
                              <p:cond delay="7000"/>
                            </p:stCondLst>
                            <p:childTnLst>
                              <p:par>
                                <p:cTn id="63" presetID="53" presetClass="entr" presetSubtype="16"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 calcmode="lin" valueType="num">
                                      <p:cBhvr>
                                        <p:cTn id="65" dur="300" fill="hold"/>
                                        <p:tgtEl>
                                          <p:spTgt spid="32"/>
                                        </p:tgtEl>
                                        <p:attrNameLst>
                                          <p:attrName>ppt_w</p:attrName>
                                        </p:attrNameLst>
                                      </p:cBhvr>
                                      <p:tavLst>
                                        <p:tav tm="0">
                                          <p:val>
                                            <p:fltVal val="0"/>
                                          </p:val>
                                        </p:tav>
                                        <p:tav tm="100000">
                                          <p:val>
                                            <p:strVal val="#ppt_w"/>
                                          </p:val>
                                        </p:tav>
                                      </p:tavLst>
                                    </p:anim>
                                    <p:anim calcmode="lin" valueType="num">
                                      <p:cBhvr>
                                        <p:cTn id="66" dur="300" fill="hold"/>
                                        <p:tgtEl>
                                          <p:spTgt spid="32"/>
                                        </p:tgtEl>
                                        <p:attrNameLst>
                                          <p:attrName>ppt_h</p:attrName>
                                        </p:attrNameLst>
                                      </p:cBhvr>
                                      <p:tavLst>
                                        <p:tav tm="0">
                                          <p:val>
                                            <p:fltVal val="0"/>
                                          </p:val>
                                        </p:tav>
                                        <p:tav tm="100000">
                                          <p:val>
                                            <p:strVal val="#ppt_h"/>
                                          </p:val>
                                        </p:tav>
                                      </p:tavLst>
                                    </p:anim>
                                    <p:animEffect transition="in" filter="fade">
                                      <p:cBhvr>
                                        <p:cTn id="67" dur="300"/>
                                        <p:tgtEl>
                                          <p:spTgt spid="32"/>
                                        </p:tgtEl>
                                      </p:cBhvr>
                                    </p:animEffect>
                                  </p:childTnLst>
                                </p:cTn>
                              </p:par>
                            </p:childTnLst>
                          </p:cTn>
                        </p:par>
                        <p:par>
                          <p:cTn id="68" fill="hold">
                            <p:stCondLst>
                              <p:cond delay="7500"/>
                            </p:stCondLst>
                            <p:childTnLst>
                              <p:par>
                                <p:cTn id="69" presetID="10" presetClass="entr" presetSubtype="0" fill="hold" nodeType="afterEffect">
                                  <p:stCondLst>
                                    <p:cond delay="0"/>
                                  </p:stCondLst>
                                  <p:childTnLst>
                                    <p:set>
                                      <p:cBhvr>
                                        <p:cTn id="70" dur="1" fill="hold">
                                          <p:stCondLst>
                                            <p:cond delay="0"/>
                                          </p:stCondLst>
                                        </p:cTn>
                                        <p:tgtEl>
                                          <p:spTgt spid="43"/>
                                        </p:tgtEl>
                                        <p:attrNameLst>
                                          <p:attrName>style.visibility</p:attrName>
                                        </p:attrNameLst>
                                      </p:cBhvr>
                                      <p:to>
                                        <p:strVal val="visible"/>
                                      </p:to>
                                    </p:set>
                                    <p:animEffect transition="in" filter="fade">
                                      <p:cBhvr>
                                        <p:cTn id="71" dur="300"/>
                                        <p:tgtEl>
                                          <p:spTgt spid="43"/>
                                        </p:tgtEl>
                                      </p:cBhvr>
                                    </p:animEffect>
                                  </p:childTnLst>
                                </p:cTn>
                              </p:par>
                            </p:childTnLst>
                          </p:cTn>
                        </p:par>
                        <p:par>
                          <p:cTn id="72" fill="hold">
                            <p:stCondLst>
                              <p:cond delay="8000"/>
                            </p:stCondLst>
                            <p:childTnLst>
                              <p:par>
                                <p:cTn id="73" presetID="53" presetClass="entr" presetSubtype="16" fill="hold" nodeType="afterEffect">
                                  <p:stCondLst>
                                    <p:cond delay="0"/>
                                  </p:stCondLst>
                                  <p:childTnLst>
                                    <p:set>
                                      <p:cBhvr>
                                        <p:cTn id="74" dur="1" fill="hold">
                                          <p:stCondLst>
                                            <p:cond delay="0"/>
                                          </p:stCondLst>
                                        </p:cTn>
                                        <p:tgtEl>
                                          <p:spTgt spid="35"/>
                                        </p:tgtEl>
                                        <p:attrNameLst>
                                          <p:attrName>style.visibility</p:attrName>
                                        </p:attrNameLst>
                                      </p:cBhvr>
                                      <p:to>
                                        <p:strVal val="visible"/>
                                      </p:to>
                                    </p:set>
                                    <p:anim calcmode="lin" valueType="num">
                                      <p:cBhvr>
                                        <p:cTn id="75" dur="300" fill="hold"/>
                                        <p:tgtEl>
                                          <p:spTgt spid="35"/>
                                        </p:tgtEl>
                                        <p:attrNameLst>
                                          <p:attrName>ppt_w</p:attrName>
                                        </p:attrNameLst>
                                      </p:cBhvr>
                                      <p:tavLst>
                                        <p:tav tm="0">
                                          <p:val>
                                            <p:fltVal val="0"/>
                                          </p:val>
                                        </p:tav>
                                        <p:tav tm="100000">
                                          <p:val>
                                            <p:strVal val="#ppt_w"/>
                                          </p:val>
                                        </p:tav>
                                      </p:tavLst>
                                    </p:anim>
                                    <p:anim calcmode="lin" valueType="num">
                                      <p:cBhvr>
                                        <p:cTn id="76" dur="300" fill="hold"/>
                                        <p:tgtEl>
                                          <p:spTgt spid="35"/>
                                        </p:tgtEl>
                                        <p:attrNameLst>
                                          <p:attrName>ppt_h</p:attrName>
                                        </p:attrNameLst>
                                      </p:cBhvr>
                                      <p:tavLst>
                                        <p:tav tm="0">
                                          <p:val>
                                            <p:fltVal val="0"/>
                                          </p:val>
                                        </p:tav>
                                        <p:tav tm="100000">
                                          <p:val>
                                            <p:strVal val="#ppt_h"/>
                                          </p:val>
                                        </p:tav>
                                      </p:tavLst>
                                    </p:anim>
                                    <p:animEffect transition="in" filter="fade">
                                      <p:cBhvr>
                                        <p:cTn id="77" dur="300"/>
                                        <p:tgtEl>
                                          <p:spTgt spid="35"/>
                                        </p:tgtEl>
                                      </p:cBhvr>
                                    </p:animEffect>
                                  </p:childTnLst>
                                </p:cTn>
                              </p:par>
                            </p:childTnLst>
                          </p:cTn>
                        </p:par>
                        <p:par>
                          <p:cTn id="78" fill="hold">
                            <p:stCondLst>
                              <p:cond delay="8500"/>
                            </p:stCondLst>
                            <p:childTnLst>
                              <p:par>
                                <p:cTn id="79" presetID="10" presetClass="entr" presetSubtype="0" fill="hold" nodeType="afterEffect">
                                  <p:stCondLst>
                                    <p:cond delay="0"/>
                                  </p:stCondLst>
                                  <p:childTnLst>
                                    <p:set>
                                      <p:cBhvr>
                                        <p:cTn id="80" dur="1" fill="hold">
                                          <p:stCondLst>
                                            <p:cond delay="0"/>
                                          </p:stCondLst>
                                        </p:cTn>
                                        <p:tgtEl>
                                          <p:spTgt spid="39"/>
                                        </p:tgtEl>
                                        <p:attrNameLst>
                                          <p:attrName>style.visibility</p:attrName>
                                        </p:attrNameLst>
                                      </p:cBhvr>
                                      <p:to>
                                        <p:strVal val="visible"/>
                                      </p:to>
                                    </p:set>
                                    <p:animEffect transition="in" filter="fade">
                                      <p:cBhvr>
                                        <p:cTn id="81" dur="3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noChangeArrowheads="1"/>
          </p:cNvSpPr>
          <p:nvPr>
            <p:ph type="title"/>
          </p:nvPr>
        </p:nvSpPr>
        <p:spPr/>
        <p:txBody>
          <a:bodyPr/>
          <a:lstStyle/>
          <a:p>
            <a:r>
              <a:rPr lang="zh-CN" altLang="zh-CN" dirty="0"/>
              <a:t>全面满足</a:t>
            </a:r>
            <a:r>
              <a:rPr lang="zh-CN" altLang="en-US" dirty="0"/>
              <a:t>企业</a:t>
            </a:r>
            <a:r>
              <a:rPr lang="zh-CN" altLang="zh-CN" dirty="0"/>
              <a:t>疫情防控金融需求</a:t>
            </a:r>
            <a:endParaRPr lang="zh-CN" altLang="zh-CN" dirty="0"/>
          </a:p>
        </p:txBody>
      </p:sp>
      <p:grpSp>
        <p:nvGrpSpPr>
          <p:cNvPr id="23555" name="27200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custDataLst>
              <p:tags r:id="rId1"/>
            </p:custDataLst>
          </p:nvPr>
        </p:nvGrpSpPr>
        <p:grpSpPr bwMode="auto">
          <a:xfrm>
            <a:off x="657225" y="1514475"/>
            <a:ext cx="10931525" cy="4019550"/>
            <a:chOff x="656910" y="1515204"/>
            <a:chExt cx="10932118" cy="4019199"/>
          </a:xfrm>
        </p:grpSpPr>
        <p:sp>
          <p:nvSpPr>
            <p:cNvPr id="6" name="iṧ1ïḋè"/>
            <p:cNvSpPr/>
            <p:nvPr/>
          </p:nvSpPr>
          <p:spPr bwMode="auto">
            <a:xfrm>
              <a:off x="3840021" y="1802517"/>
              <a:ext cx="2232146" cy="1703238"/>
            </a:xfrm>
            <a:custGeom>
              <a:avLst/>
              <a:gdLst/>
              <a:ahLst/>
              <a:cxnLst>
                <a:cxn ang="0">
                  <a:pos x="197" y="291"/>
                </a:cxn>
                <a:cxn ang="0">
                  <a:pos x="8" y="291"/>
                </a:cxn>
                <a:cxn ang="0">
                  <a:pos x="0" y="299"/>
                </a:cxn>
                <a:cxn ang="0">
                  <a:pos x="0" y="487"/>
                </a:cxn>
                <a:cxn ang="0">
                  <a:pos x="8" y="495"/>
                </a:cxn>
                <a:cxn ang="0">
                  <a:pos x="153" y="495"/>
                </a:cxn>
                <a:cxn ang="0">
                  <a:pos x="298" y="495"/>
                </a:cxn>
                <a:cxn ang="0">
                  <a:pos x="342" y="495"/>
                </a:cxn>
                <a:cxn ang="0">
                  <a:pos x="648" y="189"/>
                </a:cxn>
                <a:cxn ang="0">
                  <a:pos x="648" y="0"/>
                </a:cxn>
                <a:cxn ang="0">
                  <a:pos x="197" y="291"/>
                </a:cxn>
              </a:cxnLst>
              <a:rect l="0" t="0" r="r" b="b"/>
              <a:pathLst>
                <a:path w="648" h="495">
                  <a:moveTo>
                    <a:pt x="197" y="291"/>
                  </a:moveTo>
                  <a:cubicBezTo>
                    <a:pt x="8" y="291"/>
                    <a:pt x="8" y="291"/>
                    <a:pt x="8" y="291"/>
                  </a:cubicBezTo>
                  <a:cubicBezTo>
                    <a:pt x="4" y="291"/>
                    <a:pt x="0" y="294"/>
                    <a:pt x="0" y="299"/>
                  </a:cubicBezTo>
                  <a:cubicBezTo>
                    <a:pt x="0" y="487"/>
                    <a:pt x="0" y="487"/>
                    <a:pt x="0" y="487"/>
                  </a:cubicBezTo>
                  <a:cubicBezTo>
                    <a:pt x="0" y="491"/>
                    <a:pt x="4" y="495"/>
                    <a:pt x="8" y="495"/>
                  </a:cubicBezTo>
                  <a:cubicBezTo>
                    <a:pt x="153" y="495"/>
                    <a:pt x="153" y="495"/>
                    <a:pt x="153" y="495"/>
                  </a:cubicBezTo>
                  <a:cubicBezTo>
                    <a:pt x="298" y="495"/>
                    <a:pt x="298" y="495"/>
                    <a:pt x="298" y="495"/>
                  </a:cubicBezTo>
                  <a:cubicBezTo>
                    <a:pt x="342" y="495"/>
                    <a:pt x="342" y="495"/>
                    <a:pt x="342" y="495"/>
                  </a:cubicBezTo>
                  <a:cubicBezTo>
                    <a:pt x="342" y="326"/>
                    <a:pt x="479" y="189"/>
                    <a:pt x="648" y="189"/>
                  </a:cubicBezTo>
                  <a:cubicBezTo>
                    <a:pt x="648" y="0"/>
                    <a:pt x="648" y="0"/>
                    <a:pt x="648" y="0"/>
                  </a:cubicBezTo>
                  <a:cubicBezTo>
                    <a:pt x="447" y="0"/>
                    <a:pt x="275" y="119"/>
                    <a:pt x="197" y="291"/>
                  </a:cubicBezTo>
                  <a:close/>
                </a:path>
              </a:pathLst>
            </a:custGeom>
            <a:solidFill>
              <a:schemeClr val="bg1">
                <a:lumMod val="95000"/>
              </a:schemeClr>
            </a:solidFill>
            <a:ln w="9525">
              <a:noFill/>
              <a:round/>
            </a:ln>
          </p:spPr>
          <p:txBody>
            <a:bodyPr>
              <a:normAutofit/>
            </a:bodyPr>
            <a:lstStyle/>
            <a:p>
              <a:pPr eaLnBrk="1" fontAlgn="auto" hangingPunct="1">
                <a:spcBef>
                  <a:spcPts val="0"/>
                </a:spcBef>
                <a:spcAft>
                  <a:spcPts val="0"/>
                </a:spcAft>
                <a:defRPr/>
              </a:pPr>
              <a:endParaRPr lang="en-US" dirty="0">
                <a:latin typeface="+mn-lt"/>
                <a:ea typeface="+mn-ea"/>
              </a:endParaRPr>
            </a:p>
          </p:txBody>
        </p:sp>
        <p:sp>
          <p:nvSpPr>
            <p:cNvPr id="7" name="iṧļîḓê"/>
            <p:cNvSpPr/>
            <p:nvPr/>
          </p:nvSpPr>
          <p:spPr bwMode="auto">
            <a:xfrm>
              <a:off x="3840021" y="3551789"/>
              <a:ext cx="2232146" cy="1708001"/>
            </a:xfrm>
            <a:custGeom>
              <a:avLst/>
              <a:gdLst/>
              <a:ahLst/>
              <a:cxnLst>
                <a:cxn ang="0">
                  <a:pos x="342" y="0"/>
                </a:cxn>
                <a:cxn ang="0">
                  <a:pos x="298" y="0"/>
                </a:cxn>
                <a:cxn ang="0">
                  <a:pos x="153" y="0"/>
                </a:cxn>
                <a:cxn ang="0">
                  <a:pos x="8" y="0"/>
                </a:cxn>
                <a:cxn ang="0">
                  <a:pos x="0" y="8"/>
                </a:cxn>
                <a:cxn ang="0">
                  <a:pos x="0" y="196"/>
                </a:cxn>
                <a:cxn ang="0">
                  <a:pos x="8" y="204"/>
                </a:cxn>
                <a:cxn ang="0">
                  <a:pos x="197" y="204"/>
                </a:cxn>
                <a:cxn ang="0">
                  <a:pos x="648" y="495"/>
                </a:cxn>
                <a:cxn ang="0">
                  <a:pos x="648" y="306"/>
                </a:cxn>
                <a:cxn ang="0">
                  <a:pos x="342" y="0"/>
                </a:cxn>
              </a:cxnLst>
              <a:rect l="0" t="0" r="r" b="b"/>
              <a:pathLst>
                <a:path w="648" h="495">
                  <a:moveTo>
                    <a:pt x="342" y="0"/>
                  </a:moveTo>
                  <a:cubicBezTo>
                    <a:pt x="298" y="0"/>
                    <a:pt x="298" y="0"/>
                    <a:pt x="298" y="0"/>
                  </a:cubicBezTo>
                  <a:cubicBezTo>
                    <a:pt x="153" y="0"/>
                    <a:pt x="153" y="0"/>
                    <a:pt x="153" y="0"/>
                  </a:cubicBezTo>
                  <a:cubicBezTo>
                    <a:pt x="8" y="0"/>
                    <a:pt x="8" y="0"/>
                    <a:pt x="8" y="0"/>
                  </a:cubicBezTo>
                  <a:cubicBezTo>
                    <a:pt x="4" y="0"/>
                    <a:pt x="0" y="4"/>
                    <a:pt x="0" y="8"/>
                  </a:cubicBezTo>
                  <a:cubicBezTo>
                    <a:pt x="0" y="196"/>
                    <a:pt x="0" y="196"/>
                    <a:pt x="0" y="196"/>
                  </a:cubicBezTo>
                  <a:cubicBezTo>
                    <a:pt x="0" y="200"/>
                    <a:pt x="4" y="204"/>
                    <a:pt x="8" y="204"/>
                  </a:cubicBezTo>
                  <a:cubicBezTo>
                    <a:pt x="197" y="204"/>
                    <a:pt x="197" y="204"/>
                    <a:pt x="197" y="204"/>
                  </a:cubicBezTo>
                  <a:cubicBezTo>
                    <a:pt x="275" y="376"/>
                    <a:pt x="447" y="495"/>
                    <a:pt x="648" y="495"/>
                  </a:cubicBezTo>
                  <a:cubicBezTo>
                    <a:pt x="648" y="306"/>
                    <a:pt x="648" y="306"/>
                    <a:pt x="648" y="306"/>
                  </a:cubicBezTo>
                  <a:cubicBezTo>
                    <a:pt x="479" y="306"/>
                    <a:pt x="342" y="169"/>
                    <a:pt x="342" y="0"/>
                  </a:cubicBezTo>
                  <a:close/>
                </a:path>
              </a:pathLst>
            </a:custGeom>
            <a:solidFill>
              <a:schemeClr val="bg1">
                <a:lumMod val="95000"/>
              </a:schemeClr>
            </a:solidFill>
            <a:ln w="9525">
              <a:noFill/>
              <a:round/>
            </a:ln>
          </p:spPr>
          <p:txBody>
            <a:bodyPr>
              <a:normAutofit/>
            </a:bodyPr>
            <a:lstStyle/>
            <a:p>
              <a:pPr eaLnBrk="1" fontAlgn="auto" hangingPunct="1">
                <a:spcBef>
                  <a:spcPts val="0"/>
                </a:spcBef>
                <a:spcAft>
                  <a:spcPts val="0"/>
                </a:spcAft>
                <a:defRPr/>
              </a:pPr>
              <a:endParaRPr lang="en-US" dirty="0">
                <a:latin typeface="+mn-lt"/>
                <a:ea typeface="+mn-ea"/>
              </a:endParaRPr>
            </a:p>
          </p:txBody>
        </p:sp>
        <p:sp>
          <p:nvSpPr>
            <p:cNvPr id="8" name="iṥ1íḍê"/>
            <p:cNvSpPr/>
            <p:nvPr/>
          </p:nvSpPr>
          <p:spPr bwMode="auto">
            <a:xfrm>
              <a:off x="6122970" y="1802517"/>
              <a:ext cx="2228971" cy="1703238"/>
            </a:xfrm>
            <a:custGeom>
              <a:avLst/>
              <a:gdLst/>
              <a:ahLst/>
              <a:cxnLst>
                <a:cxn ang="0">
                  <a:pos x="639" y="291"/>
                </a:cxn>
                <a:cxn ang="0">
                  <a:pos x="451" y="291"/>
                </a:cxn>
                <a:cxn ang="0">
                  <a:pos x="0" y="0"/>
                </a:cxn>
                <a:cxn ang="0">
                  <a:pos x="0" y="189"/>
                </a:cxn>
                <a:cxn ang="0">
                  <a:pos x="305" y="495"/>
                </a:cxn>
                <a:cxn ang="0">
                  <a:pos x="350" y="495"/>
                </a:cxn>
                <a:cxn ang="0">
                  <a:pos x="495" y="495"/>
                </a:cxn>
                <a:cxn ang="0">
                  <a:pos x="639" y="495"/>
                </a:cxn>
                <a:cxn ang="0">
                  <a:pos x="647" y="487"/>
                </a:cxn>
                <a:cxn ang="0">
                  <a:pos x="647" y="299"/>
                </a:cxn>
                <a:cxn ang="0">
                  <a:pos x="639" y="291"/>
                </a:cxn>
              </a:cxnLst>
              <a:rect l="0" t="0" r="r" b="b"/>
              <a:pathLst>
                <a:path w="647" h="495">
                  <a:moveTo>
                    <a:pt x="639" y="291"/>
                  </a:moveTo>
                  <a:cubicBezTo>
                    <a:pt x="451" y="291"/>
                    <a:pt x="451" y="291"/>
                    <a:pt x="451" y="291"/>
                  </a:cubicBezTo>
                  <a:cubicBezTo>
                    <a:pt x="373" y="119"/>
                    <a:pt x="200" y="0"/>
                    <a:pt x="0" y="0"/>
                  </a:cubicBezTo>
                  <a:cubicBezTo>
                    <a:pt x="0" y="189"/>
                    <a:pt x="0" y="189"/>
                    <a:pt x="0" y="189"/>
                  </a:cubicBezTo>
                  <a:cubicBezTo>
                    <a:pt x="168" y="189"/>
                    <a:pt x="305" y="326"/>
                    <a:pt x="305" y="495"/>
                  </a:cubicBezTo>
                  <a:cubicBezTo>
                    <a:pt x="350" y="495"/>
                    <a:pt x="350" y="495"/>
                    <a:pt x="350" y="495"/>
                  </a:cubicBezTo>
                  <a:cubicBezTo>
                    <a:pt x="495" y="495"/>
                    <a:pt x="495" y="495"/>
                    <a:pt x="495" y="495"/>
                  </a:cubicBezTo>
                  <a:cubicBezTo>
                    <a:pt x="639" y="495"/>
                    <a:pt x="639" y="495"/>
                    <a:pt x="639" y="495"/>
                  </a:cubicBezTo>
                  <a:cubicBezTo>
                    <a:pt x="644" y="495"/>
                    <a:pt x="647" y="491"/>
                    <a:pt x="647" y="487"/>
                  </a:cubicBezTo>
                  <a:cubicBezTo>
                    <a:pt x="647" y="299"/>
                    <a:pt x="647" y="299"/>
                    <a:pt x="647" y="299"/>
                  </a:cubicBezTo>
                  <a:cubicBezTo>
                    <a:pt x="647" y="294"/>
                    <a:pt x="644" y="291"/>
                    <a:pt x="639" y="291"/>
                  </a:cubicBezTo>
                  <a:close/>
                </a:path>
              </a:pathLst>
            </a:custGeom>
            <a:solidFill>
              <a:schemeClr val="bg1">
                <a:lumMod val="95000"/>
              </a:schemeClr>
            </a:solidFill>
            <a:ln w="9525">
              <a:noFill/>
              <a:round/>
            </a:ln>
          </p:spPr>
          <p:txBody>
            <a:bodyPr>
              <a:normAutofit/>
            </a:bodyPr>
            <a:lstStyle/>
            <a:p>
              <a:pPr eaLnBrk="1" fontAlgn="auto" hangingPunct="1">
                <a:spcBef>
                  <a:spcPts val="0"/>
                </a:spcBef>
                <a:spcAft>
                  <a:spcPts val="0"/>
                </a:spcAft>
                <a:defRPr/>
              </a:pPr>
              <a:endParaRPr lang="en-US" dirty="0">
                <a:latin typeface="+mn-lt"/>
                <a:ea typeface="+mn-ea"/>
              </a:endParaRPr>
            </a:p>
          </p:txBody>
        </p:sp>
        <p:sp>
          <p:nvSpPr>
            <p:cNvPr id="9" name="îs1íḓe"/>
            <p:cNvSpPr/>
            <p:nvPr/>
          </p:nvSpPr>
          <p:spPr bwMode="auto">
            <a:xfrm>
              <a:off x="6122970" y="3551789"/>
              <a:ext cx="2228971" cy="1708001"/>
            </a:xfrm>
            <a:custGeom>
              <a:avLst/>
              <a:gdLst/>
              <a:ahLst/>
              <a:cxnLst>
                <a:cxn ang="0">
                  <a:pos x="639" y="0"/>
                </a:cxn>
                <a:cxn ang="0">
                  <a:pos x="495" y="0"/>
                </a:cxn>
                <a:cxn ang="0">
                  <a:pos x="350" y="0"/>
                </a:cxn>
                <a:cxn ang="0">
                  <a:pos x="305" y="0"/>
                </a:cxn>
                <a:cxn ang="0">
                  <a:pos x="0" y="306"/>
                </a:cxn>
                <a:cxn ang="0">
                  <a:pos x="0" y="495"/>
                </a:cxn>
                <a:cxn ang="0">
                  <a:pos x="451" y="204"/>
                </a:cxn>
                <a:cxn ang="0">
                  <a:pos x="639" y="204"/>
                </a:cxn>
                <a:cxn ang="0">
                  <a:pos x="647" y="196"/>
                </a:cxn>
                <a:cxn ang="0">
                  <a:pos x="647" y="8"/>
                </a:cxn>
                <a:cxn ang="0">
                  <a:pos x="639" y="0"/>
                </a:cxn>
              </a:cxnLst>
              <a:rect l="0" t="0" r="r" b="b"/>
              <a:pathLst>
                <a:path w="647" h="495">
                  <a:moveTo>
                    <a:pt x="639" y="0"/>
                  </a:moveTo>
                  <a:cubicBezTo>
                    <a:pt x="495" y="0"/>
                    <a:pt x="495" y="0"/>
                    <a:pt x="495" y="0"/>
                  </a:cubicBezTo>
                  <a:cubicBezTo>
                    <a:pt x="350" y="0"/>
                    <a:pt x="350" y="0"/>
                    <a:pt x="350" y="0"/>
                  </a:cubicBezTo>
                  <a:cubicBezTo>
                    <a:pt x="305" y="0"/>
                    <a:pt x="305" y="0"/>
                    <a:pt x="305" y="0"/>
                  </a:cubicBezTo>
                  <a:cubicBezTo>
                    <a:pt x="305" y="169"/>
                    <a:pt x="168" y="306"/>
                    <a:pt x="0" y="306"/>
                  </a:cubicBezTo>
                  <a:cubicBezTo>
                    <a:pt x="0" y="495"/>
                    <a:pt x="0" y="495"/>
                    <a:pt x="0" y="495"/>
                  </a:cubicBezTo>
                  <a:cubicBezTo>
                    <a:pt x="200" y="495"/>
                    <a:pt x="373" y="376"/>
                    <a:pt x="451" y="204"/>
                  </a:cubicBezTo>
                  <a:cubicBezTo>
                    <a:pt x="639" y="204"/>
                    <a:pt x="639" y="204"/>
                    <a:pt x="639" y="204"/>
                  </a:cubicBezTo>
                  <a:cubicBezTo>
                    <a:pt x="644" y="204"/>
                    <a:pt x="647" y="200"/>
                    <a:pt x="647" y="196"/>
                  </a:cubicBezTo>
                  <a:cubicBezTo>
                    <a:pt x="647" y="8"/>
                    <a:pt x="647" y="8"/>
                    <a:pt x="647" y="8"/>
                  </a:cubicBezTo>
                  <a:cubicBezTo>
                    <a:pt x="647" y="4"/>
                    <a:pt x="644" y="0"/>
                    <a:pt x="639" y="0"/>
                  </a:cubicBezTo>
                  <a:close/>
                </a:path>
              </a:pathLst>
            </a:custGeom>
            <a:solidFill>
              <a:schemeClr val="bg1">
                <a:lumMod val="95000"/>
              </a:schemeClr>
            </a:solidFill>
            <a:ln w="9525">
              <a:noFill/>
              <a:round/>
            </a:ln>
          </p:spPr>
          <p:txBody>
            <a:bodyPr>
              <a:normAutofit/>
            </a:bodyPr>
            <a:lstStyle/>
            <a:p>
              <a:pPr eaLnBrk="1" fontAlgn="auto" hangingPunct="1">
                <a:spcBef>
                  <a:spcPts val="0"/>
                </a:spcBef>
                <a:spcAft>
                  <a:spcPts val="0"/>
                </a:spcAft>
                <a:defRPr/>
              </a:pPr>
              <a:endParaRPr lang="en-US" dirty="0">
                <a:latin typeface="+mn-lt"/>
                <a:ea typeface="+mn-ea"/>
              </a:endParaRPr>
            </a:p>
          </p:txBody>
        </p:sp>
        <p:sp>
          <p:nvSpPr>
            <p:cNvPr id="23636" name="íṣḷïḑé"/>
            <p:cNvSpPr/>
            <p:nvPr/>
          </p:nvSpPr>
          <p:spPr bwMode="auto">
            <a:xfrm>
              <a:off x="3972006" y="2925953"/>
              <a:ext cx="461228" cy="458133"/>
            </a:xfrm>
            <a:custGeom>
              <a:avLst/>
              <a:gdLst>
                <a:gd name="T0" fmla="*/ 247639 w 461228"/>
                <a:gd name="T1" fmla="*/ 244544 h 458133"/>
                <a:gd name="T2" fmla="*/ 259557 w 461228"/>
                <a:gd name="T3" fmla="*/ 251589 h 458133"/>
                <a:gd name="T4" fmla="*/ 264665 w 461228"/>
                <a:gd name="T5" fmla="*/ 267440 h 458133"/>
                <a:gd name="T6" fmla="*/ 256152 w 461228"/>
                <a:gd name="T7" fmla="*/ 288575 h 458133"/>
                <a:gd name="T8" fmla="*/ 247639 w 461228"/>
                <a:gd name="T9" fmla="*/ 295620 h 458133"/>
                <a:gd name="T10" fmla="*/ 247639 w 461228"/>
                <a:gd name="T11" fmla="*/ 244544 h 458133"/>
                <a:gd name="T12" fmla="*/ 218232 w 461228"/>
                <a:gd name="T13" fmla="*/ 153226 h 458133"/>
                <a:gd name="T14" fmla="*/ 218232 w 461228"/>
                <a:gd name="T15" fmla="*/ 196563 h 458133"/>
                <a:gd name="T16" fmla="*/ 209526 w 461228"/>
                <a:gd name="T17" fmla="*/ 189629 h 458133"/>
                <a:gd name="T18" fmla="*/ 204302 w 461228"/>
                <a:gd name="T19" fmla="*/ 175761 h 458133"/>
                <a:gd name="T20" fmla="*/ 209526 w 461228"/>
                <a:gd name="T21" fmla="*/ 160160 h 458133"/>
                <a:gd name="T22" fmla="*/ 218232 w 461228"/>
                <a:gd name="T23" fmla="*/ 153226 h 458133"/>
                <a:gd name="T24" fmla="*/ 218255 w 461228"/>
                <a:gd name="T25" fmla="*/ 106020 h 458133"/>
                <a:gd name="T26" fmla="*/ 218255 w 461228"/>
                <a:gd name="T27" fmla="*/ 118247 h 458133"/>
                <a:gd name="T28" fmla="*/ 186733 w 461228"/>
                <a:gd name="T29" fmla="*/ 132221 h 458133"/>
                <a:gd name="T30" fmla="*/ 165718 w 461228"/>
                <a:gd name="T31" fmla="*/ 177637 h 458133"/>
                <a:gd name="T32" fmla="*/ 172723 w 461228"/>
                <a:gd name="T33" fmla="*/ 205584 h 458133"/>
                <a:gd name="T34" fmla="*/ 193737 w 461228"/>
                <a:gd name="T35" fmla="*/ 224799 h 458133"/>
                <a:gd name="T36" fmla="*/ 218255 w 461228"/>
                <a:gd name="T37" fmla="*/ 235279 h 458133"/>
                <a:gd name="T38" fmla="*/ 218255 w 461228"/>
                <a:gd name="T39" fmla="*/ 294668 h 458133"/>
                <a:gd name="T40" fmla="*/ 207747 w 461228"/>
                <a:gd name="T41" fmla="*/ 285935 h 458133"/>
                <a:gd name="T42" fmla="*/ 200742 w 461228"/>
                <a:gd name="T43" fmla="*/ 261480 h 458133"/>
                <a:gd name="T44" fmla="*/ 198991 w 461228"/>
                <a:gd name="T45" fmla="*/ 254493 h 458133"/>
                <a:gd name="T46" fmla="*/ 162216 w 461228"/>
                <a:gd name="T47" fmla="*/ 261480 h 458133"/>
                <a:gd name="T48" fmla="*/ 162216 w 461228"/>
                <a:gd name="T49" fmla="*/ 268467 h 458133"/>
                <a:gd name="T50" fmla="*/ 172723 w 461228"/>
                <a:gd name="T51" fmla="*/ 301655 h 458133"/>
                <a:gd name="T52" fmla="*/ 193737 w 461228"/>
                <a:gd name="T53" fmla="*/ 322616 h 458133"/>
                <a:gd name="T54" fmla="*/ 218255 w 461228"/>
                <a:gd name="T55" fmla="*/ 329603 h 458133"/>
                <a:gd name="T56" fmla="*/ 218255 w 461228"/>
                <a:gd name="T57" fmla="*/ 354058 h 458133"/>
                <a:gd name="T58" fmla="*/ 248025 w 461228"/>
                <a:gd name="T59" fmla="*/ 354058 h 458133"/>
                <a:gd name="T60" fmla="*/ 248025 w 461228"/>
                <a:gd name="T61" fmla="*/ 329603 h 458133"/>
                <a:gd name="T62" fmla="*/ 286552 w 461228"/>
                <a:gd name="T63" fmla="*/ 310389 h 458133"/>
                <a:gd name="T64" fmla="*/ 304064 w 461228"/>
                <a:gd name="T65" fmla="*/ 266720 h 458133"/>
                <a:gd name="T66" fmla="*/ 298810 w 461228"/>
                <a:gd name="T67" fmla="*/ 242266 h 458133"/>
                <a:gd name="T68" fmla="*/ 286552 w 461228"/>
                <a:gd name="T69" fmla="*/ 224799 h 458133"/>
                <a:gd name="T70" fmla="*/ 267288 w 461228"/>
                <a:gd name="T71" fmla="*/ 210825 h 458133"/>
                <a:gd name="T72" fmla="*/ 248025 w 461228"/>
                <a:gd name="T73" fmla="*/ 205584 h 458133"/>
                <a:gd name="T74" fmla="*/ 248025 w 461228"/>
                <a:gd name="T75" fmla="*/ 154929 h 458133"/>
                <a:gd name="T76" fmla="*/ 253279 w 461228"/>
                <a:gd name="T77" fmla="*/ 158422 h 458133"/>
                <a:gd name="T78" fmla="*/ 260284 w 461228"/>
                <a:gd name="T79" fmla="*/ 175890 h 458133"/>
                <a:gd name="T80" fmla="*/ 260284 w 461228"/>
                <a:gd name="T81" fmla="*/ 182877 h 458133"/>
                <a:gd name="T82" fmla="*/ 300561 w 461228"/>
                <a:gd name="T83" fmla="*/ 177637 h 458133"/>
                <a:gd name="T84" fmla="*/ 298810 w 461228"/>
                <a:gd name="T85" fmla="*/ 170650 h 458133"/>
                <a:gd name="T86" fmla="*/ 277796 w 461228"/>
                <a:gd name="T87" fmla="*/ 130474 h 458133"/>
                <a:gd name="T88" fmla="*/ 248025 w 461228"/>
                <a:gd name="T89" fmla="*/ 118247 h 458133"/>
                <a:gd name="T90" fmla="*/ 248025 w 461228"/>
                <a:gd name="T91" fmla="*/ 106020 h 458133"/>
                <a:gd name="T92" fmla="*/ 218255 w 461228"/>
                <a:gd name="T93" fmla="*/ 106020 h 458133"/>
                <a:gd name="T94" fmla="*/ 230513 w 461228"/>
                <a:gd name="T95" fmla="*/ 44884 h 458133"/>
                <a:gd name="T96" fmla="*/ 417892 w 461228"/>
                <a:gd name="T97" fmla="*/ 228292 h 458133"/>
                <a:gd name="T98" fmla="*/ 230513 w 461228"/>
                <a:gd name="T99" fmla="*/ 411700 h 458133"/>
                <a:gd name="T100" fmla="*/ 44885 w 461228"/>
                <a:gd name="T101" fmla="*/ 228292 h 458133"/>
                <a:gd name="T102" fmla="*/ 230513 w 461228"/>
                <a:gd name="T103" fmla="*/ 44884 h 458133"/>
                <a:gd name="T104" fmla="*/ 230614 w 461228"/>
                <a:gd name="T105" fmla="*/ 29726 h 458133"/>
                <a:gd name="T106" fmla="*/ 27953 w 461228"/>
                <a:gd name="T107" fmla="*/ 229067 h 458133"/>
                <a:gd name="T108" fmla="*/ 230614 w 461228"/>
                <a:gd name="T109" fmla="*/ 430156 h 458133"/>
                <a:gd name="T110" fmla="*/ 433275 w 461228"/>
                <a:gd name="T111" fmla="*/ 229067 h 458133"/>
                <a:gd name="T112" fmla="*/ 230614 w 461228"/>
                <a:gd name="T113" fmla="*/ 29726 h 458133"/>
                <a:gd name="T114" fmla="*/ 230614 w 461228"/>
                <a:gd name="T115" fmla="*/ 0 h 458133"/>
                <a:gd name="T116" fmla="*/ 461228 w 461228"/>
                <a:gd name="T117" fmla="*/ 229067 h 458133"/>
                <a:gd name="T118" fmla="*/ 230614 w 461228"/>
                <a:gd name="T119" fmla="*/ 458133 h 458133"/>
                <a:gd name="T120" fmla="*/ 0 w 461228"/>
                <a:gd name="T121" fmla="*/ 229067 h 458133"/>
                <a:gd name="T122" fmla="*/ 230614 w 461228"/>
                <a:gd name="T123" fmla="*/ 0 h 458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61228" h="458133">
                  <a:moveTo>
                    <a:pt x="247639" y="244544"/>
                  </a:moveTo>
                  <a:cubicBezTo>
                    <a:pt x="254450" y="248067"/>
                    <a:pt x="257855" y="249828"/>
                    <a:pt x="259557" y="251589"/>
                  </a:cubicBezTo>
                  <a:cubicBezTo>
                    <a:pt x="262963" y="256873"/>
                    <a:pt x="264665" y="262157"/>
                    <a:pt x="264665" y="267440"/>
                  </a:cubicBezTo>
                  <a:cubicBezTo>
                    <a:pt x="264665" y="276246"/>
                    <a:pt x="261260" y="283291"/>
                    <a:pt x="256152" y="288575"/>
                  </a:cubicBezTo>
                  <a:cubicBezTo>
                    <a:pt x="254450" y="292098"/>
                    <a:pt x="251044" y="293859"/>
                    <a:pt x="247639" y="295620"/>
                  </a:cubicBezTo>
                  <a:cubicBezTo>
                    <a:pt x="247639" y="295620"/>
                    <a:pt x="247639" y="295620"/>
                    <a:pt x="247639" y="244544"/>
                  </a:cubicBezTo>
                  <a:close/>
                  <a:moveTo>
                    <a:pt x="218232" y="153226"/>
                  </a:moveTo>
                  <a:cubicBezTo>
                    <a:pt x="218232" y="153226"/>
                    <a:pt x="218232" y="153226"/>
                    <a:pt x="218232" y="196563"/>
                  </a:cubicBezTo>
                  <a:cubicBezTo>
                    <a:pt x="214750" y="194830"/>
                    <a:pt x="211267" y="193096"/>
                    <a:pt x="209526" y="189629"/>
                  </a:cubicBezTo>
                  <a:cubicBezTo>
                    <a:pt x="206043" y="186162"/>
                    <a:pt x="204302" y="180962"/>
                    <a:pt x="204302" y="175761"/>
                  </a:cubicBezTo>
                  <a:cubicBezTo>
                    <a:pt x="204302" y="168827"/>
                    <a:pt x="206043" y="163627"/>
                    <a:pt x="209526" y="160160"/>
                  </a:cubicBezTo>
                  <a:cubicBezTo>
                    <a:pt x="213008" y="156693"/>
                    <a:pt x="214750" y="154960"/>
                    <a:pt x="218232" y="153226"/>
                  </a:cubicBezTo>
                  <a:close/>
                  <a:moveTo>
                    <a:pt x="218255" y="106020"/>
                  </a:moveTo>
                  <a:cubicBezTo>
                    <a:pt x="218255" y="106020"/>
                    <a:pt x="218255" y="106020"/>
                    <a:pt x="218255" y="118247"/>
                  </a:cubicBezTo>
                  <a:cubicBezTo>
                    <a:pt x="205996" y="119994"/>
                    <a:pt x="193737" y="125234"/>
                    <a:pt x="186733" y="132221"/>
                  </a:cubicBezTo>
                  <a:cubicBezTo>
                    <a:pt x="172723" y="142701"/>
                    <a:pt x="165718" y="158422"/>
                    <a:pt x="165718" y="177637"/>
                  </a:cubicBezTo>
                  <a:cubicBezTo>
                    <a:pt x="165718" y="188117"/>
                    <a:pt x="167469" y="196851"/>
                    <a:pt x="172723" y="205584"/>
                  </a:cubicBezTo>
                  <a:cubicBezTo>
                    <a:pt x="177977" y="214318"/>
                    <a:pt x="184981" y="221305"/>
                    <a:pt x="193737" y="224799"/>
                  </a:cubicBezTo>
                  <a:cubicBezTo>
                    <a:pt x="202493" y="230039"/>
                    <a:pt x="211250" y="233532"/>
                    <a:pt x="218255" y="235279"/>
                  </a:cubicBezTo>
                  <a:cubicBezTo>
                    <a:pt x="218255" y="235279"/>
                    <a:pt x="218255" y="235279"/>
                    <a:pt x="218255" y="294668"/>
                  </a:cubicBezTo>
                  <a:cubicBezTo>
                    <a:pt x="214752" y="292922"/>
                    <a:pt x="211250" y="289428"/>
                    <a:pt x="207747" y="285935"/>
                  </a:cubicBezTo>
                  <a:cubicBezTo>
                    <a:pt x="204245" y="280694"/>
                    <a:pt x="202493" y="273707"/>
                    <a:pt x="200742" y="261480"/>
                  </a:cubicBezTo>
                  <a:cubicBezTo>
                    <a:pt x="200742" y="261480"/>
                    <a:pt x="200742" y="261480"/>
                    <a:pt x="198991" y="254493"/>
                  </a:cubicBezTo>
                  <a:cubicBezTo>
                    <a:pt x="198991" y="254493"/>
                    <a:pt x="198991" y="254493"/>
                    <a:pt x="162216" y="261480"/>
                  </a:cubicBezTo>
                  <a:cubicBezTo>
                    <a:pt x="162216" y="261480"/>
                    <a:pt x="162216" y="261480"/>
                    <a:pt x="162216" y="268467"/>
                  </a:cubicBezTo>
                  <a:cubicBezTo>
                    <a:pt x="162216" y="280694"/>
                    <a:pt x="165718" y="292922"/>
                    <a:pt x="172723" y="301655"/>
                  </a:cubicBezTo>
                  <a:cubicBezTo>
                    <a:pt x="177977" y="310389"/>
                    <a:pt x="184981" y="317376"/>
                    <a:pt x="193737" y="322616"/>
                  </a:cubicBezTo>
                  <a:cubicBezTo>
                    <a:pt x="200742" y="326110"/>
                    <a:pt x="209499" y="327856"/>
                    <a:pt x="218255" y="329603"/>
                  </a:cubicBezTo>
                  <a:cubicBezTo>
                    <a:pt x="218255" y="329603"/>
                    <a:pt x="218255" y="329603"/>
                    <a:pt x="218255" y="354058"/>
                  </a:cubicBezTo>
                  <a:cubicBezTo>
                    <a:pt x="218255" y="354058"/>
                    <a:pt x="218255" y="354058"/>
                    <a:pt x="248025" y="354058"/>
                  </a:cubicBezTo>
                  <a:cubicBezTo>
                    <a:pt x="248025" y="354058"/>
                    <a:pt x="248025" y="354058"/>
                    <a:pt x="248025" y="329603"/>
                  </a:cubicBezTo>
                  <a:cubicBezTo>
                    <a:pt x="262035" y="327856"/>
                    <a:pt x="276045" y="320870"/>
                    <a:pt x="286552" y="310389"/>
                  </a:cubicBezTo>
                  <a:cubicBezTo>
                    <a:pt x="297059" y="299909"/>
                    <a:pt x="304064" y="284188"/>
                    <a:pt x="304064" y="266720"/>
                  </a:cubicBezTo>
                  <a:cubicBezTo>
                    <a:pt x="304064" y="257987"/>
                    <a:pt x="302313" y="249253"/>
                    <a:pt x="298810" y="242266"/>
                  </a:cubicBezTo>
                  <a:cubicBezTo>
                    <a:pt x="297059" y="235279"/>
                    <a:pt x="291805" y="230039"/>
                    <a:pt x="286552" y="224799"/>
                  </a:cubicBezTo>
                  <a:cubicBezTo>
                    <a:pt x="281298" y="219558"/>
                    <a:pt x="274293" y="214318"/>
                    <a:pt x="267288" y="210825"/>
                  </a:cubicBezTo>
                  <a:cubicBezTo>
                    <a:pt x="263786" y="209078"/>
                    <a:pt x="256781" y="207331"/>
                    <a:pt x="248025" y="205584"/>
                  </a:cubicBezTo>
                  <a:cubicBezTo>
                    <a:pt x="248025" y="205584"/>
                    <a:pt x="248025" y="205584"/>
                    <a:pt x="248025" y="154929"/>
                  </a:cubicBezTo>
                  <a:cubicBezTo>
                    <a:pt x="249776" y="154929"/>
                    <a:pt x="251528" y="156676"/>
                    <a:pt x="253279" y="158422"/>
                  </a:cubicBezTo>
                  <a:cubicBezTo>
                    <a:pt x="256781" y="161916"/>
                    <a:pt x="258532" y="167156"/>
                    <a:pt x="260284" y="175890"/>
                  </a:cubicBezTo>
                  <a:cubicBezTo>
                    <a:pt x="260284" y="175890"/>
                    <a:pt x="260284" y="175890"/>
                    <a:pt x="260284" y="182877"/>
                  </a:cubicBezTo>
                  <a:cubicBezTo>
                    <a:pt x="260284" y="182877"/>
                    <a:pt x="260284" y="182877"/>
                    <a:pt x="300561" y="177637"/>
                  </a:cubicBezTo>
                  <a:cubicBezTo>
                    <a:pt x="300561" y="177637"/>
                    <a:pt x="300561" y="177637"/>
                    <a:pt x="298810" y="170650"/>
                  </a:cubicBezTo>
                  <a:cubicBezTo>
                    <a:pt x="297059" y="153182"/>
                    <a:pt x="290054" y="140955"/>
                    <a:pt x="277796" y="130474"/>
                  </a:cubicBezTo>
                  <a:cubicBezTo>
                    <a:pt x="269040" y="123487"/>
                    <a:pt x="260284" y="119994"/>
                    <a:pt x="248025" y="118247"/>
                  </a:cubicBezTo>
                  <a:cubicBezTo>
                    <a:pt x="248025" y="118247"/>
                    <a:pt x="248025" y="118247"/>
                    <a:pt x="248025" y="106020"/>
                  </a:cubicBezTo>
                  <a:cubicBezTo>
                    <a:pt x="248025" y="106020"/>
                    <a:pt x="248025" y="106020"/>
                    <a:pt x="218255" y="106020"/>
                  </a:cubicBezTo>
                  <a:close/>
                  <a:moveTo>
                    <a:pt x="230513" y="44884"/>
                  </a:moveTo>
                  <a:cubicBezTo>
                    <a:pt x="333834" y="44884"/>
                    <a:pt x="417892" y="126981"/>
                    <a:pt x="417892" y="228292"/>
                  </a:cubicBezTo>
                  <a:cubicBezTo>
                    <a:pt x="417892" y="329603"/>
                    <a:pt x="333834" y="411700"/>
                    <a:pt x="230513" y="411700"/>
                  </a:cubicBezTo>
                  <a:cubicBezTo>
                    <a:pt x="127192" y="411700"/>
                    <a:pt x="44885" y="329603"/>
                    <a:pt x="44885" y="228292"/>
                  </a:cubicBezTo>
                  <a:cubicBezTo>
                    <a:pt x="44885" y="126981"/>
                    <a:pt x="127192" y="44884"/>
                    <a:pt x="230513" y="44884"/>
                  </a:cubicBezTo>
                  <a:close/>
                  <a:moveTo>
                    <a:pt x="230614" y="29726"/>
                  </a:moveTo>
                  <a:cubicBezTo>
                    <a:pt x="118801" y="29726"/>
                    <a:pt x="27953" y="118905"/>
                    <a:pt x="27953" y="229067"/>
                  </a:cubicBezTo>
                  <a:cubicBezTo>
                    <a:pt x="27953" y="339228"/>
                    <a:pt x="118801" y="430156"/>
                    <a:pt x="230614" y="430156"/>
                  </a:cubicBezTo>
                  <a:cubicBezTo>
                    <a:pt x="342427" y="430156"/>
                    <a:pt x="433275" y="339228"/>
                    <a:pt x="433275" y="229067"/>
                  </a:cubicBezTo>
                  <a:cubicBezTo>
                    <a:pt x="433275" y="118905"/>
                    <a:pt x="342427" y="29726"/>
                    <a:pt x="230614" y="29726"/>
                  </a:cubicBezTo>
                  <a:close/>
                  <a:moveTo>
                    <a:pt x="230614" y="0"/>
                  </a:moveTo>
                  <a:cubicBezTo>
                    <a:pt x="358151" y="0"/>
                    <a:pt x="461228" y="103167"/>
                    <a:pt x="461228" y="229067"/>
                  </a:cubicBezTo>
                  <a:cubicBezTo>
                    <a:pt x="461228" y="354966"/>
                    <a:pt x="358151" y="458133"/>
                    <a:pt x="230614" y="458133"/>
                  </a:cubicBezTo>
                  <a:cubicBezTo>
                    <a:pt x="103077" y="458133"/>
                    <a:pt x="0" y="354966"/>
                    <a:pt x="0" y="229067"/>
                  </a:cubicBezTo>
                  <a:cubicBezTo>
                    <a:pt x="0" y="103167"/>
                    <a:pt x="103077" y="0"/>
                    <a:pt x="2306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637" name="ïṧḷidè"/>
            <p:cNvSpPr/>
            <p:nvPr/>
          </p:nvSpPr>
          <p:spPr bwMode="auto">
            <a:xfrm>
              <a:off x="3985162" y="3679410"/>
              <a:ext cx="434916" cy="428724"/>
            </a:xfrm>
            <a:custGeom>
              <a:avLst/>
              <a:gdLst>
                <a:gd name="T0" fmla="*/ 223261 w 434916"/>
                <a:gd name="T1" fmla="*/ 106286 h 428724"/>
                <a:gd name="T2" fmla="*/ 141278 w 434916"/>
                <a:gd name="T3" fmla="*/ 179499 h 428724"/>
                <a:gd name="T4" fmla="*/ 125538 w 434916"/>
                <a:gd name="T5" fmla="*/ 179499 h 428724"/>
                <a:gd name="T6" fmla="*/ 120291 w 434916"/>
                <a:gd name="T7" fmla="*/ 198674 h 428724"/>
                <a:gd name="T8" fmla="*/ 139529 w 434916"/>
                <a:gd name="T9" fmla="*/ 198674 h 428724"/>
                <a:gd name="T10" fmla="*/ 137780 w 434916"/>
                <a:gd name="T11" fmla="*/ 214362 h 428724"/>
                <a:gd name="T12" fmla="*/ 125538 w 434916"/>
                <a:gd name="T13" fmla="*/ 214362 h 428724"/>
                <a:gd name="T14" fmla="*/ 118542 w 434916"/>
                <a:gd name="T15" fmla="*/ 235280 h 428724"/>
                <a:gd name="T16" fmla="*/ 141278 w 434916"/>
                <a:gd name="T17" fmla="*/ 235280 h 428724"/>
                <a:gd name="T18" fmla="*/ 275948 w 434916"/>
                <a:gd name="T19" fmla="*/ 305007 h 428724"/>
                <a:gd name="T20" fmla="*/ 270701 w 434916"/>
                <a:gd name="T21" fmla="*/ 271886 h 428724"/>
                <a:gd name="T22" fmla="*/ 174508 w 434916"/>
                <a:gd name="T23" fmla="*/ 237023 h 428724"/>
                <a:gd name="T24" fmla="*/ 253211 w 434916"/>
                <a:gd name="T25" fmla="*/ 237023 h 428724"/>
                <a:gd name="T26" fmla="*/ 258458 w 434916"/>
                <a:gd name="T27" fmla="*/ 214362 h 428724"/>
                <a:gd name="T28" fmla="*/ 172759 w 434916"/>
                <a:gd name="T29" fmla="*/ 214362 h 428724"/>
                <a:gd name="T30" fmla="*/ 171010 w 434916"/>
                <a:gd name="T31" fmla="*/ 202160 h 428724"/>
                <a:gd name="T32" fmla="*/ 256709 w 434916"/>
                <a:gd name="T33" fmla="*/ 202160 h 428724"/>
                <a:gd name="T34" fmla="*/ 265454 w 434916"/>
                <a:gd name="T35" fmla="*/ 179499 h 428724"/>
                <a:gd name="T36" fmla="*/ 174508 w 434916"/>
                <a:gd name="T37" fmla="*/ 179499 h 428724"/>
                <a:gd name="T38" fmla="*/ 268952 w 434916"/>
                <a:gd name="T39" fmla="*/ 149865 h 428724"/>
                <a:gd name="T40" fmla="*/ 277697 w 434916"/>
                <a:gd name="T41" fmla="*/ 116745 h 428724"/>
                <a:gd name="T42" fmla="*/ 223261 w 434916"/>
                <a:gd name="T43" fmla="*/ 106286 h 428724"/>
                <a:gd name="T44" fmla="*/ 218232 w 434916"/>
                <a:gd name="T45" fmla="*/ 41789 h 428724"/>
                <a:gd name="T46" fmla="*/ 393127 w 434916"/>
                <a:gd name="T47" fmla="*/ 214362 h 428724"/>
                <a:gd name="T48" fmla="*/ 218232 w 434916"/>
                <a:gd name="T49" fmla="*/ 386935 h 428724"/>
                <a:gd name="T50" fmla="*/ 43337 w 434916"/>
                <a:gd name="T51" fmla="*/ 214362 h 428724"/>
                <a:gd name="T52" fmla="*/ 218232 w 434916"/>
                <a:gd name="T53" fmla="*/ 41789 h 428724"/>
                <a:gd name="T54" fmla="*/ 218332 w 434916"/>
                <a:gd name="T55" fmla="*/ 26142 h 428724"/>
                <a:gd name="T56" fmla="*/ 27946 w 434916"/>
                <a:gd name="T57" fmla="*/ 214362 h 428724"/>
                <a:gd name="T58" fmla="*/ 218332 w 434916"/>
                <a:gd name="T59" fmla="*/ 402582 h 428724"/>
                <a:gd name="T60" fmla="*/ 408716 w 434916"/>
                <a:gd name="T61" fmla="*/ 214362 h 428724"/>
                <a:gd name="T62" fmla="*/ 218332 w 434916"/>
                <a:gd name="T63" fmla="*/ 26142 h 428724"/>
                <a:gd name="T64" fmla="*/ 218332 w 434916"/>
                <a:gd name="T65" fmla="*/ 0 h 428724"/>
                <a:gd name="T66" fmla="*/ 434916 w 434916"/>
                <a:gd name="T67" fmla="*/ 214362 h 428724"/>
                <a:gd name="T68" fmla="*/ 218332 w 434916"/>
                <a:gd name="T69" fmla="*/ 428724 h 428724"/>
                <a:gd name="T70" fmla="*/ 0 w 434916"/>
                <a:gd name="T71" fmla="*/ 214362 h 428724"/>
                <a:gd name="T72" fmla="*/ 218332 w 434916"/>
                <a:gd name="T73" fmla="*/ 0 h 428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34916" h="428724">
                  <a:moveTo>
                    <a:pt x="223261" y="106286"/>
                  </a:moveTo>
                  <a:cubicBezTo>
                    <a:pt x="193747" y="108029"/>
                    <a:pt x="159642" y="123718"/>
                    <a:pt x="141278" y="179499"/>
                  </a:cubicBezTo>
                  <a:cubicBezTo>
                    <a:pt x="141278" y="179499"/>
                    <a:pt x="141278" y="179499"/>
                    <a:pt x="125538" y="179499"/>
                  </a:cubicBezTo>
                  <a:cubicBezTo>
                    <a:pt x="125538" y="179499"/>
                    <a:pt x="125538" y="179499"/>
                    <a:pt x="120291" y="198674"/>
                  </a:cubicBezTo>
                  <a:cubicBezTo>
                    <a:pt x="120291" y="198674"/>
                    <a:pt x="120291" y="198674"/>
                    <a:pt x="139529" y="198674"/>
                  </a:cubicBezTo>
                  <a:cubicBezTo>
                    <a:pt x="139529" y="198674"/>
                    <a:pt x="139529" y="212619"/>
                    <a:pt x="137780" y="214362"/>
                  </a:cubicBezTo>
                  <a:cubicBezTo>
                    <a:pt x="137780" y="214362"/>
                    <a:pt x="137780" y="214362"/>
                    <a:pt x="125538" y="214362"/>
                  </a:cubicBezTo>
                  <a:cubicBezTo>
                    <a:pt x="125538" y="214362"/>
                    <a:pt x="125538" y="214362"/>
                    <a:pt x="118542" y="235280"/>
                  </a:cubicBezTo>
                  <a:cubicBezTo>
                    <a:pt x="118542" y="235280"/>
                    <a:pt x="118542" y="235280"/>
                    <a:pt x="141278" y="235280"/>
                  </a:cubicBezTo>
                  <a:cubicBezTo>
                    <a:pt x="141278" y="235280"/>
                    <a:pt x="158768" y="345099"/>
                    <a:pt x="275948" y="305007"/>
                  </a:cubicBezTo>
                  <a:cubicBezTo>
                    <a:pt x="275948" y="305007"/>
                    <a:pt x="275948" y="305007"/>
                    <a:pt x="270701" y="271886"/>
                  </a:cubicBezTo>
                  <a:cubicBezTo>
                    <a:pt x="270701" y="271886"/>
                    <a:pt x="198994" y="318952"/>
                    <a:pt x="174508" y="237023"/>
                  </a:cubicBezTo>
                  <a:cubicBezTo>
                    <a:pt x="174508" y="237023"/>
                    <a:pt x="174508" y="237023"/>
                    <a:pt x="253211" y="237023"/>
                  </a:cubicBezTo>
                  <a:cubicBezTo>
                    <a:pt x="253211" y="237023"/>
                    <a:pt x="253211" y="237023"/>
                    <a:pt x="258458" y="214362"/>
                  </a:cubicBezTo>
                  <a:cubicBezTo>
                    <a:pt x="258458" y="214362"/>
                    <a:pt x="258458" y="214362"/>
                    <a:pt x="172759" y="214362"/>
                  </a:cubicBezTo>
                  <a:cubicBezTo>
                    <a:pt x="172759" y="214362"/>
                    <a:pt x="169262" y="205646"/>
                    <a:pt x="171010" y="202160"/>
                  </a:cubicBezTo>
                  <a:cubicBezTo>
                    <a:pt x="171010" y="202160"/>
                    <a:pt x="171010" y="202160"/>
                    <a:pt x="256709" y="202160"/>
                  </a:cubicBezTo>
                  <a:cubicBezTo>
                    <a:pt x="256709" y="202160"/>
                    <a:pt x="256709" y="202160"/>
                    <a:pt x="265454" y="179499"/>
                  </a:cubicBezTo>
                  <a:lnTo>
                    <a:pt x="174508" y="179499"/>
                  </a:lnTo>
                  <a:cubicBezTo>
                    <a:pt x="174508" y="179499"/>
                    <a:pt x="197245" y="109772"/>
                    <a:pt x="268952" y="149865"/>
                  </a:cubicBezTo>
                  <a:cubicBezTo>
                    <a:pt x="268952" y="149865"/>
                    <a:pt x="268952" y="149865"/>
                    <a:pt x="277697" y="116745"/>
                  </a:cubicBezTo>
                  <a:cubicBezTo>
                    <a:pt x="277697" y="116745"/>
                    <a:pt x="252774" y="104543"/>
                    <a:pt x="223261" y="106286"/>
                  </a:cubicBezTo>
                  <a:close/>
                  <a:moveTo>
                    <a:pt x="218232" y="41789"/>
                  </a:moveTo>
                  <a:cubicBezTo>
                    <a:pt x="314424" y="41789"/>
                    <a:pt x="393127" y="118488"/>
                    <a:pt x="393127" y="214362"/>
                  </a:cubicBezTo>
                  <a:cubicBezTo>
                    <a:pt x="393127" y="308493"/>
                    <a:pt x="314424" y="386935"/>
                    <a:pt x="218232" y="386935"/>
                  </a:cubicBezTo>
                  <a:cubicBezTo>
                    <a:pt x="122040" y="386935"/>
                    <a:pt x="43337" y="308493"/>
                    <a:pt x="43337" y="214362"/>
                  </a:cubicBezTo>
                  <a:cubicBezTo>
                    <a:pt x="43337" y="118488"/>
                    <a:pt x="122040" y="41789"/>
                    <a:pt x="218232" y="41789"/>
                  </a:cubicBezTo>
                  <a:close/>
                  <a:moveTo>
                    <a:pt x="218332" y="26142"/>
                  </a:moveTo>
                  <a:cubicBezTo>
                    <a:pt x="113532" y="26142"/>
                    <a:pt x="27946" y="109795"/>
                    <a:pt x="27946" y="214362"/>
                  </a:cubicBezTo>
                  <a:cubicBezTo>
                    <a:pt x="27946" y="317186"/>
                    <a:pt x="113532" y="402582"/>
                    <a:pt x="218332" y="402582"/>
                  </a:cubicBezTo>
                  <a:cubicBezTo>
                    <a:pt x="323131" y="402582"/>
                    <a:pt x="408716" y="317186"/>
                    <a:pt x="408716" y="214362"/>
                  </a:cubicBezTo>
                  <a:cubicBezTo>
                    <a:pt x="408716" y="109795"/>
                    <a:pt x="323131" y="26142"/>
                    <a:pt x="218332" y="26142"/>
                  </a:cubicBezTo>
                  <a:close/>
                  <a:moveTo>
                    <a:pt x="218332" y="0"/>
                  </a:moveTo>
                  <a:cubicBezTo>
                    <a:pt x="337104" y="0"/>
                    <a:pt x="434916" y="95853"/>
                    <a:pt x="434916" y="214362"/>
                  </a:cubicBezTo>
                  <a:cubicBezTo>
                    <a:pt x="434916" y="332871"/>
                    <a:pt x="337104" y="428724"/>
                    <a:pt x="218332" y="428724"/>
                  </a:cubicBezTo>
                  <a:cubicBezTo>
                    <a:pt x="97813" y="428724"/>
                    <a:pt x="0" y="332871"/>
                    <a:pt x="0" y="214362"/>
                  </a:cubicBezTo>
                  <a:cubicBezTo>
                    <a:pt x="0" y="95853"/>
                    <a:pt x="97813" y="0"/>
                    <a:pt x="2183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638" name="îṡ1iďé"/>
            <p:cNvSpPr/>
            <p:nvPr/>
          </p:nvSpPr>
          <p:spPr bwMode="auto">
            <a:xfrm>
              <a:off x="7776508" y="3676314"/>
              <a:ext cx="441108" cy="434916"/>
            </a:xfrm>
            <a:custGeom>
              <a:avLst/>
              <a:gdLst>
                <a:gd name="T0" fmla="*/ 216944 w 441108"/>
                <a:gd name="T1" fmla="*/ 118700 h 434916"/>
                <a:gd name="T2" fmla="*/ 166090 w 441108"/>
                <a:gd name="T3" fmla="*/ 178130 h 434916"/>
                <a:gd name="T4" fmla="*/ 171350 w 441108"/>
                <a:gd name="T5" fmla="*/ 200854 h 434916"/>
                <a:gd name="T6" fmla="*/ 152061 w 441108"/>
                <a:gd name="T7" fmla="*/ 200854 h 434916"/>
                <a:gd name="T8" fmla="*/ 152061 w 441108"/>
                <a:gd name="T9" fmla="*/ 228821 h 434916"/>
                <a:gd name="T10" fmla="*/ 178365 w 441108"/>
                <a:gd name="T11" fmla="*/ 228821 h 434916"/>
                <a:gd name="T12" fmla="*/ 152061 w 441108"/>
                <a:gd name="T13" fmla="*/ 279511 h 434916"/>
                <a:gd name="T14" fmla="*/ 166090 w 441108"/>
                <a:gd name="T15" fmla="*/ 309227 h 434916"/>
                <a:gd name="T16" fmla="*/ 187133 w 441108"/>
                <a:gd name="T17" fmla="*/ 300487 h 434916"/>
                <a:gd name="T18" fmla="*/ 201162 w 441108"/>
                <a:gd name="T19" fmla="*/ 302235 h 434916"/>
                <a:gd name="T20" fmla="*/ 290596 w 441108"/>
                <a:gd name="T21" fmla="*/ 300487 h 434916"/>
                <a:gd name="T22" fmla="*/ 276567 w 441108"/>
                <a:gd name="T23" fmla="*/ 270772 h 434916"/>
                <a:gd name="T24" fmla="*/ 202915 w 441108"/>
                <a:gd name="T25" fmla="*/ 267276 h 434916"/>
                <a:gd name="T26" fmla="*/ 215191 w 441108"/>
                <a:gd name="T27" fmla="*/ 227073 h 434916"/>
                <a:gd name="T28" fmla="*/ 246756 w 441108"/>
                <a:gd name="T29" fmla="*/ 227073 h 434916"/>
                <a:gd name="T30" fmla="*/ 246756 w 441108"/>
                <a:gd name="T31" fmla="*/ 199106 h 434916"/>
                <a:gd name="T32" fmla="*/ 208176 w 441108"/>
                <a:gd name="T33" fmla="*/ 199106 h 434916"/>
                <a:gd name="T34" fmla="*/ 220451 w 441108"/>
                <a:gd name="T35" fmla="*/ 157155 h 434916"/>
                <a:gd name="T36" fmla="*/ 243248 w 441108"/>
                <a:gd name="T37" fmla="*/ 172886 h 434916"/>
                <a:gd name="T38" fmla="*/ 281828 w 441108"/>
                <a:gd name="T39" fmla="*/ 167643 h 434916"/>
                <a:gd name="T40" fmla="*/ 216944 w 441108"/>
                <a:gd name="T41" fmla="*/ 118700 h 434916"/>
                <a:gd name="T42" fmla="*/ 220451 w 441108"/>
                <a:gd name="T43" fmla="*/ 41790 h 434916"/>
                <a:gd name="T44" fmla="*/ 399319 w 441108"/>
                <a:gd name="T45" fmla="*/ 218333 h 434916"/>
                <a:gd name="T46" fmla="*/ 220451 w 441108"/>
                <a:gd name="T47" fmla="*/ 393128 h 434916"/>
                <a:gd name="T48" fmla="*/ 43337 w 441108"/>
                <a:gd name="T49" fmla="*/ 218333 h 434916"/>
                <a:gd name="T50" fmla="*/ 220451 w 441108"/>
                <a:gd name="T51" fmla="*/ 41790 h 434916"/>
                <a:gd name="T52" fmla="*/ 220554 w 441108"/>
                <a:gd name="T53" fmla="*/ 27946 h 434916"/>
                <a:gd name="T54" fmla="*/ 28007 w 441108"/>
                <a:gd name="T55" fmla="*/ 218331 h 434916"/>
                <a:gd name="T56" fmla="*/ 220554 w 441108"/>
                <a:gd name="T57" fmla="*/ 408716 h 434916"/>
                <a:gd name="T58" fmla="*/ 413101 w 441108"/>
                <a:gd name="T59" fmla="*/ 218331 h 434916"/>
                <a:gd name="T60" fmla="*/ 220554 w 441108"/>
                <a:gd name="T61" fmla="*/ 27946 h 434916"/>
                <a:gd name="T62" fmla="*/ 220554 w 441108"/>
                <a:gd name="T63" fmla="*/ 0 h 434916"/>
                <a:gd name="T64" fmla="*/ 441108 w 441108"/>
                <a:gd name="T65" fmla="*/ 218331 h 434916"/>
                <a:gd name="T66" fmla="*/ 220554 w 441108"/>
                <a:gd name="T67" fmla="*/ 434916 h 434916"/>
                <a:gd name="T68" fmla="*/ 0 w 441108"/>
                <a:gd name="T69" fmla="*/ 218331 h 434916"/>
                <a:gd name="T70" fmla="*/ 220554 w 441108"/>
                <a:gd name="T71" fmla="*/ 0 h 4349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41108" h="434916">
                  <a:moveTo>
                    <a:pt x="216944" y="118700"/>
                  </a:moveTo>
                  <a:cubicBezTo>
                    <a:pt x="216944" y="118700"/>
                    <a:pt x="166090" y="123944"/>
                    <a:pt x="166090" y="178130"/>
                  </a:cubicBezTo>
                  <a:cubicBezTo>
                    <a:pt x="166090" y="178130"/>
                    <a:pt x="166090" y="188618"/>
                    <a:pt x="171350" y="200854"/>
                  </a:cubicBezTo>
                  <a:cubicBezTo>
                    <a:pt x="171350" y="200854"/>
                    <a:pt x="171350" y="200854"/>
                    <a:pt x="152061" y="200854"/>
                  </a:cubicBezTo>
                  <a:cubicBezTo>
                    <a:pt x="152061" y="200854"/>
                    <a:pt x="152061" y="200854"/>
                    <a:pt x="152061" y="228821"/>
                  </a:cubicBezTo>
                  <a:cubicBezTo>
                    <a:pt x="152061" y="228821"/>
                    <a:pt x="152061" y="228821"/>
                    <a:pt x="178365" y="228821"/>
                  </a:cubicBezTo>
                  <a:cubicBezTo>
                    <a:pt x="178365" y="228821"/>
                    <a:pt x="183626" y="256788"/>
                    <a:pt x="152061" y="279511"/>
                  </a:cubicBezTo>
                  <a:cubicBezTo>
                    <a:pt x="152061" y="279511"/>
                    <a:pt x="152061" y="279511"/>
                    <a:pt x="166090" y="309227"/>
                  </a:cubicBezTo>
                  <a:cubicBezTo>
                    <a:pt x="166090" y="309227"/>
                    <a:pt x="174858" y="300487"/>
                    <a:pt x="187133" y="300487"/>
                  </a:cubicBezTo>
                  <a:cubicBezTo>
                    <a:pt x="187133" y="300487"/>
                    <a:pt x="192394" y="298739"/>
                    <a:pt x="201162" y="302235"/>
                  </a:cubicBezTo>
                  <a:cubicBezTo>
                    <a:pt x="201162" y="302235"/>
                    <a:pt x="236234" y="316218"/>
                    <a:pt x="290596" y="300487"/>
                  </a:cubicBezTo>
                  <a:cubicBezTo>
                    <a:pt x="290596" y="300487"/>
                    <a:pt x="290596" y="300487"/>
                    <a:pt x="276567" y="270772"/>
                  </a:cubicBezTo>
                  <a:cubicBezTo>
                    <a:pt x="276567" y="270772"/>
                    <a:pt x="230973" y="283007"/>
                    <a:pt x="202915" y="267276"/>
                  </a:cubicBezTo>
                  <a:cubicBezTo>
                    <a:pt x="202915" y="267276"/>
                    <a:pt x="216944" y="248048"/>
                    <a:pt x="215191" y="227073"/>
                  </a:cubicBezTo>
                  <a:cubicBezTo>
                    <a:pt x="215191" y="227073"/>
                    <a:pt x="215191" y="227073"/>
                    <a:pt x="246756" y="227073"/>
                  </a:cubicBezTo>
                  <a:cubicBezTo>
                    <a:pt x="246756" y="227073"/>
                    <a:pt x="246756" y="227073"/>
                    <a:pt x="246756" y="199106"/>
                  </a:cubicBezTo>
                  <a:cubicBezTo>
                    <a:pt x="246756" y="199106"/>
                    <a:pt x="246756" y="199106"/>
                    <a:pt x="208176" y="199106"/>
                  </a:cubicBezTo>
                  <a:cubicBezTo>
                    <a:pt x="208176" y="199106"/>
                    <a:pt x="194147" y="164147"/>
                    <a:pt x="220451" y="157155"/>
                  </a:cubicBezTo>
                  <a:cubicBezTo>
                    <a:pt x="220451" y="157155"/>
                    <a:pt x="239741" y="153659"/>
                    <a:pt x="243248" y="172886"/>
                  </a:cubicBezTo>
                  <a:cubicBezTo>
                    <a:pt x="243248" y="172886"/>
                    <a:pt x="243248" y="172886"/>
                    <a:pt x="281828" y="167643"/>
                  </a:cubicBezTo>
                  <a:cubicBezTo>
                    <a:pt x="281828" y="167643"/>
                    <a:pt x="278320" y="109960"/>
                    <a:pt x="216944" y="118700"/>
                  </a:cubicBezTo>
                  <a:close/>
                  <a:moveTo>
                    <a:pt x="220451" y="41790"/>
                  </a:moveTo>
                  <a:cubicBezTo>
                    <a:pt x="318653" y="41790"/>
                    <a:pt x="399319" y="120448"/>
                    <a:pt x="399319" y="218333"/>
                  </a:cubicBezTo>
                  <a:cubicBezTo>
                    <a:pt x="399319" y="314470"/>
                    <a:pt x="318653" y="393128"/>
                    <a:pt x="220451" y="393128"/>
                  </a:cubicBezTo>
                  <a:cubicBezTo>
                    <a:pt x="122250" y="393128"/>
                    <a:pt x="43337" y="314470"/>
                    <a:pt x="43337" y="218333"/>
                  </a:cubicBezTo>
                  <a:cubicBezTo>
                    <a:pt x="43337" y="120448"/>
                    <a:pt x="122250" y="41790"/>
                    <a:pt x="220451" y="41790"/>
                  </a:cubicBezTo>
                  <a:close/>
                  <a:moveTo>
                    <a:pt x="220554" y="27946"/>
                  </a:moveTo>
                  <a:cubicBezTo>
                    <a:pt x="113778" y="27946"/>
                    <a:pt x="28007" y="113532"/>
                    <a:pt x="28007" y="218331"/>
                  </a:cubicBezTo>
                  <a:cubicBezTo>
                    <a:pt x="28007" y="323131"/>
                    <a:pt x="113778" y="408716"/>
                    <a:pt x="220554" y="408716"/>
                  </a:cubicBezTo>
                  <a:cubicBezTo>
                    <a:pt x="327330" y="408716"/>
                    <a:pt x="413101" y="323131"/>
                    <a:pt x="413101" y="218331"/>
                  </a:cubicBezTo>
                  <a:cubicBezTo>
                    <a:pt x="413101" y="113532"/>
                    <a:pt x="327330" y="27946"/>
                    <a:pt x="220554" y="27946"/>
                  </a:cubicBezTo>
                  <a:close/>
                  <a:moveTo>
                    <a:pt x="220554" y="0"/>
                  </a:moveTo>
                  <a:cubicBezTo>
                    <a:pt x="343084" y="0"/>
                    <a:pt x="441108" y="97813"/>
                    <a:pt x="441108" y="218331"/>
                  </a:cubicBezTo>
                  <a:cubicBezTo>
                    <a:pt x="441108" y="338850"/>
                    <a:pt x="343084" y="434916"/>
                    <a:pt x="220554" y="434916"/>
                  </a:cubicBezTo>
                  <a:cubicBezTo>
                    <a:pt x="99775" y="434916"/>
                    <a:pt x="0" y="338850"/>
                    <a:pt x="0" y="218331"/>
                  </a:cubicBezTo>
                  <a:cubicBezTo>
                    <a:pt x="0" y="97813"/>
                    <a:pt x="99775" y="0"/>
                    <a:pt x="22055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3639" name="îṡliḓe"/>
            <p:cNvSpPr/>
            <p:nvPr/>
          </p:nvSpPr>
          <p:spPr bwMode="auto">
            <a:xfrm>
              <a:off x="7774959" y="2936012"/>
              <a:ext cx="444206" cy="438014"/>
            </a:xfrm>
            <a:custGeom>
              <a:avLst/>
              <a:gdLst>
                <a:gd name="T0" fmla="*/ 135968 w 444206"/>
                <a:gd name="T1" fmla="*/ 125597 h 438014"/>
                <a:gd name="T2" fmla="*/ 200499 w 444206"/>
                <a:gd name="T3" fmla="*/ 228611 h 438014"/>
                <a:gd name="T4" fmla="*/ 144689 w 444206"/>
                <a:gd name="T5" fmla="*/ 228611 h 438014"/>
                <a:gd name="T6" fmla="*/ 144689 w 444206"/>
                <a:gd name="T7" fmla="*/ 253054 h 438014"/>
                <a:gd name="T8" fmla="*/ 203987 w 444206"/>
                <a:gd name="T9" fmla="*/ 253054 h 438014"/>
                <a:gd name="T10" fmla="*/ 203987 w 444206"/>
                <a:gd name="T11" fmla="*/ 265276 h 438014"/>
                <a:gd name="T12" fmla="*/ 144689 w 444206"/>
                <a:gd name="T13" fmla="*/ 265276 h 438014"/>
                <a:gd name="T14" fmla="*/ 144689 w 444206"/>
                <a:gd name="T15" fmla="*/ 287974 h 438014"/>
                <a:gd name="T16" fmla="*/ 203987 w 444206"/>
                <a:gd name="T17" fmla="*/ 287974 h 438014"/>
                <a:gd name="T18" fmla="*/ 203987 w 444206"/>
                <a:gd name="T19" fmla="*/ 312418 h 438014"/>
                <a:gd name="T20" fmla="*/ 237124 w 444206"/>
                <a:gd name="T21" fmla="*/ 312418 h 438014"/>
                <a:gd name="T22" fmla="*/ 237124 w 444206"/>
                <a:gd name="T23" fmla="*/ 287974 h 438014"/>
                <a:gd name="T24" fmla="*/ 296422 w 444206"/>
                <a:gd name="T25" fmla="*/ 287974 h 438014"/>
                <a:gd name="T26" fmla="*/ 296422 w 444206"/>
                <a:gd name="T27" fmla="*/ 265276 h 438014"/>
                <a:gd name="T28" fmla="*/ 237124 w 444206"/>
                <a:gd name="T29" fmla="*/ 265276 h 438014"/>
                <a:gd name="T30" fmla="*/ 237124 w 444206"/>
                <a:gd name="T31" fmla="*/ 253054 h 438014"/>
                <a:gd name="T32" fmla="*/ 296422 w 444206"/>
                <a:gd name="T33" fmla="*/ 253054 h 438014"/>
                <a:gd name="T34" fmla="*/ 296422 w 444206"/>
                <a:gd name="T35" fmla="*/ 228611 h 438014"/>
                <a:gd name="T36" fmla="*/ 238868 w 444206"/>
                <a:gd name="T37" fmla="*/ 228611 h 438014"/>
                <a:gd name="T38" fmla="*/ 305142 w 444206"/>
                <a:gd name="T39" fmla="*/ 125597 h 438014"/>
                <a:gd name="T40" fmla="*/ 266773 w 444206"/>
                <a:gd name="T41" fmla="*/ 125597 h 438014"/>
                <a:gd name="T42" fmla="*/ 233636 w 444206"/>
                <a:gd name="T43" fmla="*/ 179723 h 438014"/>
                <a:gd name="T44" fmla="*/ 221427 w 444206"/>
                <a:gd name="T45" fmla="*/ 200675 h 438014"/>
                <a:gd name="T46" fmla="*/ 209219 w 444206"/>
                <a:gd name="T47" fmla="*/ 181469 h 438014"/>
                <a:gd name="T48" fmla="*/ 176082 w 444206"/>
                <a:gd name="T49" fmla="*/ 125597 h 438014"/>
                <a:gd name="T50" fmla="*/ 135968 w 444206"/>
                <a:gd name="T51" fmla="*/ 125597 h 438014"/>
                <a:gd name="T52" fmla="*/ 221427 w 444206"/>
                <a:gd name="T53" fmla="*/ 41790 h 438014"/>
                <a:gd name="T54" fmla="*/ 399321 w 444206"/>
                <a:gd name="T55" fmla="*/ 219881 h 438014"/>
                <a:gd name="T56" fmla="*/ 221427 w 444206"/>
                <a:gd name="T57" fmla="*/ 396225 h 438014"/>
                <a:gd name="T58" fmla="*/ 41789 w 444206"/>
                <a:gd name="T59" fmla="*/ 219881 h 438014"/>
                <a:gd name="T60" fmla="*/ 221427 w 444206"/>
                <a:gd name="T61" fmla="*/ 41790 h 438014"/>
                <a:gd name="T62" fmla="*/ 222103 w 444206"/>
                <a:gd name="T63" fmla="*/ 26176 h 438014"/>
                <a:gd name="T64" fmla="*/ 27981 w 444206"/>
                <a:gd name="T65" fmla="*/ 219880 h 438014"/>
                <a:gd name="T66" fmla="*/ 222103 w 444206"/>
                <a:gd name="T67" fmla="*/ 411838 h 438014"/>
                <a:gd name="T68" fmla="*/ 416225 w 444206"/>
                <a:gd name="T69" fmla="*/ 219880 h 438014"/>
                <a:gd name="T70" fmla="*/ 222103 w 444206"/>
                <a:gd name="T71" fmla="*/ 26176 h 438014"/>
                <a:gd name="T72" fmla="*/ 222103 w 444206"/>
                <a:gd name="T73" fmla="*/ 0 h 438014"/>
                <a:gd name="T74" fmla="*/ 444206 w 444206"/>
                <a:gd name="T75" fmla="*/ 219880 h 438014"/>
                <a:gd name="T76" fmla="*/ 222103 w 444206"/>
                <a:gd name="T77" fmla="*/ 438014 h 438014"/>
                <a:gd name="T78" fmla="*/ 0 w 444206"/>
                <a:gd name="T79" fmla="*/ 219880 h 438014"/>
                <a:gd name="T80" fmla="*/ 222103 w 444206"/>
                <a:gd name="T81" fmla="*/ 0 h 4380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44206" h="438014">
                  <a:moveTo>
                    <a:pt x="135968" y="125597"/>
                  </a:moveTo>
                  <a:cubicBezTo>
                    <a:pt x="135968" y="125597"/>
                    <a:pt x="135968" y="125597"/>
                    <a:pt x="200499" y="228611"/>
                  </a:cubicBezTo>
                  <a:cubicBezTo>
                    <a:pt x="200499" y="228611"/>
                    <a:pt x="200499" y="228611"/>
                    <a:pt x="144689" y="228611"/>
                  </a:cubicBezTo>
                  <a:cubicBezTo>
                    <a:pt x="144689" y="228611"/>
                    <a:pt x="144689" y="228611"/>
                    <a:pt x="144689" y="253054"/>
                  </a:cubicBezTo>
                  <a:cubicBezTo>
                    <a:pt x="144689" y="253054"/>
                    <a:pt x="144689" y="253054"/>
                    <a:pt x="203987" y="253054"/>
                  </a:cubicBezTo>
                  <a:cubicBezTo>
                    <a:pt x="203987" y="253054"/>
                    <a:pt x="203987" y="253054"/>
                    <a:pt x="203987" y="265276"/>
                  </a:cubicBezTo>
                  <a:cubicBezTo>
                    <a:pt x="203987" y="265276"/>
                    <a:pt x="203987" y="265276"/>
                    <a:pt x="144689" y="265276"/>
                  </a:cubicBezTo>
                  <a:cubicBezTo>
                    <a:pt x="144689" y="265276"/>
                    <a:pt x="144689" y="265276"/>
                    <a:pt x="144689" y="287974"/>
                  </a:cubicBezTo>
                  <a:cubicBezTo>
                    <a:pt x="144689" y="287974"/>
                    <a:pt x="144689" y="287974"/>
                    <a:pt x="203987" y="287974"/>
                  </a:cubicBezTo>
                  <a:cubicBezTo>
                    <a:pt x="203987" y="287974"/>
                    <a:pt x="203987" y="287974"/>
                    <a:pt x="203987" y="312418"/>
                  </a:cubicBezTo>
                  <a:cubicBezTo>
                    <a:pt x="203987" y="312418"/>
                    <a:pt x="203987" y="312418"/>
                    <a:pt x="237124" y="312418"/>
                  </a:cubicBezTo>
                  <a:cubicBezTo>
                    <a:pt x="237124" y="312418"/>
                    <a:pt x="237124" y="312418"/>
                    <a:pt x="237124" y="287974"/>
                  </a:cubicBezTo>
                  <a:cubicBezTo>
                    <a:pt x="237124" y="287974"/>
                    <a:pt x="237124" y="287974"/>
                    <a:pt x="296422" y="287974"/>
                  </a:cubicBezTo>
                  <a:cubicBezTo>
                    <a:pt x="296422" y="287974"/>
                    <a:pt x="296422" y="287974"/>
                    <a:pt x="296422" y="265276"/>
                  </a:cubicBezTo>
                  <a:cubicBezTo>
                    <a:pt x="296422" y="265276"/>
                    <a:pt x="296422" y="265276"/>
                    <a:pt x="237124" y="265276"/>
                  </a:cubicBezTo>
                  <a:cubicBezTo>
                    <a:pt x="237124" y="265276"/>
                    <a:pt x="237124" y="265276"/>
                    <a:pt x="237124" y="253054"/>
                  </a:cubicBezTo>
                  <a:cubicBezTo>
                    <a:pt x="237124" y="253054"/>
                    <a:pt x="237124" y="253054"/>
                    <a:pt x="296422" y="253054"/>
                  </a:cubicBezTo>
                  <a:cubicBezTo>
                    <a:pt x="296422" y="253054"/>
                    <a:pt x="296422" y="253054"/>
                    <a:pt x="296422" y="228611"/>
                  </a:cubicBezTo>
                  <a:lnTo>
                    <a:pt x="238868" y="228611"/>
                  </a:lnTo>
                  <a:cubicBezTo>
                    <a:pt x="238868" y="228611"/>
                    <a:pt x="238868" y="228611"/>
                    <a:pt x="305142" y="125597"/>
                  </a:cubicBezTo>
                  <a:cubicBezTo>
                    <a:pt x="305142" y="125597"/>
                    <a:pt x="305142" y="125597"/>
                    <a:pt x="266773" y="125597"/>
                  </a:cubicBezTo>
                  <a:cubicBezTo>
                    <a:pt x="266773" y="125597"/>
                    <a:pt x="266773" y="125597"/>
                    <a:pt x="233636" y="179723"/>
                  </a:cubicBezTo>
                  <a:cubicBezTo>
                    <a:pt x="228404" y="188453"/>
                    <a:pt x="224915" y="195437"/>
                    <a:pt x="221427" y="200675"/>
                  </a:cubicBezTo>
                  <a:cubicBezTo>
                    <a:pt x="217939" y="195437"/>
                    <a:pt x="214451" y="188453"/>
                    <a:pt x="209219" y="181469"/>
                  </a:cubicBezTo>
                  <a:cubicBezTo>
                    <a:pt x="209219" y="181469"/>
                    <a:pt x="209219" y="181469"/>
                    <a:pt x="176082" y="125597"/>
                  </a:cubicBezTo>
                  <a:cubicBezTo>
                    <a:pt x="176082" y="125597"/>
                    <a:pt x="176082" y="125597"/>
                    <a:pt x="135968" y="125597"/>
                  </a:cubicBezTo>
                  <a:close/>
                  <a:moveTo>
                    <a:pt x="221427" y="41790"/>
                  </a:moveTo>
                  <a:cubicBezTo>
                    <a:pt x="319095" y="41790"/>
                    <a:pt x="399321" y="122105"/>
                    <a:pt x="399321" y="219881"/>
                  </a:cubicBezTo>
                  <a:cubicBezTo>
                    <a:pt x="399321" y="315910"/>
                    <a:pt x="319095" y="396225"/>
                    <a:pt x="221427" y="396225"/>
                  </a:cubicBezTo>
                  <a:cubicBezTo>
                    <a:pt x="122016" y="396225"/>
                    <a:pt x="41789" y="315910"/>
                    <a:pt x="41789" y="219881"/>
                  </a:cubicBezTo>
                  <a:cubicBezTo>
                    <a:pt x="41789" y="122105"/>
                    <a:pt x="122016" y="41790"/>
                    <a:pt x="221427" y="41790"/>
                  </a:cubicBezTo>
                  <a:close/>
                  <a:moveTo>
                    <a:pt x="222103" y="26176"/>
                  </a:moveTo>
                  <a:cubicBezTo>
                    <a:pt x="113675" y="26176"/>
                    <a:pt x="27981" y="113430"/>
                    <a:pt x="27981" y="219880"/>
                  </a:cubicBezTo>
                  <a:cubicBezTo>
                    <a:pt x="27981" y="324584"/>
                    <a:pt x="113675" y="411838"/>
                    <a:pt x="222103" y="411838"/>
                  </a:cubicBezTo>
                  <a:cubicBezTo>
                    <a:pt x="328783" y="411838"/>
                    <a:pt x="416225" y="324584"/>
                    <a:pt x="416225" y="219880"/>
                  </a:cubicBezTo>
                  <a:cubicBezTo>
                    <a:pt x="416225" y="113430"/>
                    <a:pt x="328783" y="26176"/>
                    <a:pt x="222103" y="26176"/>
                  </a:cubicBezTo>
                  <a:close/>
                  <a:moveTo>
                    <a:pt x="222103" y="0"/>
                  </a:moveTo>
                  <a:cubicBezTo>
                    <a:pt x="344522" y="0"/>
                    <a:pt x="444206" y="97724"/>
                    <a:pt x="444206" y="219880"/>
                  </a:cubicBezTo>
                  <a:cubicBezTo>
                    <a:pt x="444206" y="340290"/>
                    <a:pt x="344522" y="438014"/>
                    <a:pt x="222103" y="438014"/>
                  </a:cubicBezTo>
                  <a:cubicBezTo>
                    <a:pt x="99684" y="438014"/>
                    <a:pt x="0" y="340290"/>
                    <a:pt x="0" y="219880"/>
                  </a:cubicBezTo>
                  <a:cubicBezTo>
                    <a:pt x="0" y="97724"/>
                    <a:pt x="99684" y="0"/>
                    <a:pt x="2221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14" name="直接连接符 13"/>
            <p:cNvCxnSpPr/>
            <p:nvPr/>
          </p:nvCxnSpPr>
          <p:spPr bwMode="auto">
            <a:xfrm>
              <a:off x="669611" y="3523217"/>
              <a:ext cx="2964024" cy="0"/>
            </a:xfrm>
            <a:prstGeom prst="line">
              <a:avLst/>
            </a:prstGeom>
            <a:gradFill rotWithShape="1">
              <a:gsLst>
                <a:gs pos="0">
                  <a:schemeClr val="bg2"/>
                </a:gs>
                <a:gs pos="100000">
                  <a:schemeClr val="bg2">
                    <a:gamma/>
                    <a:shade val="46275"/>
                    <a:invGamma/>
                  </a:schemeClr>
                </a:gs>
              </a:gsLst>
              <a:lin ang="5400000" scaled="1"/>
            </a:gradFill>
            <a:ln w="3175" cap="flat" cmpd="sng" algn="ctr">
              <a:solidFill>
                <a:srgbClr val="C0C0C0"/>
              </a:solidFill>
              <a:prstDash val="solid"/>
              <a:round/>
              <a:headEnd type="none" w="med" len="med"/>
              <a:tailEnd type="none" w="med" len="med"/>
            </a:ln>
            <a:effectLst/>
          </p:spPr>
        </p:cxnSp>
        <p:cxnSp>
          <p:nvCxnSpPr>
            <p:cNvPr id="16" name="直接连接符 15"/>
            <p:cNvCxnSpPr/>
            <p:nvPr/>
          </p:nvCxnSpPr>
          <p:spPr bwMode="auto">
            <a:xfrm>
              <a:off x="8555151" y="3523217"/>
              <a:ext cx="2964023" cy="0"/>
            </a:xfrm>
            <a:prstGeom prst="line">
              <a:avLst/>
            </a:prstGeom>
            <a:gradFill rotWithShape="1">
              <a:gsLst>
                <a:gs pos="0">
                  <a:schemeClr val="bg2"/>
                </a:gs>
                <a:gs pos="100000">
                  <a:schemeClr val="bg2">
                    <a:gamma/>
                    <a:shade val="46275"/>
                    <a:invGamma/>
                  </a:schemeClr>
                </a:gs>
              </a:gsLst>
              <a:lin ang="5400000" scaled="1"/>
            </a:gradFill>
            <a:ln w="3175" cap="flat" cmpd="sng" algn="ctr">
              <a:solidFill>
                <a:srgbClr val="C0C0C0"/>
              </a:solidFill>
              <a:prstDash val="solid"/>
              <a:round/>
              <a:headEnd type="none" w="med" len="med"/>
              <a:tailEnd type="none" w="med" len="med"/>
            </a:ln>
            <a:effectLst/>
          </p:spPr>
        </p:cxnSp>
        <p:grpSp>
          <p:nvGrpSpPr>
            <p:cNvPr id="23642" name="ïsļíďé"/>
            <p:cNvGrpSpPr/>
            <p:nvPr/>
          </p:nvGrpSpPr>
          <p:grpSpPr bwMode="auto">
            <a:xfrm>
              <a:off x="665005" y="1538458"/>
              <a:ext cx="3379507" cy="1978204"/>
              <a:chOff x="666909" y="1452599"/>
              <a:chExt cx="2584445" cy="1978204"/>
            </a:xfrm>
          </p:grpSpPr>
          <p:sp>
            <p:nvSpPr>
              <p:cNvPr id="27" name="íṣ1ïḍé"/>
              <p:cNvSpPr/>
              <p:nvPr/>
            </p:nvSpPr>
            <p:spPr bwMode="auto">
              <a:xfrm>
                <a:off x="666789" y="1981747"/>
                <a:ext cx="2264279" cy="1449261"/>
              </a:xfrm>
              <a:prstGeom prst="rect">
                <a:avLst/>
              </a:prstGeom>
              <a:no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fontAlgn="auto">
                  <a:lnSpc>
                    <a:spcPct val="120000"/>
                  </a:lnSpc>
                  <a:spcBef>
                    <a:spcPts val="0"/>
                  </a:spcBef>
                  <a:spcAft>
                    <a:spcPts val="0"/>
                  </a:spcAft>
                  <a:buFont typeface="Wingdings" panose="05000000000000000000" pitchFamily="2" charset="2"/>
                  <a:buChar char="ü"/>
                  <a:defRPr/>
                </a:pPr>
                <a:r>
                  <a:rPr lang="zh-CN" altLang="zh-CN" sz="1400" dirty="0">
                    <a:latin typeface="+mn-ea"/>
                    <a:ea typeface="+mn-ea"/>
                  </a:rPr>
                  <a:t>优先受理</a:t>
                </a:r>
                <a:r>
                  <a:rPr lang="zh-CN" altLang="en-US" sz="1400" dirty="0">
                    <a:latin typeface="+mn-ea"/>
                    <a:ea typeface="+mn-ea"/>
                  </a:rPr>
                  <a:t>，专人对接</a:t>
                </a:r>
                <a:endParaRPr lang="en-US" altLang="zh-CN" sz="1400" dirty="0">
                  <a:latin typeface="+mn-ea"/>
                  <a:ea typeface="+mn-ea"/>
                </a:endParaRPr>
              </a:p>
              <a:p>
                <a:pPr marL="285750" indent="-285750" fontAlgn="auto">
                  <a:lnSpc>
                    <a:spcPct val="120000"/>
                  </a:lnSpc>
                  <a:spcBef>
                    <a:spcPts val="0"/>
                  </a:spcBef>
                  <a:spcAft>
                    <a:spcPts val="0"/>
                  </a:spcAft>
                  <a:buFont typeface="Wingdings" panose="05000000000000000000" pitchFamily="2" charset="2"/>
                  <a:buChar char="ü"/>
                  <a:defRPr/>
                </a:pPr>
                <a:r>
                  <a:rPr lang="zh-CN" altLang="en-US" sz="1400" dirty="0">
                    <a:latin typeface="+mn-ea"/>
                    <a:ea typeface="+mn-ea"/>
                  </a:rPr>
                  <a:t>特事特办，最快</a:t>
                </a:r>
                <a:r>
                  <a:rPr lang="en-US" altLang="zh-CN" sz="1400" dirty="0">
                    <a:latin typeface="+mn-ea"/>
                    <a:ea typeface="+mn-ea"/>
                  </a:rPr>
                  <a:t>2</a:t>
                </a:r>
                <a:r>
                  <a:rPr lang="zh-CN" altLang="en-US" sz="1400" dirty="0">
                    <a:latin typeface="+mn-ea"/>
                    <a:ea typeface="+mn-ea"/>
                  </a:rPr>
                  <a:t>个工作日内完成审批</a:t>
                </a:r>
                <a:endParaRPr lang="en-US" altLang="zh-CN" sz="1400" dirty="0">
                  <a:latin typeface="+mn-ea"/>
                  <a:ea typeface="+mn-ea"/>
                </a:endParaRPr>
              </a:p>
              <a:p>
                <a:pPr marL="285750" indent="-285750" fontAlgn="auto">
                  <a:lnSpc>
                    <a:spcPct val="120000"/>
                  </a:lnSpc>
                  <a:spcBef>
                    <a:spcPts val="0"/>
                  </a:spcBef>
                  <a:spcAft>
                    <a:spcPts val="0"/>
                  </a:spcAft>
                  <a:buFont typeface="Wingdings" panose="05000000000000000000" pitchFamily="2" charset="2"/>
                  <a:buChar char="ü"/>
                  <a:defRPr/>
                </a:pPr>
                <a:r>
                  <a:rPr lang="zh-CN" altLang="zh-CN" sz="1400" dirty="0">
                    <a:latin typeface="+mn-lt"/>
                    <a:ea typeface="+mn-ea"/>
                  </a:rPr>
                  <a:t>加快结算账户开立</a:t>
                </a:r>
                <a:r>
                  <a:rPr lang="zh-CN" altLang="en-US" sz="1400" dirty="0">
                    <a:latin typeface="+mn-lt"/>
                    <a:ea typeface="+mn-ea"/>
                  </a:rPr>
                  <a:t>、</a:t>
                </a:r>
                <a:r>
                  <a:rPr lang="zh-CN" altLang="zh-CN" sz="1400" dirty="0">
                    <a:latin typeface="+mn-lt"/>
                    <a:ea typeface="+mn-ea"/>
                  </a:rPr>
                  <a:t>资金划转等业务办理流程</a:t>
                </a:r>
                <a:endParaRPr lang="en-US" altLang="zh-CN" sz="1400" dirty="0">
                  <a:latin typeface="+mn-ea"/>
                  <a:ea typeface="+mn-ea"/>
                </a:endParaRPr>
              </a:p>
            </p:txBody>
          </p:sp>
          <p:sp>
            <p:nvSpPr>
              <p:cNvPr id="23653" name="îś1iḓe"/>
              <p:cNvSpPr txBox="1">
                <a:spLocks noChangeArrowheads="1"/>
              </p:cNvSpPr>
              <p:nvPr/>
            </p:nvSpPr>
            <p:spPr bwMode="auto">
              <a:xfrm>
                <a:off x="673100" y="1452599"/>
                <a:ext cx="2578254" cy="44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3130">
                  <a:lnSpc>
                    <a:spcPct val="90000"/>
                  </a:lnSpc>
                  <a:spcBef>
                    <a:spcPts val="10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1pPr>
                <a:lvl2pPr marL="455930" indent="-227330" defTabSz="91313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2pPr>
                <a:lvl3pPr marL="913130" indent="-227330" defTabSz="91313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3pPr>
                <a:lvl4pPr marL="13703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4pPr>
                <a:lvl5pPr marL="18275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5pPr>
                <a:lvl6pPr marL="22847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6pPr>
                <a:lvl7pPr marL="27419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7pPr>
                <a:lvl8pPr marL="31991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8pPr>
                <a:lvl9pPr marL="36563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9pPr>
              </a:lstStyle>
              <a:p>
                <a:pPr eaLnBrk="1" hangingPunct="1">
                  <a:lnSpc>
                    <a:spcPct val="100000"/>
                  </a:lnSpc>
                  <a:spcBef>
                    <a:spcPct val="0"/>
                  </a:spcBef>
                  <a:buFontTx/>
                  <a:buNone/>
                </a:pPr>
                <a:r>
                  <a:rPr lang="zh-CN" altLang="zh-CN" sz="2000" b="1" dirty="0"/>
                  <a:t>开通绿色信贷通道</a:t>
                </a:r>
                <a:endParaRPr lang="en-US" altLang="zh-CN" sz="2000" b="1" dirty="0"/>
              </a:p>
            </p:txBody>
          </p:sp>
        </p:grpSp>
        <p:grpSp>
          <p:nvGrpSpPr>
            <p:cNvPr id="23643" name="îSḻîde"/>
            <p:cNvGrpSpPr/>
            <p:nvPr/>
          </p:nvGrpSpPr>
          <p:grpSpPr bwMode="auto">
            <a:xfrm>
              <a:off x="656910" y="4038464"/>
              <a:ext cx="3379507" cy="1495939"/>
              <a:chOff x="660718" y="935537"/>
              <a:chExt cx="2584445" cy="1495939"/>
            </a:xfrm>
          </p:grpSpPr>
          <p:sp>
            <p:nvSpPr>
              <p:cNvPr id="25" name="işľîďe"/>
              <p:cNvSpPr/>
              <p:nvPr/>
            </p:nvSpPr>
            <p:spPr bwMode="auto">
              <a:xfrm>
                <a:off x="660718" y="1469535"/>
                <a:ext cx="2578729" cy="961941"/>
              </a:xfrm>
              <a:prstGeom prst="rect">
                <a:avLst/>
              </a:prstGeom>
              <a:no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fontAlgn="auto">
                  <a:lnSpc>
                    <a:spcPct val="120000"/>
                  </a:lnSpc>
                  <a:spcBef>
                    <a:spcPts val="0"/>
                  </a:spcBef>
                  <a:spcAft>
                    <a:spcPts val="0"/>
                  </a:spcAft>
                  <a:buFont typeface="Wingdings" panose="05000000000000000000" pitchFamily="2" charset="2"/>
                  <a:buChar char="ü"/>
                  <a:defRPr/>
                </a:pPr>
                <a:r>
                  <a:rPr lang="zh-CN" altLang="en-US" sz="1400" dirty="0">
                    <a:latin typeface="+mn-ea"/>
                    <a:ea typeface="+mn-ea"/>
                  </a:rPr>
                  <a:t>为防疫抗灾企业的融资提供不高于当期同档次</a:t>
                </a:r>
                <a:r>
                  <a:rPr lang="en-US" altLang="zh-CN" sz="1400" dirty="0">
                    <a:latin typeface="+mn-ea"/>
                    <a:ea typeface="+mn-ea"/>
                  </a:rPr>
                  <a:t>LPR</a:t>
                </a:r>
                <a:r>
                  <a:rPr lang="zh-CN" altLang="en-US" sz="1400" dirty="0">
                    <a:latin typeface="+mn-ea"/>
                    <a:ea typeface="+mn-ea"/>
                  </a:rPr>
                  <a:t>的贷款利率</a:t>
                </a:r>
                <a:endParaRPr lang="en-US" altLang="zh-CN" sz="1400" dirty="0">
                  <a:latin typeface="+mn-ea"/>
                  <a:ea typeface="+mn-ea"/>
                </a:endParaRPr>
              </a:p>
              <a:p>
                <a:pPr marL="285750" indent="-285750" fontAlgn="auto">
                  <a:lnSpc>
                    <a:spcPct val="120000"/>
                  </a:lnSpc>
                  <a:spcBef>
                    <a:spcPts val="0"/>
                  </a:spcBef>
                  <a:spcAft>
                    <a:spcPts val="0"/>
                  </a:spcAft>
                  <a:buFont typeface="Wingdings" panose="05000000000000000000" pitchFamily="2" charset="2"/>
                  <a:buChar char="ü"/>
                  <a:defRPr/>
                </a:pPr>
                <a:r>
                  <a:rPr lang="zh-CN" altLang="en-US" sz="1400" dirty="0">
                    <a:latin typeface="+mn-ea"/>
                    <a:ea typeface="+mn-ea"/>
                  </a:rPr>
                  <a:t>减免相关业务手续费用</a:t>
                </a:r>
                <a:endParaRPr lang="en-US" altLang="zh-CN" sz="1400" dirty="0">
                  <a:latin typeface="+mn-ea"/>
                  <a:ea typeface="+mn-ea"/>
                </a:endParaRPr>
              </a:p>
            </p:txBody>
          </p:sp>
          <p:sp>
            <p:nvSpPr>
              <p:cNvPr id="23651" name="îṩlíḓè"/>
              <p:cNvSpPr txBox="1">
                <a:spLocks noChangeArrowheads="1"/>
              </p:cNvSpPr>
              <p:nvPr/>
            </p:nvSpPr>
            <p:spPr bwMode="auto">
              <a:xfrm>
                <a:off x="666909" y="935537"/>
                <a:ext cx="2578254" cy="44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3130">
                  <a:lnSpc>
                    <a:spcPct val="90000"/>
                  </a:lnSpc>
                  <a:spcBef>
                    <a:spcPts val="10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1pPr>
                <a:lvl2pPr marL="455930" indent="-227330" defTabSz="91313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2pPr>
                <a:lvl3pPr marL="913130" indent="-227330" defTabSz="91313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3pPr>
                <a:lvl4pPr marL="13703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4pPr>
                <a:lvl5pPr marL="18275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5pPr>
                <a:lvl6pPr marL="22847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6pPr>
                <a:lvl7pPr marL="27419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7pPr>
                <a:lvl8pPr marL="31991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8pPr>
                <a:lvl9pPr marL="36563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9pPr>
              </a:lstStyle>
              <a:p>
                <a:pPr eaLnBrk="1" hangingPunct="1">
                  <a:lnSpc>
                    <a:spcPct val="100000"/>
                  </a:lnSpc>
                  <a:spcBef>
                    <a:spcPct val="0"/>
                  </a:spcBef>
                  <a:buFontTx/>
                  <a:buNone/>
                </a:pPr>
                <a:r>
                  <a:rPr lang="zh-CN" altLang="en-US" sz="2000" b="1"/>
                  <a:t>实行利率优惠政策</a:t>
                </a:r>
                <a:endParaRPr lang="en-US" altLang="zh-CN" sz="2000" b="1"/>
              </a:p>
            </p:txBody>
          </p:sp>
        </p:grpSp>
        <p:grpSp>
          <p:nvGrpSpPr>
            <p:cNvPr id="23644" name="ïS1ïďè"/>
            <p:cNvGrpSpPr/>
            <p:nvPr/>
          </p:nvGrpSpPr>
          <p:grpSpPr bwMode="auto">
            <a:xfrm>
              <a:off x="8057486" y="1515204"/>
              <a:ext cx="3463000" cy="1450633"/>
              <a:chOff x="603057" y="1429345"/>
              <a:chExt cx="2648296" cy="1450633"/>
            </a:xfrm>
          </p:grpSpPr>
          <p:sp>
            <p:nvSpPr>
              <p:cNvPr id="23" name="ï$ḻîḋe"/>
              <p:cNvSpPr/>
              <p:nvPr/>
            </p:nvSpPr>
            <p:spPr bwMode="auto">
              <a:xfrm>
                <a:off x="603631" y="1981747"/>
                <a:ext cx="2577516" cy="898446"/>
              </a:xfrm>
              <a:prstGeom prst="rect">
                <a:avLst/>
              </a:prstGeom>
              <a:noFill/>
              <a:ln>
                <a:noFill/>
              </a:ln>
            </p:spPr>
            <p:txBody>
              <a:bodyP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gn="r" fontAlgn="auto">
                  <a:lnSpc>
                    <a:spcPct val="120000"/>
                  </a:lnSpc>
                  <a:spcBef>
                    <a:spcPts val="0"/>
                  </a:spcBef>
                  <a:spcAft>
                    <a:spcPts val="0"/>
                  </a:spcAft>
                  <a:buFont typeface="Wingdings" panose="05000000000000000000" pitchFamily="2" charset="2"/>
                  <a:buChar char="ü"/>
                  <a:defRPr/>
                </a:pPr>
                <a:r>
                  <a:rPr lang="zh-CN" altLang="en-US" sz="1400" dirty="0">
                    <a:latin typeface="+mn-ea"/>
                    <a:ea typeface="+mn-ea"/>
                  </a:rPr>
                  <a:t>定向扶持，高效推进</a:t>
                </a:r>
                <a:endParaRPr lang="en-US" altLang="zh-CN" sz="1400" dirty="0">
                  <a:latin typeface="+mn-ea"/>
                  <a:ea typeface="+mn-ea"/>
                </a:endParaRPr>
              </a:p>
              <a:p>
                <a:pPr marL="285750" indent="-285750" algn="r" fontAlgn="auto">
                  <a:lnSpc>
                    <a:spcPct val="120000"/>
                  </a:lnSpc>
                  <a:spcBef>
                    <a:spcPts val="0"/>
                  </a:spcBef>
                  <a:spcAft>
                    <a:spcPts val="0"/>
                  </a:spcAft>
                  <a:buFont typeface="Wingdings" panose="05000000000000000000" pitchFamily="2" charset="2"/>
                  <a:buChar char="ü"/>
                  <a:defRPr/>
                </a:pPr>
                <a:r>
                  <a:rPr lang="zh-CN" altLang="en-US" sz="1400" dirty="0">
                    <a:latin typeface="+mn-ea"/>
                    <a:ea typeface="+mn-ea"/>
                  </a:rPr>
                  <a:t>流程优化，即报即审</a:t>
                </a:r>
                <a:endParaRPr lang="en-US" altLang="zh-CN" sz="1400" dirty="0">
                  <a:latin typeface="+mn-ea"/>
                  <a:ea typeface="+mn-ea"/>
                </a:endParaRPr>
              </a:p>
              <a:p>
                <a:pPr marL="285750" indent="-285750" algn="r" fontAlgn="auto">
                  <a:lnSpc>
                    <a:spcPct val="120000"/>
                  </a:lnSpc>
                  <a:spcBef>
                    <a:spcPts val="0"/>
                  </a:spcBef>
                  <a:spcAft>
                    <a:spcPts val="0"/>
                  </a:spcAft>
                  <a:buFont typeface="Wingdings" panose="05000000000000000000" pitchFamily="2" charset="2"/>
                  <a:buChar char="ü"/>
                  <a:defRPr/>
                </a:pPr>
                <a:r>
                  <a:rPr lang="zh-CN" altLang="en-US" sz="1400" dirty="0">
                    <a:latin typeface="+mn-ea"/>
                    <a:ea typeface="+mn-ea"/>
                  </a:rPr>
                  <a:t>快速投放，专项优惠</a:t>
                </a:r>
                <a:endParaRPr lang="en-US" altLang="zh-CN" sz="1400" dirty="0">
                  <a:latin typeface="+mn-ea"/>
                  <a:ea typeface="+mn-ea"/>
                </a:endParaRPr>
              </a:p>
            </p:txBody>
          </p:sp>
          <p:sp>
            <p:nvSpPr>
              <p:cNvPr id="23649" name="iṡḷïḑé"/>
              <p:cNvSpPr txBox="1">
                <a:spLocks noChangeArrowheads="1"/>
              </p:cNvSpPr>
              <p:nvPr/>
            </p:nvSpPr>
            <p:spPr bwMode="auto">
              <a:xfrm>
                <a:off x="673099" y="1429345"/>
                <a:ext cx="2578254" cy="44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3130">
                  <a:lnSpc>
                    <a:spcPct val="90000"/>
                  </a:lnSpc>
                  <a:spcBef>
                    <a:spcPts val="10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1pPr>
                <a:lvl2pPr marL="455930" indent="-227330" defTabSz="91313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2pPr>
                <a:lvl3pPr marL="913130" indent="-227330" defTabSz="91313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3pPr>
                <a:lvl4pPr marL="13703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4pPr>
                <a:lvl5pPr marL="18275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5pPr>
                <a:lvl6pPr marL="22847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6pPr>
                <a:lvl7pPr marL="27419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7pPr>
                <a:lvl8pPr marL="31991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8pPr>
                <a:lvl9pPr marL="36563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9pPr>
              </a:lstStyle>
              <a:p>
                <a:pPr algn="r" eaLnBrk="1" hangingPunct="1">
                  <a:lnSpc>
                    <a:spcPct val="100000"/>
                  </a:lnSpc>
                  <a:spcBef>
                    <a:spcPct val="0"/>
                  </a:spcBef>
                  <a:buFontTx/>
                  <a:buNone/>
                </a:pPr>
                <a:r>
                  <a:rPr lang="zh-CN" altLang="zh-CN" sz="2000" b="1"/>
                  <a:t>推出“抗疫贷”</a:t>
                </a:r>
                <a:r>
                  <a:rPr lang="zh-CN" altLang="en-US" sz="2000" b="1"/>
                  <a:t>专属</a:t>
                </a:r>
                <a:r>
                  <a:rPr lang="zh-CN" altLang="zh-CN" sz="2000" b="1"/>
                  <a:t>产品</a:t>
                </a:r>
                <a:endParaRPr lang="en-US" altLang="zh-CN" sz="2000" b="1"/>
              </a:p>
            </p:txBody>
          </p:sp>
        </p:grpSp>
        <p:grpSp>
          <p:nvGrpSpPr>
            <p:cNvPr id="23645" name="iṡľïḋè"/>
            <p:cNvGrpSpPr/>
            <p:nvPr/>
          </p:nvGrpSpPr>
          <p:grpSpPr bwMode="auto">
            <a:xfrm>
              <a:off x="8057486" y="4038464"/>
              <a:ext cx="3531542" cy="1299222"/>
              <a:chOff x="603057" y="935537"/>
              <a:chExt cx="2700712" cy="1299222"/>
            </a:xfrm>
          </p:grpSpPr>
          <p:sp>
            <p:nvSpPr>
              <p:cNvPr id="23646" name="íṥḻîḑé"/>
              <p:cNvSpPr>
                <a:spLocks noChangeArrowheads="1"/>
              </p:cNvSpPr>
              <p:nvPr/>
            </p:nvSpPr>
            <p:spPr bwMode="auto">
              <a:xfrm>
                <a:off x="603057" y="1469458"/>
                <a:ext cx="2578254"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defTabSz="913130">
                  <a:lnSpc>
                    <a:spcPct val="90000"/>
                  </a:lnSpc>
                  <a:spcBef>
                    <a:spcPts val="10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1pPr>
                <a:lvl2pPr marL="455930" indent="-227330" defTabSz="91313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2pPr>
                <a:lvl3pPr marL="913130" indent="-227330" defTabSz="91313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3pPr>
                <a:lvl4pPr marL="13703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4pPr>
                <a:lvl5pPr marL="18275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5pPr>
                <a:lvl6pPr marL="22847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6pPr>
                <a:lvl7pPr marL="27419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7pPr>
                <a:lvl8pPr marL="31991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8pPr>
                <a:lvl9pPr marL="36563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9pPr>
              </a:lstStyle>
              <a:p>
                <a:pPr algn="r" eaLnBrk="1" hangingPunct="1">
                  <a:lnSpc>
                    <a:spcPct val="120000"/>
                  </a:lnSpc>
                  <a:spcBef>
                    <a:spcPct val="0"/>
                  </a:spcBef>
                  <a:buFont typeface="Wingdings" panose="05000000000000000000" pitchFamily="2" charset="2"/>
                  <a:buChar char="ü"/>
                </a:pPr>
                <a:r>
                  <a:rPr lang="zh-CN" altLang="en-US" sz="1400"/>
                  <a:t>腾出专项信贷额度</a:t>
                </a:r>
                <a:endParaRPr lang="en-US" altLang="zh-CN" sz="1400"/>
              </a:p>
              <a:p>
                <a:pPr algn="r" eaLnBrk="1" hangingPunct="1">
                  <a:lnSpc>
                    <a:spcPct val="120000"/>
                  </a:lnSpc>
                  <a:spcBef>
                    <a:spcPct val="0"/>
                  </a:spcBef>
                  <a:buFont typeface="Wingdings" panose="05000000000000000000" pitchFamily="2" charset="2"/>
                  <a:buChar char="ü"/>
                </a:pPr>
                <a:r>
                  <a:rPr lang="zh-CN" altLang="en-US" sz="1400"/>
                  <a:t>全力满足资金需求</a:t>
                </a:r>
                <a:endParaRPr lang="en-US" altLang="zh-CN" sz="1400"/>
              </a:p>
            </p:txBody>
          </p:sp>
          <p:sp>
            <p:nvSpPr>
              <p:cNvPr id="23647" name="îṣļidê"/>
              <p:cNvSpPr txBox="1">
                <a:spLocks noChangeArrowheads="1"/>
              </p:cNvSpPr>
              <p:nvPr/>
            </p:nvSpPr>
            <p:spPr bwMode="auto">
              <a:xfrm>
                <a:off x="725515" y="935537"/>
                <a:ext cx="2578254" cy="44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3130">
                  <a:lnSpc>
                    <a:spcPct val="90000"/>
                  </a:lnSpc>
                  <a:spcBef>
                    <a:spcPts val="10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1pPr>
                <a:lvl2pPr marL="455930" indent="-227330" defTabSz="91313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2pPr>
                <a:lvl3pPr marL="913130" indent="-227330" defTabSz="91313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3pPr>
                <a:lvl4pPr marL="13703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4pPr>
                <a:lvl5pPr marL="1827530" indent="-227330" defTabSz="913130">
                  <a:lnSpc>
                    <a:spcPct val="90000"/>
                  </a:lnSpc>
                  <a:spcBef>
                    <a:spcPts val="500"/>
                  </a:spcBef>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5pPr>
                <a:lvl6pPr marL="22847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6pPr>
                <a:lvl7pPr marL="27419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7pPr>
                <a:lvl8pPr marL="31991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8pPr>
                <a:lvl9pPr marL="3656330" indent="-227330" defTabSz="913130" fontAlgn="base">
                  <a:lnSpc>
                    <a:spcPct val="90000"/>
                  </a:lnSpc>
                  <a:spcBef>
                    <a:spcPts val="500"/>
                  </a:spcBef>
                  <a:spcAft>
                    <a:spcPct val="0"/>
                  </a:spcAft>
                  <a:buFont typeface="Arial" panose="020B0604020202020204" pitchFamily="34" charset="0"/>
                  <a:buChar char="•"/>
                  <a:defRPr sz="1200">
                    <a:solidFill>
                      <a:schemeClr val="tx1"/>
                    </a:solidFill>
                    <a:latin typeface="Arial" panose="020B0604020202020204" pitchFamily="34" charset="0"/>
                    <a:ea typeface="微软雅黑" panose="020B0503020204020204" pitchFamily="34" charset="-122"/>
                  </a:defRPr>
                </a:lvl9pPr>
              </a:lstStyle>
              <a:p>
                <a:pPr algn="r" eaLnBrk="1" hangingPunct="1">
                  <a:lnSpc>
                    <a:spcPct val="100000"/>
                  </a:lnSpc>
                  <a:spcBef>
                    <a:spcPct val="0"/>
                  </a:spcBef>
                  <a:buFontTx/>
                  <a:buNone/>
                </a:pPr>
                <a:r>
                  <a:rPr lang="zh-CN" altLang="en-US" sz="2000" b="1"/>
                  <a:t>优先安排信贷投放</a:t>
                </a:r>
                <a:endParaRPr lang="en-US" altLang="zh-CN" sz="2000" b="1"/>
              </a:p>
            </p:txBody>
          </p:sp>
        </p:grpSp>
      </p:grpSp>
      <p:grpSp>
        <p:nvGrpSpPr>
          <p:cNvPr id="23556" name="2c050e9f-c9f5-4ad8-b0d9-3aa0f730f38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custDataLst>
              <p:tags r:id="rId2"/>
            </p:custDataLst>
          </p:nvPr>
        </p:nvGrpSpPr>
        <p:grpSpPr bwMode="auto">
          <a:xfrm>
            <a:off x="5257800" y="2620963"/>
            <a:ext cx="1676400" cy="1487487"/>
            <a:chOff x="3611634" y="1226308"/>
            <a:chExt cx="4968732" cy="4405385"/>
          </a:xfrm>
        </p:grpSpPr>
        <p:grpSp>
          <p:nvGrpSpPr>
            <p:cNvPr id="23557" name="íṧlíḋe"/>
            <p:cNvGrpSpPr/>
            <p:nvPr/>
          </p:nvGrpSpPr>
          <p:grpSpPr bwMode="auto">
            <a:xfrm>
              <a:off x="3611636" y="1226308"/>
              <a:ext cx="4965447" cy="3363297"/>
              <a:chOff x="3816359" y="1882772"/>
              <a:chExt cx="4560902" cy="3089268"/>
            </a:xfrm>
          </p:grpSpPr>
          <p:sp>
            <p:nvSpPr>
              <p:cNvPr id="23599" name="íṡ1iḍè"/>
              <p:cNvSpPr/>
              <p:nvPr/>
            </p:nvSpPr>
            <p:spPr bwMode="auto">
              <a:xfrm>
                <a:off x="6710380" y="3224206"/>
                <a:ext cx="833440" cy="1747834"/>
              </a:xfrm>
              <a:custGeom>
                <a:avLst/>
                <a:gdLst>
                  <a:gd name="T0" fmla="*/ 833440 w 525"/>
                  <a:gd name="T1" fmla="*/ 160337 h 1101"/>
                  <a:gd name="T2" fmla="*/ 373064 w 525"/>
                  <a:gd name="T3" fmla="*/ 84137 h 1101"/>
                  <a:gd name="T4" fmla="*/ 331788 w 525"/>
                  <a:gd name="T5" fmla="*/ 0 h 1101"/>
                  <a:gd name="T6" fmla="*/ 214313 w 525"/>
                  <a:gd name="T7" fmla="*/ 36512 h 1101"/>
                  <a:gd name="T8" fmla="*/ 209551 w 525"/>
                  <a:gd name="T9" fmla="*/ 231775 h 1101"/>
                  <a:gd name="T10" fmla="*/ 107950 w 525"/>
                  <a:gd name="T11" fmla="*/ 187325 h 1101"/>
                  <a:gd name="T12" fmla="*/ 0 w 525"/>
                  <a:gd name="T13" fmla="*/ 476249 h 1101"/>
                  <a:gd name="T14" fmla="*/ 336551 w 525"/>
                  <a:gd name="T15" fmla="*/ 749298 h 1101"/>
                  <a:gd name="T16" fmla="*/ 311151 w 525"/>
                  <a:gd name="T17" fmla="*/ 1562097 h 1101"/>
                  <a:gd name="T18" fmla="*/ 315913 w 525"/>
                  <a:gd name="T19" fmla="*/ 1530347 h 1101"/>
                  <a:gd name="T20" fmla="*/ 311151 w 525"/>
                  <a:gd name="T21" fmla="*/ 1747834 h 1101"/>
                  <a:gd name="T22" fmla="*/ 749302 w 525"/>
                  <a:gd name="T23" fmla="*/ 1747834 h 1101"/>
                  <a:gd name="T24" fmla="*/ 727077 w 525"/>
                  <a:gd name="T25" fmla="*/ 746124 h 1101"/>
                  <a:gd name="T26" fmla="*/ 796927 w 525"/>
                  <a:gd name="T27" fmla="*/ 600074 h 1101"/>
                  <a:gd name="T28" fmla="*/ 833440 w 525"/>
                  <a:gd name="T29" fmla="*/ 160337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5" h="1101">
                    <a:moveTo>
                      <a:pt x="525" y="101"/>
                    </a:moveTo>
                    <a:lnTo>
                      <a:pt x="235" y="53"/>
                    </a:lnTo>
                    <a:lnTo>
                      <a:pt x="209" y="0"/>
                    </a:lnTo>
                    <a:lnTo>
                      <a:pt x="135" y="23"/>
                    </a:lnTo>
                    <a:lnTo>
                      <a:pt x="132" y="146"/>
                    </a:lnTo>
                    <a:lnTo>
                      <a:pt x="68" y="118"/>
                    </a:lnTo>
                    <a:lnTo>
                      <a:pt x="0" y="300"/>
                    </a:lnTo>
                    <a:lnTo>
                      <a:pt x="212" y="472"/>
                    </a:lnTo>
                    <a:lnTo>
                      <a:pt x="196" y="984"/>
                    </a:lnTo>
                    <a:lnTo>
                      <a:pt x="199" y="964"/>
                    </a:lnTo>
                    <a:lnTo>
                      <a:pt x="196" y="1101"/>
                    </a:lnTo>
                    <a:lnTo>
                      <a:pt x="472" y="1101"/>
                    </a:lnTo>
                    <a:lnTo>
                      <a:pt x="458" y="470"/>
                    </a:lnTo>
                    <a:lnTo>
                      <a:pt x="502" y="378"/>
                    </a:lnTo>
                    <a:lnTo>
                      <a:pt x="525" y="101"/>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0" name="íṥḻiḋê"/>
              <p:cNvSpPr/>
              <p:nvPr/>
            </p:nvSpPr>
            <p:spPr bwMode="auto">
              <a:xfrm>
                <a:off x="6827856" y="3308343"/>
                <a:ext cx="92075" cy="147638"/>
              </a:xfrm>
              <a:custGeom>
                <a:avLst/>
                <a:gdLst>
                  <a:gd name="T0" fmla="*/ 0 w 58"/>
                  <a:gd name="T1" fmla="*/ 39688 h 93"/>
                  <a:gd name="T2" fmla="*/ 22225 w 58"/>
                  <a:gd name="T3" fmla="*/ 115888 h 93"/>
                  <a:gd name="T4" fmla="*/ 92075 w 58"/>
                  <a:gd name="T5" fmla="*/ 147638 h 93"/>
                  <a:gd name="T6" fmla="*/ 92075 w 58"/>
                  <a:gd name="T7" fmla="*/ 0 h 93"/>
                  <a:gd name="T8" fmla="*/ 0 w 58"/>
                  <a:gd name="T9" fmla="*/ 39688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3">
                    <a:moveTo>
                      <a:pt x="0" y="25"/>
                    </a:moveTo>
                    <a:lnTo>
                      <a:pt x="14" y="73"/>
                    </a:lnTo>
                    <a:lnTo>
                      <a:pt x="58" y="93"/>
                    </a:lnTo>
                    <a:lnTo>
                      <a:pt x="58"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1" name="îsḷïḑé"/>
              <p:cNvSpPr/>
              <p:nvPr/>
            </p:nvSpPr>
            <p:spPr bwMode="auto">
              <a:xfrm>
                <a:off x="4556137" y="3230556"/>
                <a:ext cx="831853" cy="1741484"/>
              </a:xfrm>
              <a:custGeom>
                <a:avLst/>
                <a:gdLst>
                  <a:gd name="T0" fmla="*/ 331789 w 524"/>
                  <a:gd name="T1" fmla="*/ 0 h 1097"/>
                  <a:gd name="T2" fmla="*/ 212726 w 524"/>
                  <a:gd name="T3" fmla="*/ 38100 h 1097"/>
                  <a:gd name="T4" fmla="*/ 211138 w 524"/>
                  <a:gd name="T5" fmla="*/ 233362 h 1097"/>
                  <a:gd name="T6" fmla="*/ 106363 w 524"/>
                  <a:gd name="T7" fmla="*/ 188912 h 1097"/>
                  <a:gd name="T8" fmla="*/ 0 w 524"/>
                  <a:gd name="T9" fmla="*/ 477837 h 1097"/>
                  <a:gd name="T10" fmla="*/ 334964 w 524"/>
                  <a:gd name="T11" fmla="*/ 749298 h 1097"/>
                  <a:gd name="T12" fmla="*/ 309564 w 524"/>
                  <a:gd name="T13" fmla="*/ 1563684 h 1097"/>
                  <a:gd name="T14" fmla="*/ 317501 w 524"/>
                  <a:gd name="T15" fmla="*/ 1531934 h 1097"/>
                  <a:gd name="T16" fmla="*/ 312739 w 524"/>
                  <a:gd name="T17" fmla="*/ 1741484 h 1097"/>
                  <a:gd name="T18" fmla="*/ 750890 w 524"/>
                  <a:gd name="T19" fmla="*/ 1741484 h 1097"/>
                  <a:gd name="T20" fmla="*/ 728665 w 524"/>
                  <a:gd name="T21" fmla="*/ 747711 h 1097"/>
                  <a:gd name="T22" fmla="*/ 796928 w 524"/>
                  <a:gd name="T23" fmla="*/ 601661 h 1097"/>
                  <a:gd name="T24" fmla="*/ 831853 w 524"/>
                  <a:gd name="T25" fmla="*/ 161925 h 1097"/>
                  <a:gd name="T26" fmla="*/ 371476 w 524"/>
                  <a:gd name="T27" fmla="*/ 84137 h 1097"/>
                  <a:gd name="T28" fmla="*/ 331789 w 524"/>
                  <a:gd name="T29" fmla="*/ 0 h 10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4" h="1097">
                    <a:moveTo>
                      <a:pt x="209" y="0"/>
                    </a:moveTo>
                    <a:lnTo>
                      <a:pt x="134" y="24"/>
                    </a:lnTo>
                    <a:lnTo>
                      <a:pt x="133" y="147"/>
                    </a:lnTo>
                    <a:lnTo>
                      <a:pt x="67" y="119"/>
                    </a:lnTo>
                    <a:lnTo>
                      <a:pt x="0" y="301"/>
                    </a:lnTo>
                    <a:lnTo>
                      <a:pt x="211" y="472"/>
                    </a:lnTo>
                    <a:lnTo>
                      <a:pt x="195" y="985"/>
                    </a:lnTo>
                    <a:lnTo>
                      <a:pt x="200" y="965"/>
                    </a:lnTo>
                    <a:lnTo>
                      <a:pt x="197" y="1097"/>
                    </a:lnTo>
                    <a:lnTo>
                      <a:pt x="473" y="1097"/>
                    </a:lnTo>
                    <a:lnTo>
                      <a:pt x="459" y="471"/>
                    </a:lnTo>
                    <a:lnTo>
                      <a:pt x="502" y="379"/>
                    </a:lnTo>
                    <a:lnTo>
                      <a:pt x="524" y="102"/>
                    </a:lnTo>
                    <a:lnTo>
                      <a:pt x="234" y="53"/>
                    </a:lnTo>
                    <a:lnTo>
                      <a:pt x="209" y="0"/>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2" name="išḻíďè"/>
              <p:cNvSpPr/>
              <p:nvPr/>
            </p:nvSpPr>
            <p:spPr bwMode="auto">
              <a:xfrm>
                <a:off x="4675199" y="3314693"/>
                <a:ext cx="92075" cy="149224"/>
              </a:xfrm>
              <a:custGeom>
                <a:avLst/>
                <a:gdLst>
                  <a:gd name="T0" fmla="*/ 0 w 58"/>
                  <a:gd name="T1" fmla="*/ 39687 h 94"/>
                  <a:gd name="T2" fmla="*/ 19050 w 58"/>
                  <a:gd name="T3" fmla="*/ 117474 h 94"/>
                  <a:gd name="T4" fmla="*/ 92075 w 58"/>
                  <a:gd name="T5" fmla="*/ 149224 h 94"/>
                  <a:gd name="T6" fmla="*/ 88900 w 58"/>
                  <a:gd name="T7" fmla="*/ 0 h 94"/>
                  <a:gd name="T8" fmla="*/ 0 w 58"/>
                  <a:gd name="T9" fmla="*/ 39687 h 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4">
                    <a:moveTo>
                      <a:pt x="0" y="25"/>
                    </a:moveTo>
                    <a:lnTo>
                      <a:pt x="12" y="74"/>
                    </a:lnTo>
                    <a:lnTo>
                      <a:pt x="58" y="94"/>
                    </a:lnTo>
                    <a:lnTo>
                      <a:pt x="56"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3" name="ïṧḷide"/>
              <p:cNvSpPr/>
              <p:nvPr/>
            </p:nvSpPr>
            <p:spPr bwMode="auto">
              <a:xfrm>
                <a:off x="3816359" y="3827455"/>
                <a:ext cx="831853" cy="1144585"/>
              </a:xfrm>
              <a:custGeom>
                <a:avLst/>
                <a:gdLst>
                  <a:gd name="T0" fmla="*/ 328614 w 524"/>
                  <a:gd name="T1" fmla="*/ 0 h 721"/>
                  <a:gd name="T2" fmla="*/ 212726 w 524"/>
                  <a:gd name="T3" fmla="*/ 34925 h 721"/>
                  <a:gd name="T4" fmla="*/ 207963 w 524"/>
                  <a:gd name="T5" fmla="*/ 230187 h 721"/>
                  <a:gd name="T6" fmla="*/ 106363 w 524"/>
                  <a:gd name="T7" fmla="*/ 187325 h 721"/>
                  <a:gd name="T8" fmla="*/ 0 w 524"/>
                  <a:gd name="T9" fmla="*/ 476249 h 721"/>
                  <a:gd name="T10" fmla="*/ 333376 w 524"/>
                  <a:gd name="T11" fmla="*/ 749298 h 721"/>
                  <a:gd name="T12" fmla="*/ 322264 w 524"/>
                  <a:gd name="T13" fmla="*/ 1144585 h 721"/>
                  <a:gd name="T14" fmla="*/ 323851 w 524"/>
                  <a:gd name="T15" fmla="*/ 1144585 h 721"/>
                  <a:gd name="T16" fmla="*/ 390526 w 524"/>
                  <a:gd name="T17" fmla="*/ 1144585 h 721"/>
                  <a:gd name="T18" fmla="*/ 735015 w 524"/>
                  <a:gd name="T19" fmla="*/ 1144585 h 721"/>
                  <a:gd name="T20" fmla="*/ 727078 w 524"/>
                  <a:gd name="T21" fmla="*/ 746123 h 721"/>
                  <a:gd name="T22" fmla="*/ 796928 w 524"/>
                  <a:gd name="T23" fmla="*/ 600074 h 721"/>
                  <a:gd name="T24" fmla="*/ 831853 w 524"/>
                  <a:gd name="T25" fmla="*/ 157162 h 721"/>
                  <a:gd name="T26" fmla="*/ 371476 w 524"/>
                  <a:gd name="T27" fmla="*/ 84137 h 721"/>
                  <a:gd name="T28" fmla="*/ 328614 w 524"/>
                  <a:gd name="T29" fmla="*/ 0 h 7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4" h="721">
                    <a:moveTo>
                      <a:pt x="207" y="0"/>
                    </a:moveTo>
                    <a:lnTo>
                      <a:pt x="134" y="22"/>
                    </a:lnTo>
                    <a:lnTo>
                      <a:pt x="131" y="145"/>
                    </a:lnTo>
                    <a:lnTo>
                      <a:pt x="67" y="118"/>
                    </a:lnTo>
                    <a:lnTo>
                      <a:pt x="0" y="300"/>
                    </a:lnTo>
                    <a:lnTo>
                      <a:pt x="210" y="472"/>
                    </a:lnTo>
                    <a:lnTo>
                      <a:pt x="203" y="721"/>
                    </a:lnTo>
                    <a:lnTo>
                      <a:pt x="204" y="721"/>
                    </a:lnTo>
                    <a:lnTo>
                      <a:pt x="246" y="721"/>
                    </a:lnTo>
                    <a:lnTo>
                      <a:pt x="463" y="721"/>
                    </a:lnTo>
                    <a:lnTo>
                      <a:pt x="458" y="470"/>
                    </a:lnTo>
                    <a:lnTo>
                      <a:pt x="502" y="378"/>
                    </a:lnTo>
                    <a:lnTo>
                      <a:pt x="524" y="99"/>
                    </a:lnTo>
                    <a:lnTo>
                      <a:pt x="234" y="53"/>
                    </a:lnTo>
                    <a:lnTo>
                      <a:pt x="207" y="0"/>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4" name="ï$ļîde"/>
              <p:cNvSpPr/>
              <p:nvPr/>
            </p:nvSpPr>
            <p:spPr bwMode="auto">
              <a:xfrm>
                <a:off x="3932247" y="3911591"/>
                <a:ext cx="92075" cy="146050"/>
              </a:xfrm>
              <a:custGeom>
                <a:avLst/>
                <a:gdLst>
                  <a:gd name="T0" fmla="*/ 0 w 58"/>
                  <a:gd name="T1" fmla="*/ 39688 h 92"/>
                  <a:gd name="T2" fmla="*/ 22225 w 58"/>
                  <a:gd name="T3" fmla="*/ 115888 h 92"/>
                  <a:gd name="T4" fmla="*/ 92075 w 58"/>
                  <a:gd name="T5" fmla="*/ 146050 h 92"/>
                  <a:gd name="T6" fmla="*/ 92075 w 58"/>
                  <a:gd name="T7" fmla="*/ 0 h 92"/>
                  <a:gd name="T8" fmla="*/ 0 w 58"/>
                  <a:gd name="T9" fmla="*/ 39688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2">
                    <a:moveTo>
                      <a:pt x="0" y="25"/>
                    </a:moveTo>
                    <a:lnTo>
                      <a:pt x="14" y="73"/>
                    </a:lnTo>
                    <a:lnTo>
                      <a:pt x="58" y="92"/>
                    </a:lnTo>
                    <a:lnTo>
                      <a:pt x="58"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5" name="íśļiḑe"/>
              <p:cNvSpPr/>
              <p:nvPr/>
            </p:nvSpPr>
            <p:spPr bwMode="auto">
              <a:xfrm>
                <a:off x="7543821" y="3827455"/>
                <a:ext cx="833440" cy="1144585"/>
              </a:xfrm>
              <a:custGeom>
                <a:avLst/>
                <a:gdLst>
                  <a:gd name="T0" fmla="*/ 833440 w 525"/>
                  <a:gd name="T1" fmla="*/ 157162 h 721"/>
                  <a:gd name="T2" fmla="*/ 371476 w 525"/>
                  <a:gd name="T3" fmla="*/ 84137 h 721"/>
                  <a:gd name="T4" fmla="*/ 331788 w 525"/>
                  <a:gd name="T5" fmla="*/ 0 h 721"/>
                  <a:gd name="T6" fmla="*/ 212726 w 525"/>
                  <a:gd name="T7" fmla="*/ 34925 h 721"/>
                  <a:gd name="T8" fmla="*/ 211138 w 525"/>
                  <a:gd name="T9" fmla="*/ 230187 h 721"/>
                  <a:gd name="T10" fmla="*/ 106363 w 525"/>
                  <a:gd name="T11" fmla="*/ 187325 h 721"/>
                  <a:gd name="T12" fmla="*/ 0 w 525"/>
                  <a:gd name="T13" fmla="*/ 476249 h 721"/>
                  <a:gd name="T14" fmla="*/ 334964 w 525"/>
                  <a:gd name="T15" fmla="*/ 749298 h 721"/>
                  <a:gd name="T16" fmla="*/ 322263 w 525"/>
                  <a:gd name="T17" fmla="*/ 1144585 h 721"/>
                  <a:gd name="T18" fmla="*/ 327026 w 525"/>
                  <a:gd name="T19" fmla="*/ 1144585 h 721"/>
                  <a:gd name="T20" fmla="*/ 390526 w 525"/>
                  <a:gd name="T21" fmla="*/ 1144585 h 721"/>
                  <a:gd name="T22" fmla="*/ 735015 w 525"/>
                  <a:gd name="T23" fmla="*/ 1144585 h 721"/>
                  <a:gd name="T24" fmla="*/ 727077 w 525"/>
                  <a:gd name="T25" fmla="*/ 746123 h 721"/>
                  <a:gd name="T26" fmla="*/ 796927 w 525"/>
                  <a:gd name="T27" fmla="*/ 600074 h 721"/>
                  <a:gd name="T28" fmla="*/ 833440 w 525"/>
                  <a:gd name="T29" fmla="*/ 157162 h 7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5" h="721">
                    <a:moveTo>
                      <a:pt x="525" y="99"/>
                    </a:moveTo>
                    <a:lnTo>
                      <a:pt x="234" y="53"/>
                    </a:lnTo>
                    <a:lnTo>
                      <a:pt x="209" y="0"/>
                    </a:lnTo>
                    <a:lnTo>
                      <a:pt x="134" y="22"/>
                    </a:lnTo>
                    <a:lnTo>
                      <a:pt x="133" y="145"/>
                    </a:lnTo>
                    <a:lnTo>
                      <a:pt x="67" y="118"/>
                    </a:lnTo>
                    <a:lnTo>
                      <a:pt x="0" y="300"/>
                    </a:lnTo>
                    <a:lnTo>
                      <a:pt x="211" y="472"/>
                    </a:lnTo>
                    <a:lnTo>
                      <a:pt x="203" y="721"/>
                    </a:lnTo>
                    <a:lnTo>
                      <a:pt x="206" y="721"/>
                    </a:lnTo>
                    <a:lnTo>
                      <a:pt x="246" y="721"/>
                    </a:lnTo>
                    <a:lnTo>
                      <a:pt x="463" y="721"/>
                    </a:lnTo>
                    <a:lnTo>
                      <a:pt x="458" y="470"/>
                    </a:lnTo>
                    <a:lnTo>
                      <a:pt x="502" y="378"/>
                    </a:lnTo>
                    <a:lnTo>
                      <a:pt x="525" y="99"/>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6" name="îṡľïḓe"/>
              <p:cNvSpPr/>
              <p:nvPr/>
            </p:nvSpPr>
            <p:spPr bwMode="auto">
              <a:xfrm>
                <a:off x="7662883" y="3911591"/>
                <a:ext cx="92075" cy="146050"/>
              </a:xfrm>
              <a:custGeom>
                <a:avLst/>
                <a:gdLst>
                  <a:gd name="T0" fmla="*/ 0 w 58"/>
                  <a:gd name="T1" fmla="*/ 39688 h 92"/>
                  <a:gd name="T2" fmla="*/ 19050 w 58"/>
                  <a:gd name="T3" fmla="*/ 115888 h 92"/>
                  <a:gd name="T4" fmla="*/ 92075 w 58"/>
                  <a:gd name="T5" fmla="*/ 146050 h 92"/>
                  <a:gd name="T6" fmla="*/ 88900 w 58"/>
                  <a:gd name="T7" fmla="*/ 0 h 92"/>
                  <a:gd name="T8" fmla="*/ 0 w 58"/>
                  <a:gd name="T9" fmla="*/ 39688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2">
                    <a:moveTo>
                      <a:pt x="0" y="25"/>
                    </a:moveTo>
                    <a:lnTo>
                      <a:pt x="12" y="73"/>
                    </a:lnTo>
                    <a:lnTo>
                      <a:pt x="58" y="92"/>
                    </a:lnTo>
                    <a:lnTo>
                      <a:pt x="56"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7" name="íśľiḑe"/>
              <p:cNvSpPr/>
              <p:nvPr/>
            </p:nvSpPr>
            <p:spPr bwMode="auto">
              <a:xfrm>
                <a:off x="5262576" y="1882772"/>
                <a:ext cx="1435105" cy="1292222"/>
              </a:xfrm>
              <a:custGeom>
                <a:avLst/>
                <a:gdLst>
                  <a:gd name="T0" fmla="*/ 600077 w 904"/>
                  <a:gd name="T1" fmla="*/ 1269997 h 814"/>
                  <a:gd name="T2" fmla="*/ 0 w 904"/>
                  <a:gd name="T3" fmla="*/ 822323 h 814"/>
                  <a:gd name="T4" fmla="*/ 184151 w 904"/>
                  <a:gd name="T5" fmla="*/ 322262 h 814"/>
                  <a:gd name="T6" fmla="*/ 360364 w 904"/>
                  <a:gd name="T7" fmla="*/ 398462 h 814"/>
                  <a:gd name="T8" fmla="*/ 368301 w 904"/>
                  <a:gd name="T9" fmla="*/ 61912 h 814"/>
                  <a:gd name="T10" fmla="*/ 568327 w 904"/>
                  <a:gd name="T11" fmla="*/ 0 h 814"/>
                  <a:gd name="T12" fmla="*/ 639765 w 904"/>
                  <a:gd name="T13" fmla="*/ 144462 h 814"/>
                  <a:gd name="T14" fmla="*/ 1435105 w 904"/>
                  <a:gd name="T15" fmla="*/ 274637 h 814"/>
                  <a:gd name="T16" fmla="*/ 1373192 w 904"/>
                  <a:gd name="T17" fmla="*/ 1035048 h 814"/>
                  <a:gd name="T18" fmla="*/ 1250954 w 904"/>
                  <a:gd name="T19" fmla="*/ 1292222 h 814"/>
                  <a:gd name="T20" fmla="*/ 600077 w 904"/>
                  <a:gd name="T21" fmla="*/ 1269997 h 8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04" h="814">
                    <a:moveTo>
                      <a:pt x="378" y="800"/>
                    </a:moveTo>
                    <a:lnTo>
                      <a:pt x="0" y="518"/>
                    </a:lnTo>
                    <a:lnTo>
                      <a:pt x="116" y="203"/>
                    </a:lnTo>
                    <a:lnTo>
                      <a:pt x="227" y="251"/>
                    </a:lnTo>
                    <a:lnTo>
                      <a:pt x="232" y="39"/>
                    </a:lnTo>
                    <a:lnTo>
                      <a:pt x="358" y="0"/>
                    </a:lnTo>
                    <a:lnTo>
                      <a:pt x="403" y="91"/>
                    </a:lnTo>
                    <a:lnTo>
                      <a:pt x="904" y="173"/>
                    </a:lnTo>
                    <a:lnTo>
                      <a:pt x="865" y="652"/>
                    </a:lnTo>
                    <a:lnTo>
                      <a:pt x="788" y="814"/>
                    </a:lnTo>
                    <a:lnTo>
                      <a:pt x="378" y="800"/>
                    </a:lnTo>
                    <a:close/>
                  </a:path>
                </a:pathLst>
              </a:custGeom>
              <a:solidFill>
                <a:srgbClr val="FCB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8" name="îşľïdé"/>
              <p:cNvSpPr/>
              <p:nvPr/>
            </p:nvSpPr>
            <p:spPr bwMode="auto">
              <a:xfrm>
                <a:off x="5449901" y="2381246"/>
                <a:ext cx="341313" cy="369887"/>
              </a:xfrm>
              <a:custGeom>
                <a:avLst/>
                <a:gdLst>
                  <a:gd name="T0" fmla="*/ 239713 w 215"/>
                  <a:gd name="T1" fmla="*/ 0 h 233"/>
                  <a:gd name="T2" fmla="*/ 239713 w 215"/>
                  <a:gd name="T3" fmla="*/ 147637 h 233"/>
                  <a:gd name="T4" fmla="*/ 25400 w 215"/>
                  <a:gd name="T5" fmla="*/ 73025 h 233"/>
                  <a:gd name="T6" fmla="*/ 0 w 215"/>
                  <a:gd name="T7" fmla="*/ 295275 h 233"/>
                  <a:gd name="T8" fmla="*/ 177800 w 215"/>
                  <a:gd name="T9" fmla="*/ 369887 h 233"/>
                  <a:gd name="T10" fmla="*/ 120650 w 215"/>
                  <a:gd name="T11" fmla="*/ 184150 h 233"/>
                  <a:gd name="T12" fmla="*/ 341313 w 215"/>
                  <a:gd name="T13" fmla="*/ 227012 h 233"/>
                  <a:gd name="T14" fmla="*/ 239713 w 215"/>
                  <a:gd name="T15" fmla="*/ 0 h 2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 h="233">
                    <a:moveTo>
                      <a:pt x="151" y="0"/>
                    </a:moveTo>
                    <a:lnTo>
                      <a:pt x="151" y="93"/>
                    </a:lnTo>
                    <a:lnTo>
                      <a:pt x="16" y="46"/>
                    </a:lnTo>
                    <a:lnTo>
                      <a:pt x="0" y="186"/>
                    </a:lnTo>
                    <a:lnTo>
                      <a:pt x="112" y="233"/>
                    </a:lnTo>
                    <a:lnTo>
                      <a:pt x="76" y="116"/>
                    </a:lnTo>
                    <a:lnTo>
                      <a:pt x="215" y="143"/>
                    </a:lnTo>
                    <a:lnTo>
                      <a:pt x="151"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09" name="ïṩľîḍe"/>
              <p:cNvSpPr/>
              <p:nvPr/>
            </p:nvSpPr>
            <p:spPr bwMode="auto">
              <a:xfrm>
                <a:off x="5791214" y="2027234"/>
                <a:ext cx="260351" cy="538161"/>
              </a:xfrm>
              <a:custGeom>
                <a:avLst/>
                <a:gdLst>
                  <a:gd name="T0" fmla="*/ 111125 w 164"/>
                  <a:gd name="T1" fmla="*/ 0 h 339"/>
                  <a:gd name="T2" fmla="*/ 176213 w 164"/>
                  <a:gd name="T3" fmla="*/ 436561 h 339"/>
                  <a:gd name="T4" fmla="*/ 0 w 164"/>
                  <a:gd name="T5" fmla="*/ 482599 h 339"/>
                  <a:gd name="T6" fmla="*/ 17463 w 164"/>
                  <a:gd name="T7" fmla="*/ 538161 h 339"/>
                  <a:gd name="T8" fmla="*/ 260351 w 164"/>
                  <a:gd name="T9" fmla="*/ 501649 h 339"/>
                  <a:gd name="T10" fmla="*/ 190501 w 164"/>
                  <a:gd name="T11" fmla="*/ 120650 h 339"/>
                  <a:gd name="T12" fmla="*/ 111125 w 164"/>
                  <a:gd name="T13" fmla="*/ 0 h 3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4" h="339">
                    <a:moveTo>
                      <a:pt x="70" y="0"/>
                    </a:moveTo>
                    <a:lnTo>
                      <a:pt x="111" y="275"/>
                    </a:lnTo>
                    <a:lnTo>
                      <a:pt x="0" y="304"/>
                    </a:lnTo>
                    <a:lnTo>
                      <a:pt x="11" y="339"/>
                    </a:lnTo>
                    <a:lnTo>
                      <a:pt x="164" y="316"/>
                    </a:lnTo>
                    <a:lnTo>
                      <a:pt x="120" y="76"/>
                    </a:lnTo>
                    <a:lnTo>
                      <a:pt x="7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0" name="íş1íḋè"/>
              <p:cNvSpPr/>
              <p:nvPr/>
            </p:nvSpPr>
            <p:spPr bwMode="auto">
              <a:xfrm>
                <a:off x="5464189" y="2027234"/>
                <a:ext cx="158752" cy="253999"/>
              </a:xfrm>
              <a:custGeom>
                <a:avLst/>
                <a:gdLst>
                  <a:gd name="T0" fmla="*/ 157164 w 100"/>
                  <a:gd name="T1" fmla="*/ 0 h 160"/>
                  <a:gd name="T2" fmla="*/ 0 w 100"/>
                  <a:gd name="T3" fmla="*/ 66675 h 160"/>
                  <a:gd name="T4" fmla="*/ 38100 w 100"/>
                  <a:gd name="T5" fmla="*/ 200024 h 160"/>
                  <a:gd name="T6" fmla="*/ 158752 w 100"/>
                  <a:gd name="T7" fmla="*/ 253999 h 160"/>
                  <a:gd name="T8" fmla="*/ 157164 w 100"/>
                  <a:gd name="T9" fmla="*/ 0 h 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 h="160">
                    <a:moveTo>
                      <a:pt x="99" y="0"/>
                    </a:moveTo>
                    <a:lnTo>
                      <a:pt x="0" y="42"/>
                    </a:lnTo>
                    <a:lnTo>
                      <a:pt x="24" y="126"/>
                    </a:lnTo>
                    <a:lnTo>
                      <a:pt x="100" y="160"/>
                    </a:lnTo>
                    <a:lnTo>
                      <a:pt x="99"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1" name="ïşlîḓé"/>
              <p:cNvSpPr/>
              <p:nvPr/>
            </p:nvSpPr>
            <p:spPr bwMode="auto">
              <a:xfrm>
                <a:off x="5468951" y="2031996"/>
                <a:ext cx="139700" cy="234949"/>
              </a:xfrm>
              <a:custGeom>
                <a:avLst/>
                <a:gdLst>
                  <a:gd name="T0" fmla="*/ 139700 w 88"/>
                  <a:gd name="T1" fmla="*/ 0 h 148"/>
                  <a:gd name="T2" fmla="*/ 0 w 88"/>
                  <a:gd name="T3" fmla="*/ 49212 h 148"/>
                  <a:gd name="T4" fmla="*/ 0 w 88"/>
                  <a:gd name="T5" fmla="*/ 182562 h 148"/>
                  <a:gd name="T6" fmla="*/ 122238 w 88"/>
                  <a:gd name="T7" fmla="*/ 234949 h 148"/>
                  <a:gd name="T8" fmla="*/ 139700 w 88"/>
                  <a:gd name="T9" fmla="*/ 0 h 1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8" h="148">
                    <a:moveTo>
                      <a:pt x="88" y="0"/>
                    </a:moveTo>
                    <a:lnTo>
                      <a:pt x="0" y="31"/>
                    </a:lnTo>
                    <a:lnTo>
                      <a:pt x="0" y="115"/>
                    </a:lnTo>
                    <a:lnTo>
                      <a:pt x="77" y="148"/>
                    </a:lnTo>
                    <a:lnTo>
                      <a:pt x="88" y="0"/>
                    </a:lnTo>
                    <a:close/>
                  </a:path>
                </a:pathLst>
              </a:custGeom>
              <a:solidFill>
                <a:srgbClr val="FCB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2" name="ïS1îḓê"/>
              <p:cNvSpPr/>
              <p:nvPr/>
            </p:nvSpPr>
            <p:spPr bwMode="auto">
              <a:xfrm>
                <a:off x="5795978" y="3135307"/>
                <a:ext cx="757240" cy="1836733"/>
              </a:xfrm>
              <a:custGeom>
                <a:avLst/>
                <a:gdLst>
                  <a:gd name="T0" fmla="*/ 757240 w 477"/>
                  <a:gd name="T1" fmla="*/ 1836733 h 1157"/>
                  <a:gd name="T2" fmla="*/ 0 w 477"/>
                  <a:gd name="T3" fmla="*/ 1836733 h 1157"/>
                  <a:gd name="T4" fmla="*/ 44450 w 477"/>
                  <a:gd name="T5" fmla="*/ 0 h 1157"/>
                  <a:gd name="T6" fmla="*/ 717552 w 477"/>
                  <a:gd name="T7" fmla="*/ 0 h 1157"/>
                  <a:gd name="T8" fmla="*/ 757240 w 477"/>
                  <a:gd name="T9" fmla="*/ 1836733 h 11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7" h="1157">
                    <a:moveTo>
                      <a:pt x="477" y="1157"/>
                    </a:moveTo>
                    <a:lnTo>
                      <a:pt x="0" y="1157"/>
                    </a:lnTo>
                    <a:lnTo>
                      <a:pt x="28" y="0"/>
                    </a:lnTo>
                    <a:lnTo>
                      <a:pt x="452" y="0"/>
                    </a:lnTo>
                    <a:lnTo>
                      <a:pt x="477" y="1157"/>
                    </a:lnTo>
                    <a:close/>
                  </a:path>
                </a:pathLst>
              </a:custGeom>
              <a:solidFill>
                <a:srgbClr val="FCB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3" name="îṧḷíde"/>
              <p:cNvSpPr/>
              <p:nvPr/>
            </p:nvSpPr>
            <p:spPr bwMode="auto">
              <a:xfrm>
                <a:off x="5795978" y="3135307"/>
                <a:ext cx="517526" cy="1436684"/>
              </a:xfrm>
              <a:custGeom>
                <a:avLst/>
                <a:gdLst>
                  <a:gd name="T0" fmla="*/ 44450 w 326"/>
                  <a:gd name="T1" fmla="*/ 0 h 905"/>
                  <a:gd name="T2" fmla="*/ 219075 w 326"/>
                  <a:gd name="T3" fmla="*/ 112712 h 905"/>
                  <a:gd name="T4" fmla="*/ 517526 w 326"/>
                  <a:gd name="T5" fmla="*/ 112712 h 905"/>
                  <a:gd name="T6" fmla="*/ 219075 w 326"/>
                  <a:gd name="T7" fmla="*/ 307974 h 905"/>
                  <a:gd name="T8" fmla="*/ 0 w 326"/>
                  <a:gd name="T9" fmla="*/ 1436684 h 905"/>
                  <a:gd name="T10" fmla="*/ 44450 w 326"/>
                  <a:gd name="T11" fmla="*/ 0 h 90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 h="905">
                    <a:moveTo>
                      <a:pt x="28" y="0"/>
                    </a:moveTo>
                    <a:lnTo>
                      <a:pt x="138" y="71"/>
                    </a:lnTo>
                    <a:lnTo>
                      <a:pt x="326" y="71"/>
                    </a:lnTo>
                    <a:lnTo>
                      <a:pt x="138" y="194"/>
                    </a:lnTo>
                    <a:lnTo>
                      <a:pt x="0" y="905"/>
                    </a:lnTo>
                    <a:lnTo>
                      <a:pt x="28"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4" name="ïṣ1iḍe"/>
              <p:cNvSpPr/>
              <p:nvPr/>
            </p:nvSpPr>
            <p:spPr bwMode="auto">
              <a:xfrm>
                <a:off x="5262576" y="2705094"/>
                <a:ext cx="838202" cy="590548"/>
              </a:xfrm>
              <a:custGeom>
                <a:avLst/>
                <a:gdLst>
                  <a:gd name="T0" fmla="*/ 0 w 528"/>
                  <a:gd name="T1" fmla="*/ 0 h 372"/>
                  <a:gd name="T2" fmla="*/ 838202 w 528"/>
                  <a:gd name="T3" fmla="*/ 511173 h 372"/>
                  <a:gd name="T4" fmla="*/ 741364 w 528"/>
                  <a:gd name="T5" fmla="*/ 590548 h 372"/>
                  <a:gd name="T6" fmla="*/ 576264 w 528"/>
                  <a:gd name="T7" fmla="*/ 469898 h 372"/>
                  <a:gd name="T8" fmla="*/ 0 w 528"/>
                  <a:gd name="T9" fmla="*/ 0 h 3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8" h="372">
                    <a:moveTo>
                      <a:pt x="0" y="0"/>
                    </a:moveTo>
                    <a:lnTo>
                      <a:pt x="528" y="322"/>
                    </a:lnTo>
                    <a:lnTo>
                      <a:pt x="467" y="372"/>
                    </a:lnTo>
                    <a:lnTo>
                      <a:pt x="363" y="296"/>
                    </a:lnTo>
                    <a:lnTo>
                      <a:pt x="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5" name="ïş1íḑé"/>
              <p:cNvSpPr/>
              <p:nvPr/>
            </p:nvSpPr>
            <p:spPr bwMode="auto">
              <a:xfrm>
                <a:off x="6038864" y="2525707"/>
                <a:ext cx="93663" cy="357186"/>
              </a:xfrm>
              <a:custGeom>
                <a:avLst/>
                <a:gdLst>
                  <a:gd name="T0" fmla="*/ 0 w 59"/>
                  <a:gd name="T1" fmla="*/ 0 h 225"/>
                  <a:gd name="T2" fmla="*/ 79375 w 59"/>
                  <a:gd name="T3" fmla="*/ 357186 h 225"/>
                  <a:gd name="T4" fmla="*/ 93663 w 59"/>
                  <a:gd name="T5" fmla="*/ 122237 h 225"/>
                  <a:gd name="T6" fmla="*/ 0 w 59"/>
                  <a:gd name="T7" fmla="*/ 0 h 2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9" h="225">
                    <a:moveTo>
                      <a:pt x="0" y="0"/>
                    </a:moveTo>
                    <a:lnTo>
                      <a:pt x="50" y="225"/>
                    </a:lnTo>
                    <a:lnTo>
                      <a:pt x="59" y="77"/>
                    </a:lnTo>
                    <a:lnTo>
                      <a:pt x="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6" name="ïṧ1iḋé"/>
              <p:cNvSpPr/>
              <p:nvPr/>
            </p:nvSpPr>
            <p:spPr bwMode="auto">
              <a:xfrm>
                <a:off x="6038864" y="2462209"/>
                <a:ext cx="596902" cy="169863"/>
              </a:xfrm>
              <a:custGeom>
                <a:avLst/>
                <a:gdLst>
                  <a:gd name="T0" fmla="*/ 0 w 376"/>
                  <a:gd name="T1" fmla="*/ 0 h 107"/>
                  <a:gd name="T2" fmla="*/ 596902 w 376"/>
                  <a:gd name="T3" fmla="*/ 103188 h 107"/>
                  <a:gd name="T4" fmla="*/ 596902 w 376"/>
                  <a:gd name="T5" fmla="*/ 169863 h 107"/>
                  <a:gd name="T6" fmla="*/ 12700 w 376"/>
                  <a:gd name="T7" fmla="*/ 66675 h 107"/>
                  <a:gd name="T8" fmla="*/ 0 w 376"/>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6" h="107">
                    <a:moveTo>
                      <a:pt x="0" y="0"/>
                    </a:moveTo>
                    <a:lnTo>
                      <a:pt x="376" y="65"/>
                    </a:lnTo>
                    <a:lnTo>
                      <a:pt x="376" y="107"/>
                    </a:lnTo>
                    <a:lnTo>
                      <a:pt x="8" y="42"/>
                    </a:lnTo>
                    <a:lnTo>
                      <a:pt x="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7" name="ïşlïde"/>
              <p:cNvSpPr/>
              <p:nvPr/>
            </p:nvSpPr>
            <p:spPr bwMode="auto">
              <a:xfrm>
                <a:off x="6283341" y="2098671"/>
                <a:ext cx="90488" cy="430213"/>
              </a:xfrm>
              <a:custGeom>
                <a:avLst/>
                <a:gdLst>
                  <a:gd name="T0" fmla="*/ 55563 w 57"/>
                  <a:gd name="T1" fmla="*/ 0 h 271"/>
                  <a:gd name="T2" fmla="*/ 0 w 57"/>
                  <a:gd name="T3" fmla="*/ 427038 h 271"/>
                  <a:gd name="T4" fmla="*/ 55563 w 57"/>
                  <a:gd name="T5" fmla="*/ 430213 h 271"/>
                  <a:gd name="T6" fmla="*/ 90488 w 57"/>
                  <a:gd name="T7" fmla="*/ 4763 h 271"/>
                  <a:gd name="T8" fmla="*/ 55563 w 57"/>
                  <a:gd name="T9" fmla="*/ 0 h 2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 h="271">
                    <a:moveTo>
                      <a:pt x="35" y="0"/>
                    </a:moveTo>
                    <a:lnTo>
                      <a:pt x="0" y="269"/>
                    </a:lnTo>
                    <a:lnTo>
                      <a:pt x="35" y="271"/>
                    </a:lnTo>
                    <a:lnTo>
                      <a:pt x="57" y="3"/>
                    </a:lnTo>
                    <a:lnTo>
                      <a:pt x="35"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8" name="îsḷîdé"/>
              <p:cNvSpPr/>
              <p:nvPr/>
            </p:nvSpPr>
            <p:spPr bwMode="auto">
              <a:xfrm>
                <a:off x="6329378" y="2395533"/>
                <a:ext cx="138113" cy="44450"/>
              </a:xfrm>
              <a:custGeom>
                <a:avLst/>
                <a:gdLst>
                  <a:gd name="T0" fmla="*/ 9525 w 87"/>
                  <a:gd name="T1" fmla="*/ 0 h 28"/>
                  <a:gd name="T2" fmla="*/ 138113 w 87"/>
                  <a:gd name="T3" fmla="*/ 0 h 28"/>
                  <a:gd name="T4" fmla="*/ 0 w 87"/>
                  <a:gd name="T5" fmla="*/ 44450 h 28"/>
                  <a:gd name="T6" fmla="*/ 9525 w 87"/>
                  <a:gd name="T7" fmla="*/ 0 h 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28">
                    <a:moveTo>
                      <a:pt x="6" y="0"/>
                    </a:moveTo>
                    <a:lnTo>
                      <a:pt x="87" y="0"/>
                    </a:lnTo>
                    <a:lnTo>
                      <a:pt x="0" y="28"/>
                    </a:lnTo>
                    <a:lnTo>
                      <a:pt x="6"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19" name="íšḻiḑé"/>
              <p:cNvSpPr/>
              <p:nvPr/>
            </p:nvSpPr>
            <p:spPr bwMode="auto">
              <a:xfrm>
                <a:off x="6513528" y="2157409"/>
                <a:ext cx="366714" cy="2814631"/>
              </a:xfrm>
              <a:custGeom>
                <a:avLst/>
                <a:gdLst>
                  <a:gd name="T0" fmla="*/ 184151 w 231"/>
                  <a:gd name="T1" fmla="*/ 0 h 1773"/>
                  <a:gd name="T2" fmla="*/ 220663 w 231"/>
                  <a:gd name="T3" fmla="*/ 139700 h 1773"/>
                  <a:gd name="T4" fmla="*/ 250826 w 231"/>
                  <a:gd name="T5" fmla="*/ 1138235 h 1773"/>
                  <a:gd name="T6" fmla="*/ 366714 w 231"/>
                  <a:gd name="T7" fmla="*/ 2814631 h 1773"/>
                  <a:gd name="T8" fmla="*/ 39688 w 231"/>
                  <a:gd name="T9" fmla="*/ 2814631 h 1773"/>
                  <a:gd name="T10" fmla="*/ 0 w 231"/>
                  <a:gd name="T11" fmla="*/ 1017585 h 1773"/>
                  <a:gd name="T12" fmla="*/ 122238 w 231"/>
                  <a:gd name="T13" fmla="*/ 760411 h 1773"/>
                  <a:gd name="T14" fmla="*/ 184151 w 231"/>
                  <a:gd name="T15" fmla="*/ 0 h 177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1" h="1773">
                    <a:moveTo>
                      <a:pt x="116" y="0"/>
                    </a:moveTo>
                    <a:lnTo>
                      <a:pt x="139" y="88"/>
                    </a:lnTo>
                    <a:lnTo>
                      <a:pt x="158" y="717"/>
                    </a:lnTo>
                    <a:lnTo>
                      <a:pt x="231" y="1773"/>
                    </a:lnTo>
                    <a:lnTo>
                      <a:pt x="25" y="1773"/>
                    </a:lnTo>
                    <a:lnTo>
                      <a:pt x="0" y="641"/>
                    </a:lnTo>
                    <a:lnTo>
                      <a:pt x="77" y="479"/>
                    </a:lnTo>
                    <a:lnTo>
                      <a:pt x="116"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0" name="išļiḓé"/>
              <p:cNvSpPr/>
              <p:nvPr/>
            </p:nvSpPr>
            <p:spPr bwMode="auto">
              <a:xfrm>
                <a:off x="5808676" y="2528884"/>
                <a:ext cx="827090" cy="293688"/>
              </a:xfrm>
              <a:custGeom>
                <a:avLst/>
                <a:gdLst>
                  <a:gd name="T0" fmla="*/ 0 w 521"/>
                  <a:gd name="T1" fmla="*/ 36513 h 185"/>
                  <a:gd name="T2" fmla="*/ 242888 w 521"/>
                  <a:gd name="T3" fmla="*/ 0 h 185"/>
                  <a:gd name="T4" fmla="*/ 827090 w 521"/>
                  <a:gd name="T5" fmla="*/ 103188 h 185"/>
                  <a:gd name="T6" fmla="*/ 769940 w 521"/>
                  <a:gd name="T7" fmla="*/ 293688 h 185"/>
                  <a:gd name="T8" fmla="*/ 366714 w 521"/>
                  <a:gd name="T9" fmla="*/ 74613 h 185"/>
                  <a:gd name="T10" fmla="*/ 0 w 521"/>
                  <a:gd name="T11" fmla="*/ 36513 h 18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1" h="185">
                    <a:moveTo>
                      <a:pt x="0" y="23"/>
                    </a:moveTo>
                    <a:lnTo>
                      <a:pt x="153" y="0"/>
                    </a:lnTo>
                    <a:lnTo>
                      <a:pt x="521" y="65"/>
                    </a:lnTo>
                    <a:lnTo>
                      <a:pt x="485" y="185"/>
                    </a:lnTo>
                    <a:lnTo>
                      <a:pt x="231" y="47"/>
                    </a:lnTo>
                    <a:lnTo>
                      <a:pt x="0" y="23"/>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1" name="îṡľíḓê"/>
              <p:cNvSpPr/>
              <p:nvPr/>
            </p:nvSpPr>
            <p:spPr bwMode="auto">
              <a:xfrm>
                <a:off x="5387988" y="2395533"/>
                <a:ext cx="328614" cy="280987"/>
              </a:xfrm>
              <a:custGeom>
                <a:avLst/>
                <a:gdLst>
                  <a:gd name="T0" fmla="*/ 301626 w 207"/>
                  <a:gd name="T1" fmla="*/ 44450 h 177"/>
                  <a:gd name="T2" fmla="*/ 30163 w 207"/>
                  <a:gd name="T3" fmla="*/ 0 h 177"/>
                  <a:gd name="T4" fmla="*/ 0 w 207"/>
                  <a:gd name="T5" fmla="*/ 254000 h 177"/>
                  <a:gd name="T6" fmla="*/ 61913 w 207"/>
                  <a:gd name="T7" fmla="*/ 280987 h 177"/>
                  <a:gd name="T8" fmla="*/ 87313 w 207"/>
                  <a:gd name="T9" fmla="*/ 58737 h 177"/>
                  <a:gd name="T10" fmla="*/ 301626 w 207"/>
                  <a:gd name="T11" fmla="*/ 133350 h 177"/>
                  <a:gd name="T12" fmla="*/ 328614 w 207"/>
                  <a:gd name="T13" fmla="*/ 44450 h 177"/>
                  <a:gd name="T14" fmla="*/ 301626 w 207"/>
                  <a:gd name="T15" fmla="*/ 44450 h 1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7" h="177">
                    <a:moveTo>
                      <a:pt x="190" y="28"/>
                    </a:moveTo>
                    <a:lnTo>
                      <a:pt x="19" y="0"/>
                    </a:lnTo>
                    <a:lnTo>
                      <a:pt x="0" y="160"/>
                    </a:lnTo>
                    <a:lnTo>
                      <a:pt x="39" y="177"/>
                    </a:lnTo>
                    <a:lnTo>
                      <a:pt x="55" y="37"/>
                    </a:lnTo>
                    <a:lnTo>
                      <a:pt x="190" y="84"/>
                    </a:lnTo>
                    <a:lnTo>
                      <a:pt x="207" y="28"/>
                    </a:lnTo>
                    <a:lnTo>
                      <a:pt x="190" y="28"/>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2" name="ïṩļiḑe"/>
              <p:cNvSpPr/>
              <p:nvPr/>
            </p:nvSpPr>
            <p:spPr bwMode="auto">
              <a:xfrm>
                <a:off x="5387989" y="2395533"/>
                <a:ext cx="328614" cy="280987"/>
              </a:xfrm>
              <a:custGeom>
                <a:avLst/>
                <a:gdLst>
                  <a:gd name="T0" fmla="*/ 301626 w 207"/>
                  <a:gd name="T1" fmla="*/ 44450 h 177"/>
                  <a:gd name="T2" fmla="*/ 30163 w 207"/>
                  <a:gd name="T3" fmla="*/ 0 h 177"/>
                  <a:gd name="T4" fmla="*/ 0 w 207"/>
                  <a:gd name="T5" fmla="*/ 254000 h 177"/>
                  <a:gd name="T6" fmla="*/ 61913 w 207"/>
                  <a:gd name="T7" fmla="*/ 280987 h 177"/>
                  <a:gd name="T8" fmla="*/ 87313 w 207"/>
                  <a:gd name="T9" fmla="*/ 58737 h 177"/>
                  <a:gd name="T10" fmla="*/ 301626 w 207"/>
                  <a:gd name="T11" fmla="*/ 133350 h 177"/>
                  <a:gd name="T12" fmla="*/ 328614 w 207"/>
                  <a:gd name="T13" fmla="*/ 44450 h 17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7" h="177">
                    <a:moveTo>
                      <a:pt x="190" y="28"/>
                    </a:moveTo>
                    <a:lnTo>
                      <a:pt x="19" y="0"/>
                    </a:lnTo>
                    <a:lnTo>
                      <a:pt x="0" y="160"/>
                    </a:lnTo>
                    <a:lnTo>
                      <a:pt x="39" y="177"/>
                    </a:lnTo>
                    <a:lnTo>
                      <a:pt x="55" y="37"/>
                    </a:lnTo>
                    <a:lnTo>
                      <a:pt x="190" y="84"/>
                    </a:lnTo>
                    <a:lnTo>
                      <a:pt x="207"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3" name="ïşļiḍè"/>
              <p:cNvSpPr/>
              <p:nvPr/>
            </p:nvSpPr>
            <p:spPr bwMode="auto">
              <a:xfrm>
                <a:off x="5480064" y="2239958"/>
                <a:ext cx="169864" cy="214313"/>
              </a:xfrm>
              <a:custGeom>
                <a:avLst/>
                <a:gdLst>
                  <a:gd name="T0" fmla="*/ 74613 w 107"/>
                  <a:gd name="T1" fmla="*/ 14288 h 135"/>
                  <a:gd name="T2" fmla="*/ 49213 w 107"/>
                  <a:gd name="T3" fmla="*/ 160338 h 135"/>
                  <a:gd name="T4" fmla="*/ 142876 w 107"/>
                  <a:gd name="T5" fmla="*/ 182563 h 135"/>
                  <a:gd name="T6" fmla="*/ 160339 w 107"/>
                  <a:gd name="T7" fmla="*/ 73025 h 135"/>
                  <a:gd name="T8" fmla="*/ 169864 w 107"/>
                  <a:gd name="T9" fmla="*/ 204788 h 135"/>
                  <a:gd name="T10" fmla="*/ 152401 w 107"/>
                  <a:gd name="T11" fmla="*/ 214313 h 135"/>
                  <a:gd name="T12" fmla="*/ 0 w 107"/>
                  <a:gd name="T13" fmla="*/ 179388 h 135"/>
                  <a:gd name="T14" fmla="*/ 46038 w 107"/>
                  <a:gd name="T15" fmla="*/ 0 h 135"/>
                  <a:gd name="T16" fmla="*/ 74613 w 107"/>
                  <a:gd name="T17" fmla="*/ 14288 h 1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7" h="135">
                    <a:moveTo>
                      <a:pt x="47" y="9"/>
                    </a:moveTo>
                    <a:lnTo>
                      <a:pt x="31" y="101"/>
                    </a:lnTo>
                    <a:lnTo>
                      <a:pt x="90" y="115"/>
                    </a:lnTo>
                    <a:lnTo>
                      <a:pt x="101" y="46"/>
                    </a:lnTo>
                    <a:lnTo>
                      <a:pt x="107" y="129"/>
                    </a:lnTo>
                    <a:lnTo>
                      <a:pt x="96" y="135"/>
                    </a:lnTo>
                    <a:lnTo>
                      <a:pt x="0" y="113"/>
                    </a:lnTo>
                    <a:lnTo>
                      <a:pt x="29" y="0"/>
                    </a:lnTo>
                    <a:lnTo>
                      <a:pt x="47" y="9"/>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4" name="í$ḻídé"/>
              <p:cNvSpPr/>
              <p:nvPr/>
            </p:nvSpPr>
            <p:spPr bwMode="auto">
              <a:xfrm>
                <a:off x="5840427" y="3057520"/>
                <a:ext cx="728664" cy="257174"/>
              </a:xfrm>
              <a:custGeom>
                <a:avLst/>
                <a:gdLst>
                  <a:gd name="T0" fmla="*/ 0 w 459"/>
                  <a:gd name="T1" fmla="*/ 0 h 162"/>
                  <a:gd name="T2" fmla="*/ 728664 w 459"/>
                  <a:gd name="T3" fmla="*/ 0 h 162"/>
                  <a:gd name="T4" fmla="*/ 673101 w 459"/>
                  <a:gd name="T5" fmla="*/ 117475 h 162"/>
                  <a:gd name="T6" fmla="*/ 679451 w 459"/>
                  <a:gd name="T7" fmla="*/ 257174 h 162"/>
                  <a:gd name="T8" fmla="*/ 211138 w 459"/>
                  <a:gd name="T9" fmla="*/ 190499 h 162"/>
                  <a:gd name="T10" fmla="*/ 246063 w 459"/>
                  <a:gd name="T11" fmla="*/ 149224 h 162"/>
                  <a:gd name="T12" fmla="*/ 0 w 459"/>
                  <a:gd name="T13" fmla="*/ 0 h 16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9" h="162">
                    <a:moveTo>
                      <a:pt x="0" y="0"/>
                    </a:moveTo>
                    <a:lnTo>
                      <a:pt x="459" y="0"/>
                    </a:lnTo>
                    <a:lnTo>
                      <a:pt x="424" y="74"/>
                    </a:lnTo>
                    <a:lnTo>
                      <a:pt x="428" y="162"/>
                    </a:lnTo>
                    <a:lnTo>
                      <a:pt x="133" y="120"/>
                    </a:lnTo>
                    <a:lnTo>
                      <a:pt x="155" y="94"/>
                    </a:lnTo>
                    <a:lnTo>
                      <a:pt x="0"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5" name="ïš1ídè"/>
              <p:cNvSpPr/>
              <p:nvPr/>
            </p:nvSpPr>
            <p:spPr bwMode="auto">
              <a:xfrm>
                <a:off x="6373828" y="3295643"/>
                <a:ext cx="179388" cy="1676395"/>
              </a:xfrm>
              <a:custGeom>
                <a:avLst/>
                <a:gdLst>
                  <a:gd name="T0" fmla="*/ 0 w 113"/>
                  <a:gd name="T1" fmla="*/ 0 h 1056"/>
                  <a:gd name="T2" fmla="*/ 93663 w 113"/>
                  <a:gd name="T3" fmla="*/ 1676395 h 1056"/>
                  <a:gd name="T4" fmla="*/ 179388 w 113"/>
                  <a:gd name="T5" fmla="*/ 1676395 h 1056"/>
                  <a:gd name="T6" fmla="*/ 146050 w 113"/>
                  <a:gd name="T7" fmla="*/ 19050 h 1056"/>
                  <a:gd name="T8" fmla="*/ 0 w 113"/>
                  <a:gd name="T9" fmla="*/ 0 h 10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1056">
                    <a:moveTo>
                      <a:pt x="0" y="0"/>
                    </a:moveTo>
                    <a:lnTo>
                      <a:pt x="59" y="1056"/>
                    </a:lnTo>
                    <a:lnTo>
                      <a:pt x="113" y="1056"/>
                    </a:lnTo>
                    <a:lnTo>
                      <a:pt x="92" y="12"/>
                    </a:lnTo>
                    <a:lnTo>
                      <a:pt x="0"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6" name="iṧlíḋé"/>
              <p:cNvSpPr/>
              <p:nvPr/>
            </p:nvSpPr>
            <p:spPr bwMode="auto">
              <a:xfrm>
                <a:off x="5830902" y="1882773"/>
                <a:ext cx="136525" cy="598486"/>
              </a:xfrm>
              <a:custGeom>
                <a:avLst/>
                <a:gdLst>
                  <a:gd name="T0" fmla="*/ 71438 w 86"/>
                  <a:gd name="T1" fmla="*/ 144462 h 377"/>
                  <a:gd name="T2" fmla="*/ 0 w 86"/>
                  <a:gd name="T3" fmla="*/ 0 h 377"/>
                  <a:gd name="T4" fmla="*/ 71438 w 86"/>
                  <a:gd name="T5" fmla="*/ 598486 h 377"/>
                  <a:gd name="T6" fmla="*/ 136525 w 86"/>
                  <a:gd name="T7" fmla="*/ 581024 h 377"/>
                  <a:gd name="T8" fmla="*/ 71438 w 86"/>
                  <a:gd name="T9" fmla="*/ 144462 h 3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6" h="377">
                    <a:moveTo>
                      <a:pt x="45" y="91"/>
                    </a:moveTo>
                    <a:lnTo>
                      <a:pt x="0" y="0"/>
                    </a:lnTo>
                    <a:lnTo>
                      <a:pt x="45" y="377"/>
                    </a:lnTo>
                    <a:lnTo>
                      <a:pt x="86" y="366"/>
                    </a:lnTo>
                    <a:lnTo>
                      <a:pt x="45" y="91"/>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7" name="îsľîďé"/>
              <p:cNvSpPr/>
              <p:nvPr/>
            </p:nvSpPr>
            <p:spPr bwMode="auto">
              <a:xfrm>
                <a:off x="5543564" y="2031996"/>
                <a:ext cx="65088" cy="234949"/>
              </a:xfrm>
              <a:custGeom>
                <a:avLst/>
                <a:gdLst>
                  <a:gd name="T0" fmla="*/ 65088 w 41"/>
                  <a:gd name="T1" fmla="*/ 0 h 148"/>
                  <a:gd name="T2" fmla="*/ 47625 w 41"/>
                  <a:gd name="T3" fmla="*/ 234949 h 148"/>
                  <a:gd name="T4" fmla="*/ 0 w 41"/>
                  <a:gd name="T5" fmla="*/ 207962 h 148"/>
                  <a:gd name="T6" fmla="*/ 33338 w 41"/>
                  <a:gd name="T7" fmla="*/ 14287 h 148"/>
                  <a:gd name="T8" fmla="*/ 65088 w 41"/>
                  <a:gd name="T9" fmla="*/ 0 h 1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48">
                    <a:moveTo>
                      <a:pt x="41" y="0"/>
                    </a:moveTo>
                    <a:lnTo>
                      <a:pt x="30" y="148"/>
                    </a:lnTo>
                    <a:lnTo>
                      <a:pt x="0" y="131"/>
                    </a:lnTo>
                    <a:lnTo>
                      <a:pt x="21" y="9"/>
                    </a:lnTo>
                    <a:lnTo>
                      <a:pt x="41"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8" name="ï$ľïḋé"/>
              <p:cNvSpPr/>
              <p:nvPr/>
            </p:nvSpPr>
            <p:spPr bwMode="auto">
              <a:xfrm>
                <a:off x="5468953" y="2195509"/>
                <a:ext cx="123826" cy="71438"/>
              </a:xfrm>
              <a:custGeom>
                <a:avLst/>
                <a:gdLst>
                  <a:gd name="T0" fmla="*/ 123826 w 78"/>
                  <a:gd name="T1" fmla="*/ 26988 h 45"/>
                  <a:gd name="T2" fmla="*/ 0 w 78"/>
                  <a:gd name="T3" fmla="*/ 0 h 45"/>
                  <a:gd name="T4" fmla="*/ 0 w 78"/>
                  <a:gd name="T5" fmla="*/ 19050 h 45"/>
                  <a:gd name="T6" fmla="*/ 122238 w 78"/>
                  <a:gd name="T7" fmla="*/ 71438 h 45"/>
                  <a:gd name="T8" fmla="*/ 123826 w 78"/>
                  <a:gd name="T9" fmla="*/ 26988 h 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 h="45">
                    <a:moveTo>
                      <a:pt x="78" y="17"/>
                    </a:moveTo>
                    <a:lnTo>
                      <a:pt x="0" y="0"/>
                    </a:lnTo>
                    <a:lnTo>
                      <a:pt x="0" y="12"/>
                    </a:lnTo>
                    <a:lnTo>
                      <a:pt x="77" y="45"/>
                    </a:lnTo>
                    <a:lnTo>
                      <a:pt x="78" y="17"/>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29" name="ïsľiḓé"/>
              <p:cNvSpPr/>
              <p:nvPr/>
            </p:nvSpPr>
            <p:spPr bwMode="auto">
              <a:xfrm>
                <a:off x="6026167" y="2093908"/>
                <a:ext cx="312739" cy="409573"/>
              </a:xfrm>
              <a:custGeom>
                <a:avLst/>
                <a:gdLst>
                  <a:gd name="T0" fmla="*/ 0 w 197"/>
                  <a:gd name="T1" fmla="*/ 301624 h 258"/>
                  <a:gd name="T2" fmla="*/ 230189 w 197"/>
                  <a:gd name="T3" fmla="*/ 346073 h 258"/>
                  <a:gd name="T4" fmla="*/ 287339 w 197"/>
                  <a:gd name="T5" fmla="*/ 0 h 258"/>
                  <a:gd name="T6" fmla="*/ 312739 w 197"/>
                  <a:gd name="T7" fmla="*/ 4762 h 258"/>
                  <a:gd name="T8" fmla="*/ 260351 w 197"/>
                  <a:gd name="T9" fmla="*/ 409573 h 258"/>
                  <a:gd name="T10" fmla="*/ 12700 w 197"/>
                  <a:gd name="T11" fmla="*/ 368298 h 258"/>
                  <a:gd name="T12" fmla="*/ 0 w 197"/>
                  <a:gd name="T13" fmla="*/ 301624 h 25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7" h="258">
                    <a:moveTo>
                      <a:pt x="0" y="190"/>
                    </a:moveTo>
                    <a:lnTo>
                      <a:pt x="145" y="218"/>
                    </a:lnTo>
                    <a:lnTo>
                      <a:pt x="181" y="0"/>
                    </a:lnTo>
                    <a:lnTo>
                      <a:pt x="197" y="3"/>
                    </a:lnTo>
                    <a:lnTo>
                      <a:pt x="164" y="258"/>
                    </a:lnTo>
                    <a:lnTo>
                      <a:pt x="8" y="232"/>
                    </a:lnTo>
                    <a:lnTo>
                      <a:pt x="0" y="19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30" name="ïslïḑê"/>
              <p:cNvSpPr/>
              <p:nvPr/>
            </p:nvSpPr>
            <p:spPr bwMode="auto">
              <a:xfrm>
                <a:off x="5781691" y="2381245"/>
                <a:ext cx="185738" cy="144462"/>
              </a:xfrm>
              <a:custGeom>
                <a:avLst/>
                <a:gdLst>
                  <a:gd name="T0" fmla="*/ 173038 w 117"/>
                  <a:gd name="T1" fmla="*/ 0 h 91"/>
                  <a:gd name="T2" fmla="*/ 0 w 117"/>
                  <a:gd name="T3" fmla="*/ 117475 h 91"/>
                  <a:gd name="T4" fmla="*/ 9525 w 117"/>
                  <a:gd name="T5" fmla="*/ 144462 h 91"/>
                  <a:gd name="T6" fmla="*/ 185738 w 117"/>
                  <a:gd name="T7" fmla="*/ 82550 h 91"/>
                  <a:gd name="T8" fmla="*/ 173038 w 117"/>
                  <a:gd name="T9" fmla="*/ 0 h 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91">
                    <a:moveTo>
                      <a:pt x="109" y="0"/>
                    </a:moveTo>
                    <a:lnTo>
                      <a:pt x="0" y="74"/>
                    </a:lnTo>
                    <a:lnTo>
                      <a:pt x="6" y="91"/>
                    </a:lnTo>
                    <a:lnTo>
                      <a:pt x="117" y="52"/>
                    </a:lnTo>
                    <a:lnTo>
                      <a:pt x="109"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631" name="ïṡľídê"/>
              <p:cNvSpPr/>
              <p:nvPr/>
            </p:nvSpPr>
            <p:spPr bwMode="auto">
              <a:xfrm>
                <a:off x="6338888" y="2157413"/>
                <a:ext cx="358776" cy="423863"/>
              </a:xfrm>
              <a:custGeom>
                <a:avLst/>
                <a:gdLst>
                  <a:gd name="T0" fmla="*/ 4763 w 226"/>
                  <a:gd name="T1" fmla="*/ 304800 h 267"/>
                  <a:gd name="T2" fmla="*/ 279401 w 226"/>
                  <a:gd name="T3" fmla="*/ 368300 h 267"/>
                  <a:gd name="T4" fmla="*/ 358776 w 226"/>
                  <a:gd name="T5" fmla="*/ 0 h 267"/>
                  <a:gd name="T6" fmla="*/ 323851 w 226"/>
                  <a:gd name="T7" fmla="*/ 423863 h 267"/>
                  <a:gd name="T8" fmla="*/ 0 w 226"/>
                  <a:gd name="T9" fmla="*/ 371475 h 267"/>
                  <a:gd name="T10" fmla="*/ 4763 w 226"/>
                  <a:gd name="T11" fmla="*/ 304800 h 2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6" h="267">
                    <a:moveTo>
                      <a:pt x="3" y="192"/>
                    </a:moveTo>
                    <a:lnTo>
                      <a:pt x="176" y="232"/>
                    </a:lnTo>
                    <a:lnTo>
                      <a:pt x="226" y="0"/>
                    </a:lnTo>
                    <a:lnTo>
                      <a:pt x="204" y="267"/>
                    </a:lnTo>
                    <a:lnTo>
                      <a:pt x="0" y="234"/>
                    </a:lnTo>
                    <a:lnTo>
                      <a:pt x="3" y="192"/>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grpSp>
        <p:sp>
          <p:nvSpPr>
            <p:cNvPr id="23558" name="ïśḷïḍè"/>
            <p:cNvSpPr/>
            <p:nvPr/>
          </p:nvSpPr>
          <p:spPr bwMode="auto">
            <a:xfrm>
              <a:off x="6762350" y="2686732"/>
              <a:ext cx="907365" cy="1902873"/>
            </a:xfrm>
            <a:custGeom>
              <a:avLst/>
              <a:gdLst>
                <a:gd name="T0" fmla="*/ 907365 w 525"/>
                <a:gd name="T1" fmla="*/ 174560 h 1101"/>
                <a:gd name="T2" fmla="*/ 406154 w 525"/>
                <a:gd name="T3" fmla="*/ 91601 h 1101"/>
                <a:gd name="T4" fmla="*/ 361218 w 525"/>
                <a:gd name="T5" fmla="*/ 0 h 1101"/>
                <a:gd name="T6" fmla="*/ 233322 w 525"/>
                <a:gd name="T7" fmla="*/ 39751 h 1101"/>
                <a:gd name="T8" fmla="*/ 228137 w 525"/>
                <a:gd name="T9" fmla="*/ 252334 h 1101"/>
                <a:gd name="T10" fmla="*/ 117525 w 525"/>
                <a:gd name="T11" fmla="*/ 203941 h 1101"/>
                <a:gd name="T12" fmla="*/ 0 w 525"/>
                <a:gd name="T13" fmla="*/ 518494 h 1101"/>
                <a:gd name="T14" fmla="*/ 366403 w 525"/>
                <a:gd name="T15" fmla="*/ 815764 h 1101"/>
                <a:gd name="T16" fmla="*/ 338750 w 525"/>
                <a:gd name="T17" fmla="*/ 1700660 h 1101"/>
                <a:gd name="T18" fmla="*/ 343935 w 525"/>
                <a:gd name="T19" fmla="*/ 1666094 h 1101"/>
                <a:gd name="T20" fmla="*/ 338750 w 525"/>
                <a:gd name="T21" fmla="*/ 1902873 h 1101"/>
                <a:gd name="T22" fmla="*/ 815764 w 525"/>
                <a:gd name="T23" fmla="*/ 1902873 h 1101"/>
                <a:gd name="T24" fmla="*/ 791568 w 525"/>
                <a:gd name="T25" fmla="*/ 812307 h 1101"/>
                <a:gd name="T26" fmla="*/ 867614 w 525"/>
                <a:gd name="T27" fmla="*/ 653302 h 1101"/>
                <a:gd name="T28" fmla="*/ 907365 w 525"/>
                <a:gd name="T29" fmla="*/ 174560 h 1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5" h="1101">
                  <a:moveTo>
                    <a:pt x="525" y="101"/>
                  </a:moveTo>
                  <a:lnTo>
                    <a:pt x="235" y="53"/>
                  </a:lnTo>
                  <a:lnTo>
                    <a:pt x="209" y="0"/>
                  </a:lnTo>
                  <a:lnTo>
                    <a:pt x="135" y="23"/>
                  </a:lnTo>
                  <a:lnTo>
                    <a:pt x="132" y="146"/>
                  </a:lnTo>
                  <a:lnTo>
                    <a:pt x="68" y="118"/>
                  </a:lnTo>
                  <a:lnTo>
                    <a:pt x="0" y="300"/>
                  </a:lnTo>
                  <a:lnTo>
                    <a:pt x="212" y="472"/>
                  </a:lnTo>
                  <a:lnTo>
                    <a:pt x="196" y="984"/>
                  </a:lnTo>
                  <a:lnTo>
                    <a:pt x="199" y="964"/>
                  </a:lnTo>
                  <a:lnTo>
                    <a:pt x="196" y="1101"/>
                  </a:lnTo>
                  <a:lnTo>
                    <a:pt x="472" y="1101"/>
                  </a:lnTo>
                  <a:lnTo>
                    <a:pt x="458" y="470"/>
                  </a:lnTo>
                  <a:lnTo>
                    <a:pt x="502" y="378"/>
                  </a:lnTo>
                  <a:lnTo>
                    <a:pt x="525" y="101"/>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59" name="ïŝlíḍê"/>
            <p:cNvSpPr/>
            <p:nvPr/>
          </p:nvSpPr>
          <p:spPr bwMode="auto">
            <a:xfrm>
              <a:off x="6890245" y="2778332"/>
              <a:ext cx="100242" cy="160734"/>
            </a:xfrm>
            <a:custGeom>
              <a:avLst/>
              <a:gdLst>
                <a:gd name="T0" fmla="*/ 0 w 58"/>
                <a:gd name="T1" fmla="*/ 43208 h 93"/>
                <a:gd name="T2" fmla="*/ 24196 w 58"/>
                <a:gd name="T3" fmla="*/ 126168 h 93"/>
                <a:gd name="T4" fmla="*/ 100242 w 58"/>
                <a:gd name="T5" fmla="*/ 160734 h 93"/>
                <a:gd name="T6" fmla="*/ 100242 w 58"/>
                <a:gd name="T7" fmla="*/ 0 h 93"/>
                <a:gd name="T8" fmla="*/ 0 w 58"/>
                <a:gd name="T9" fmla="*/ 43208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3">
                  <a:moveTo>
                    <a:pt x="0" y="25"/>
                  </a:moveTo>
                  <a:lnTo>
                    <a:pt x="14" y="73"/>
                  </a:lnTo>
                  <a:lnTo>
                    <a:pt x="58" y="93"/>
                  </a:lnTo>
                  <a:lnTo>
                    <a:pt x="58"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0" name="íşļíḍê"/>
            <p:cNvSpPr/>
            <p:nvPr/>
          </p:nvSpPr>
          <p:spPr bwMode="auto">
            <a:xfrm>
              <a:off x="4417029" y="2693645"/>
              <a:ext cx="905637" cy="1895960"/>
            </a:xfrm>
            <a:custGeom>
              <a:avLst/>
              <a:gdLst>
                <a:gd name="T0" fmla="*/ 361218 w 524"/>
                <a:gd name="T1" fmla="*/ 0 h 1097"/>
                <a:gd name="T2" fmla="*/ 231594 w 524"/>
                <a:gd name="T3" fmla="*/ 41480 h 1097"/>
                <a:gd name="T4" fmla="*/ 229866 w 524"/>
                <a:gd name="T5" fmla="*/ 254062 h 1097"/>
                <a:gd name="T6" fmla="*/ 115797 w 524"/>
                <a:gd name="T7" fmla="*/ 205669 h 1097"/>
                <a:gd name="T8" fmla="*/ 0 w 524"/>
                <a:gd name="T9" fmla="*/ 520222 h 1097"/>
                <a:gd name="T10" fmla="*/ 364674 w 524"/>
                <a:gd name="T11" fmla="*/ 815764 h 1097"/>
                <a:gd name="T12" fmla="*/ 337021 w 524"/>
                <a:gd name="T13" fmla="*/ 1702389 h 1097"/>
                <a:gd name="T14" fmla="*/ 345663 w 524"/>
                <a:gd name="T15" fmla="*/ 1667823 h 1097"/>
                <a:gd name="T16" fmla="*/ 340478 w 524"/>
                <a:gd name="T17" fmla="*/ 1895960 h 1097"/>
                <a:gd name="T18" fmla="*/ 817493 w 524"/>
                <a:gd name="T19" fmla="*/ 1895960 h 1097"/>
                <a:gd name="T20" fmla="*/ 793297 w 524"/>
                <a:gd name="T21" fmla="*/ 814036 h 1097"/>
                <a:gd name="T22" fmla="*/ 867614 w 524"/>
                <a:gd name="T23" fmla="*/ 655031 h 1097"/>
                <a:gd name="T24" fmla="*/ 905637 w 524"/>
                <a:gd name="T25" fmla="*/ 176288 h 1097"/>
                <a:gd name="T26" fmla="*/ 404426 w 524"/>
                <a:gd name="T27" fmla="*/ 91601 h 1097"/>
                <a:gd name="T28" fmla="*/ 361218 w 524"/>
                <a:gd name="T29" fmla="*/ 0 h 10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4" h="1097">
                  <a:moveTo>
                    <a:pt x="209" y="0"/>
                  </a:moveTo>
                  <a:lnTo>
                    <a:pt x="134" y="24"/>
                  </a:lnTo>
                  <a:lnTo>
                    <a:pt x="133" y="147"/>
                  </a:lnTo>
                  <a:lnTo>
                    <a:pt x="67" y="119"/>
                  </a:lnTo>
                  <a:lnTo>
                    <a:pt x="0" y="301"/>
                  </a:lnTo>
                  <a:lnTo>
                    <a:pt x="211" y="472"/>
                  </a:lnTo>
                  <a:lnTo>
                    <a:pt x="195" y="985"/>
                  </a:lnTo>
                  <a:lnTo>
                    <a:pt x="200" y="965"/>
                  </a:lnTo>
                  <a:lnTo>
                    <a:pt x="197" y="1097"/>
                  </a:lnTo>
                  <a:lnTo>
                    <a:pt x="473" y="1097"/>
                  </a:lnTo>
                  <a:lnTo>
                    <a:pt x="459" y="471"/>
                  </a:lnTo>
                  <a:lnTo>
                    <a:pt x="502" y="379"/>
                  </a:lnTo>
                  <a:lnTo>
                    <a:pt x="524" y="102"/>
                  </a:lnTo>
                  <a:lnTo>
                    <a:pt x="234" y="53"/>
                  </a:lnTo>
                  <a:lnTo>
                    <a:pt x="209" y="0"/>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1" name="ïš1îḑe"/>
            <p:cNvSpPr/>
            <p:nvPr/>
          </p:nvSpPr>
          <p:spPr bwMode="auto">
            <a:xfrm>
              <a:off x="4546652" y="2785245"/>
              <a:ext cx="100242" cy="162461"/>
            </a:xfrm>
            <a:custGeom>
              <a:avLst/>
              <a:gdLst>
                <a:gd name="T0" fmla="*/ 0 w 58"/>
                <a:gd name="T1" fmla="*/ 43208 h 94"/>
                <a:gd name="T2" fmla="*/ 20740 w 58"/>
                <a:gd name="T3" fmla="*/ 127895 h 94"/>
                <a:gd name="T4" fmla="*/ 100242 w 58"/>
                <a:gd name="T5" fmla="*/ 162461 h 94"/>
                <a:gd name="T6" fmla="*/ 96785 w 58"/>
                <a:gd name="T7" fmla="*/ 0 h 94"/>
                <a:gd name="T8" fmla="*/ 0 w 58"/>
                <a:gd name="T9" fmla="*/ 43208 h 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4">
                  <a:moveTo>
                    <a:pt x="0" y="25"/>
                  </a:moveTo>
                  <a:lnTo>
                    <a:pt x="12" y="74"/>
                  </a:lnTo>
                  <a:lnTo>
                    <a:pt x="58" y="94"/>
                  </a:lnTo>
                  <a:lnTo>
                    <a:pt x="56"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2" name="îṧļîḓè"/>
            <p:cNvSpPr/>
            <p:nvPr/>
          </p:nvSpPr>
          <p:spPr bwMode="auto">
            <a:xfrm>
              <a:off x="3611634" y="3343491"/>
              <a:ext cx="905637" cy="1246114"/>
            </a:xfrm>
            <a:custGeom>
              <a:avLst/>
              <a:gdLst>
                <a:gd name="T0" fmla="*/ 357761 w 524"/>
                <a:gd name="T1" fmla="*/ 0 h 721"/>
                <a:gd name="T2" fmla="*/ 231594 w 524"/>
                <a:gd name="T3" fmla="*/ 38023 h 721"/>
                <a:gd name="T4" fmla="*/ 226409 w 524"/>
                <a:gd name="T5" fmla="*/ 250605 h 721"/>
                <a:gd name="T6" fmla="*/ 115797 w 524"/>
                <a:gd name="T7" fmla="*/ 203941 h 721"/>
                <a:gd name="T8" fmla="*/ 0 w 524"/>
                <a:gd name="T9" fmla="*/ 518494 h 721"/>
                <a:gd name="T10" fmla="*/ 362946 w 524"/>
                <a:gd name="T11" fmla="*/ 815764 h 721"/>
                <a:gd name="T12" fmla="*/ 350848 w 524"/>
                <a:gd name="T13" fmla="*/ 1246114 h 721"/>
                <a:gd name="T14" fmla="*/ 352576 w 524"/>
                <a:gd name="T15" fmla="*/ 1246114 h 721"/>
                <a:gd name="T16" fmla="*/ 425165 w 524"/>
                <a:gd name="T17" fmla="*/ 1246114 h 721"/>
                <a:gd name="T18" fmla="*/ 800210 w 524"/>
                <a:gd name="T19" fmla="*/ 1246114 h 721"/>
                <a:gd name="T20" fmla="*/ 791568 w 524"/>
                <a:gd name="T21" fmla="*/ 812307 h 721"/>
                <a:gd name="T22" fmla="*/ 867614 w 524"/>
                <a:gd name="T23" fmla="*/ 653302 h 721"/>
                <a:gd name="T24" fmla="*/ 905637 w 524"/>
                <a:gd name="T25" fmla="*/ 171103 h 721"/>
                <a:gd name="T26" fmla="*/ 404426 w 524"/>
                <a:gd name="T27" fmla="*/ 91601 h 721"/>
                <a:gd name="T28" fmla="*/ 357761 w 524"/>
                <a:gd name="T29" fmla="*/ 0 h 7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4" h="721">
                  <a:moveTo>
                    <a:pt x="207" y="0"/>
                  </a:moveTo>
                  <a:lnTo>
                    <a:pt x="134" y="22"/>
                  </a:lnTo>
                  <a:lnTo>
                    <a:pt x="131" y="145"/>
                  </a:lnTo>
                  <a:lnTo>
                    <a:pt x="67" y="118"/>
                  </a:lnTo>
                  <a:lnTo>
                    <a:pt x="0" y="300"/>
                  </a:lnTo>
                  <a:lnTo>
                    <a:pt x="210" y="472"/>
                  </a:lnTo>
                  <a:lnTo>
                    <a:pt x="203" y="721"/>
                  </a:lnTo>
                  <a:lnTo>
                    <a:pt x="204" y="721"/>
                  </a:lnTo>
                  <a:lnTo>
                    <a:pt x="246" y="721"/>
                  </a:lnTo>
                  <a:lnTo>
                    <a:pt x="463" y="721"/>
                  </a:lnTo>
                  <a:lnTo>
                    <a:pt x="458" y="470"/>
                  </a:lnTo>
                  <a:lnTo>
                    <a:pt x="502" y="378"/>
                  </a:lnTo>
                  <a:lnTo>
                    <a:pt x="524" y="99"/>
                  </a:lnTo>
                  <a:lnTo>
                    <a:pt x="234" y="53"/>
                  </a:lnTo>
                  <a:lnTo>
                    <a:pt x="207" y="0"/>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3" name="iŝ1îďê"/>
            <p:cNvSpPr/>
            <p:nvPr/>
          </p:nvSpPr>
          <p:spPr bwMode="auto">
            <a:xfrm>
              <a:off x="3737801" y="3435090"/>
              <a:ext cx="100242" cy="159005"/>
            </a:xfrm>
            <a:custGeom>
              <a:avLst/>
              <a:gdLst>
                <a:gd name="T0" fmla="*/ 0 w 58"/>
                <a:gd name="T1" fmla="*/ 43208 h 92"/>
                <a:gd name="T2" fmla="*/ 24196 w 58"/>
                <a:gd name="T3" fmla="*/ 126167 h 92"/>
                <a:gd name="T4" fmla="*/ 100242 w 58"/>
                <a:gd name="T5" fmla="*/ 159005 h 92"/>
                <a:gd name="T6" fmla="*/ 100242 w 58"/>
                <a:gd name="T7" fmla="*/ 0 h 92"/>
                <a:gd name="T8" fmla="*/ 0 w 58"/>
                <a:gd name="T9" fmla="*/ 43208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2">
                  <a:moveTo>
                    <a:pt x="0" y="25"/>
                  </a:moveTo>
                  <a:lnTo>
                    <a:pt x="14" y="73"/>
                  </a:lnTo>
                  <a:lnTo>
                    <a:pt x="58" y="92"/>
                  </a:lnTo>
                  <a:lnTo>
                    <a:pt x="58"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4" name="ïSḷiḍê"/>
            <p:cNvSpPr/>
            <p:nvPr/>
          </p:nvSpPr>
          <p:spPr bwMode="auto">
            <a:xfrm>
              <a:off x="7669715" y="3343491"/>
              <a:ext cx="907365" cy="1246114"/>
            </a:xfrm>
            <a:custGeom>
              <a:avLst/>
              <a:gdLst>
                <a:gd name="T0" fmla="*/ 907365 w 525"/>
                <a:gd name="T1" fmla="*/ 171103 h 721"/>
                <a:gd name="T2" fmla="*/ 404426 w 525"/>
                <a:gd name="T3" fmla="*/ 91601 h 721"/>
                <a:gd name="T4" fmla="*/ 361218 w 525"/>
                <a:gd name="T5" fmla="*/ 0 h 721"/>
                <a:gd name="T6" fmla="*/ 231594 w 525"/>
                <a:gd name="T7" fmla="*/ 38023 h 721"/>
                <a:gd name="T8" fmla="*/ 229866 w 525"/>
                <a:gd name="T9" fmla="*/ 250605 h 721"/>
                <a:gd name="T10" fmla="*/ 115797 w 525"/>
                <a:gd name="T11" fmla="*/ 203941 h 721"/>
                <a:gd name="T12" fmla="*/ 0 w 525"/>
                <a:gd name="T13" fmla="*/ 518494 h 721"/>
                <a:gd name="T14" fmla="*/ 364674 w 525"/>
                <a:gd name="T15" fmla="*/ 815764 h 721"/>
                <a:gd name="T16" fmla="*/ 350848 w 525"/>
                <a:gd name="T17" fmla="*/ 1246114 h 721"/>
                <a:gd name="T18" fmla="*/ 356033 w 525"/>
                <a:gd name="T19" fmla="*/ 1246114 h 721"/>
                <a:gd name="T20" fmla="*/ 425165 w 525"/>
                <a:gd name="T21" fmla="*/ 1246114 h 721"/>
                <a:gd name="T22" fmla="*/ 800210 w 525"/>
                <a:gd name="T23" fmla="*/ 1246114 h 721"/>
                <a:gd name="T24" fmla="*/ 791568 w 525"/>
                <a:gd name="T25" fmla="*/ 812307 h 721"/>
                <a:gd name="T26" fmla="*/ 867614 w 525"/>
                <a:gd name="T27" fmla="*/ 653302 h 721"/>
                <a:gd name="T28" fmla="*/ 907365 w 525"/>
                <a:gd name="T29" fmla="*/ 171103 h 7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5" h="721">
                  <a:moveTo>
                    <a:pt x="525" y="99"/>
                  </a:moveTo>
                  <a:lnTo>
                    <a:pt x="234" y="53"/>
                  </a:lnTo>
                  <a:lnTo>
                    <a:pt x="209" y="0"/>
                  </a:lnTo>
                  <a:lnTo>
                    <a:pt x="134" y="22"/>
                  </a:lnTo>
                  <a:lnTo>
                    <a:pt x="133" y="145"/>
                  </a:lnTo>
                  <a:lnTo>
                    <a:pt x="67" y="118"/>
                  </a:lnTo>
                  <a:lnTo>
                    <a:pt x="0" y="300"/>
                  </a:lnTo>
                  <a:lnTo>
                    <a:pt x="211" y="472"/>
                  </a:lnTo>
                  <a:lnTo>
                    <a:pt x="203" y="721"/>
                  </a:lnTo>
                  <a:lnTo>
                    <a:pt x="206" y="721"/>
                  </a:lnTo>
                  <a:lnTo>
                    <a:pt x="246" y="721"/>
                  </a:lnTo>
                  <a:lnTo>
                    <a:pt x="463" y="721"/>
                  </a:lnTo>
                  <a:lnTo>
                    <a:pt x="458" y="470"/>
                  </a:lnTo>
                  <a:lnTo>
                    <a:pt x="502" y="378"/>
                  </a:lnTo>
                  <a:lnTo>
                    <a:pt x="525" y="99"/>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5" name="íṥḷiḑé"/>
            <p:cNvSpPr/>
            <p:nvPr/>
          </p:nvSpPr>
          <p:spPr bwMode="auto">
            <a:xfrm>
              <a:off x="7799338" y="3435090"/>
              <a:ext cx="100242" cy="159005"/>
            </a:xfrm>
            <a:custGeom>
              <a:avLst/>
              <a:gdLst>
                <a:gd name="T0" fmla="*/ 0 w 58"/>
                <a:gd name="T1" fmla="*/ 43208 h 92"/>
                <a:gd name="T2" fmla="*/ 20740 w 58"/>
                <a:gd name="T3" fmla="*/ 126167 h 92"/>
                <a:gd name="T4" fmla="*/ 100242 w 58"/>
                <a:gd name="T5" fmla="*/ 159005 h 92"/>
                <a:gd name="T6" fmla="*/ 96785 w 58"/>
                <a:gd name="T7" fmla="*/ 0 h 92"/>
                <a:gd name="T8" fmla="*/ 0 w 58"/>
                <a:gd name="T9" fmla="*/ 43208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92">
                  <a:moveTo>
                    <a:pt x="0" y="25"/>
                  </a:moveTo>
                  <a:lnTo>
                    <a:pt x="12" y="73"/>
                  </a:lnTo>
                  <a:lnTo>
                    <a:pt x="58" y="92"/>
                  </a:lnTo>
                  <a:lnTo>
                    <a:pt x="56" y="0"/>
                  </a:lnTo>
                  <a:lnTo>
                    <a:pt x="0" y="25"/>
                  </a:lnTo>
                  <a:close/>
                </a:path>
              </a:pathLst>
            </a:custGeom>
            <a:solidFill>
              <a:srgbClr val="860A1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6" name="iṡ1îḋe"/>
            <p:cNvSpPr/>
            <p:nvPr/>
          </p:nvSpPr>
          <p:spPr bwMode="auto">
            <a:xfrm>
              <a:off x="5186128" y="1226308"/>
              <a:ext cx="1562396" cy="1406847"/>
            </a:xfrm>
            <a:custGeom>
              <a:avLst/>
              <a:gdLst>
                <a:gd name="T0" fmla="*/ 653303 w 904"/>
                <a:gd name="T1" fmla="*/ 1382651 h 814"/>
                <a:gd name="T2" fmla="*/ 0 w 904"/>
                <a:gd name="T3" fmla="*/ 895266 h 814"/>
                <a:gd name="T4" fmla="*/ 200484 w 904"/>
                <a:gd name="T5" fmla="*/ 350848 h 814"/>
                <a:gd name="T6" fmla="*/ 392327 w 904"/>
                <a:gd name="T7" fmla="*/ 433807 h 814"/>
                <a:gd name="T8" fmla="*/ 400969 w 904"/>
                <a:gd name="T9" fmla="*/ 67404 h 814"/>
                <a:gd name="T10" fmla="*/ 618736 w 904"/>
                <a:gd name="T11" fmla="*/ 0 h 814"/>
                <a:gd name="T12" fmla="*/ 696511 w 904"/>
                <a:gd name="T13" fmla="*/ 157277 h 814"/>
                <a:gd name="T14" fmla="*/ 1562396 w 904"/>
                <a:gd name="T15" fmla="*/ 298998 h 814"/>
                <a:gd name="T16" fmla="*/ 1494992 w 904"/>
                <a:gd name="T17" fmla="*/ 1126860 h 814"/>
                <a:gd name="T18" fmla="*/ 1361912 w 904"/>
                <a:gd name="T19" fmla="*/ 1406847 h 814"/>
                <a:gd name="T20" fmla="*/ 653303 w 904"/>
                <a:gd name="T21" fmla="*/ 1382651 h 8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04" h="814">
                  <a:moveTo>
                    <a:pt x="378" y="800"/>
                  </a:moveTo>
                  <a:lnTo>
                    <a:pt x="0" y="518"/>
                  </a:lnTo>
                  <a:lnTo>
                    <a:pt x="116" y="203"/>
                  </a:lnTo>
                  <a:lnTo>
                    <a:pt x="227" y="251"/>
                  </a:lnTo>
                  <a:lnTo>
                    <a:pt x="232" y="39"/>
                  </a:lnTo>
                  <a:lnTo>
                    <a:pt x="358" y="0"/>
                  </a:lnTo>
                  <a:lnTo>
                    <a:pt x="403" y="91"/>
                  </a:lnTo>
                  <a:lnTo>
                    <a:pt x="904" y="173"/>
                  </a:lnTo>
                  <a:lnTo>
                    <a:pt x="865" y="652"/>
                  </a:lnTo>
                  <a:lnTo>
                    <a:pt x="788" y="814"/>
                  </a:lnTo>
                  <a:lnTo>
                    <a:pt x="378" y="800"/>
                  </a:lnTo>
                  <a:close/>
                </a:path>
              </a:pathLst>
            </a:custGeom>
            <a:solidFill>
              <a:srgbClr val="FCB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7" name="îṡļîḍé"/>
            <p:cNvSpPr/>
            <p:nvPr/>
          </p:nvSpPr>
          <p:spPr bwMode="auto">
            <a:xfrm>
              <a:off x="5390068" y="1768998"/>
              <a:ext cx="371587" cy="402697"/>
            </a:xfrm>
            <a:custGeom>
              <a:avLst/>
              <a:gdLst>
                <a:gd name="T0" fmla="*/ 260975 w 215"/>
                <a:gd name="T1" fmla="*/ 0 h 233"/>
                <a:gd name="T2" fmla="*/ 260975 w 215"/>
                <a:gd name="T3" fmla="*/ 160733 h 233"/>
                <a:gd name="T4" fmla="*/ 27653 w 215"/>
                <a:gd name="T5" fmla="*/ 79502 h 233"/>
                <a:gd name="T6" fmla="*/ 0 w 215"/>
                <a:gd name="T7" fmla="*/ 321466 h 233"/>
                <a:gd name="T8" fmla="*/ 193571 w 215"/>
                <a:gd name="T9" fmla="*/ 402697 h 233"/>
                <a:gd name="T10" fmla="*/ 131352 w 215"/>
                <a:gd name="T11" fmla="*/ 200484 h 233"/>
                <a:gd name="T12" fmla="*/ 371587 w 215"/>
                <a:gd name="T13" fmla="*/ 247149 h 233"/>
                <a:gd name="T14" fmla="*/ 260975 w 215"/>
                <a:gd name="T15" fmla="*/ 0 h 2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 h="233">
                  <a:moveTo>
                    <a:pt x="151" y="0"/>
                  </a:moveTo>
                  <a:lnTo>
                    <a:pt x="151" y="93"/>
                  </a:lnTo>
                  <a:lnTo>
                    <a:pt x="16" y="46"/>
                  </a:lnTo>
                  <a:lnTo>
                    <a:pt x="0" y="186"/>
                  </a:lnTo>
                  <a:lnTo>
                    <a:pt x="112" y="233"/>
                  </a:lnTo>
                  <a:lnTo>
                    <a:pt x="76" y="116"/>
                  </a:lnTo>
                  <a:lnTo>
                    <a:pt x="215" y="143"/>
                  </a:lnTo>
                  <a:lnTo>
                    <a:pt x="151"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8" name="îśḻïḋé"/>
            <p:cNvSpPr/>
            <p:nvPr/>
          </p:nvSpPr>
          <p:spPr bwMode="auto">
            <a:xfrm>
              <a:off x="5761655" y="1383584"/>
              <a:ext cx="283444" cy="585898"/>
            </a:xfrm>
            <a:custGeom>
              <a:avLst/>
              <a:gdLst>
                <a:gd name="T0" fmla="*/ 120982 w 164"/>
                <a:gd name="T1" fmla="*/ 0 h 339"/>
                <a:gd name="T2" fmla="*/ 191843 w 164"/>
                <a:gd name="T3" fmla="*/ 475286 h 339"/>
                <a:gd name="T4" fmla="*/ 0 w 164"/>
                <a:gd name="T5" fmla="*/ 525407 h 339"/>
                <a:gd name="T6" fmla="*/ 19011 w 164"/>
                <a:gd name="T7" fmla="*/ 585898 h 339"/>
                <a:gd name="T8" fmla="*/ 283444 w 164"/>
                <a:gd name="T9" fmla="*/ 546147 h 339"/>
                <a:gd name="T10" fmla="*/ 207398 w 164"/>
                <a:gd name="T11" fmla="*/ 131352 h 339"/>
                <a:gd name="T12" fmla="*/ 120982 w 164"/>
                <a:gd name="T13" fmla="*/ 0 h 3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4" h="339">
                  <a:moveTo>
                    <a:pt x="70" y="0"/>
                  </a:moveTo>
                  <a:lnTo>
                    <a:pt x="111" y="275"/>
                  </a:lnTo>
                  <a:lnTo>
                    <a:pt x="0" y="304"/>
                  </a:lnTo>
                  <a:lnTo>
                    <a:pt x="11" y="339"/>
                  </a:lnTo>
                  <a:lnTo>
                    <a:pt x="164" y="316"/>
                  </a:lnTo>
                  <a:lnTo>
                    <a:pt x="120" y="76"/>
                  </a:lnTo>
                  <a:lnTo>
                    <a:pt x="7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69" name="ïŝ1îḍè"/>
            <p:cNvSpPr/>
            <p:nvPr/>
          </p:nvSpPr>
          <p:spPr bwMode="auto">
            <a:xfrm>
              <a:off x="5405624" y="1383584"/>
              <a:ext cx="172833" cy="276530"/>
            </a:xfrm>
            <a:custGeom>
              <a:avLst/>
              <a:gdLst>
                <a:gd name="T0" fmla="*/ 171105 w 100"/>
                <a:gd name="T1" fmla="*/ 0 h 160"/>
                <a:gd name="T2" fmla="*/ 0 w 100"/>
                <a:gd name="T3" fmla="*/ 72589 h 160"/>
                <a:gd name="T4" fmla="*/ 41480 w 100"/>
                <a:gd name="T5" fmla="*/ 217767 h 160"/>
                <a:gd name="T6" fmla="*/ 172833 w 100"/>
                <a:gd name="T7" fmla="*/ 276530 h 160"/>
                <a:gd name="T8" fmla="*/ 171105 w 100"/>
                <a:gd name="T9" fmla="*/ 0 h 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 h="160">
                  <a:moveTo>
                    <a:pt x="99" y="0"/>
                  </a:moveTo>
                  <a:lnTo>
                    <a:pt x="0" y="42"/>
                  </a:lnTo>
                  <a:lnTo>
                    <a:pt x="24" y="126"/>
                  </a:lnTo>
                  <a:lnTo>
                    <a:pt x="100" y="160"/>
                  </a:lnTo>
                  <a:lnTo>
                    <a:pt x="99"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0" name="išľiḋe"/>
            <p:cNvSpPr/>
            <p:nvPr/>
          </p:nvSpPr>
          <p:spPr bwMode="auto">
            <a:xfrm>
              <a:off x="5410808" y="1388769"/>
              <a:ext cx="152091" cy="255790"/>
            </a:xfrm>
            <a:custGeom>
              <a:avLst/>
              <a:gdLst>
                <a:gd name="T0" fmla="*/ 152091 w 88"/>
                <a:gd name="T1" fmla="*/ 0 h 148"/>
                <a:gd name="T2" fmla="*/ 0 w 88"/>
                <a:gd name="T3" fmla="*/ 53578 h 148"/>
                <a:gd name="T4" fmla="*/ 0 w 88"/>
                <a:gd name="T5" fmla="*/ 198756 h 148"/>
                <a:gd name="T6" fmla="*/ 133080 w 88"/>
                <a:gd name="T7" fmla="*/ 255790 h 148"/>
                <a:gd name="T8" fmla="*/ 152091 w 88"/>
                <a:gd name="T9" fmla="*/ 0 h 1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8" h="148">
                  <a:moveTo>
                    <a:pt x="88" y="0"/>
                  </a:moveTo>
                  <a:lnTo>
                    <a:pt x="0" y="31"/>
                  </a:lnTo>
                  <a:lnTo>
                    <a:pt x="0" y="115"/>
                  </a:lnTo>
                  <a:lnTo>
                    <a:pt x="77" y="148"/>
                  </a:lnTo>
                  <a:lnTo>
                    <a:pt x="88" y="0"/>
                  </a:lnTo>
                  <a:close/>
                </a:path>
              </a:pathLst>
            </a:custGeom>
            <a:solidFill>
              <a:srgbClr val="FCB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1" name="íślïḍè"/>
            <p:cNvSpPr/>
            <p:nvPr/>
          </p:nvSpPr>
          <p:spPr bwMode="auto">
            <a:xfrm>
              <a:off x="5766842" y="2589947"/>
              <a:ext cx="824406" cy="1999658"/>
            </a:xfrm>
            <a:custGeom>
              <a:avLst/>
              <a:gdLst>
                <a:gd name="T0" fmla="*/ 824406 w 477"/>
                <a:gd name="T1" fmla="*/ 1999658 h 1157"/>
                <a:gd name="T2" fmla="*/ 0 w 477"/>
                <a:gd name="T3" fmla="*/ 1999658 h 1157"/>
                <a:gd name="T4" fmla="*/ 48393 w 477"/>
                <a:gd name="T5" fmla="*/ 0 h 1157"/>
                <a:gd name="T6" fmla="*/ 781198 w 477"/>
                <a:gd name="T7" fmla="*/ 0 h 1157"/>
                <a:gd name="T8" fmla="*/ 824406 w 477"/>
                <a:gd name="T9" fmla="*/ 1999658 h 11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7" h="1157">
                  <a:moveTo>
                    <a:pt x="477" y="1157"/>
                  </a:moveTo>
                  <a:lnTo>
                    <a:pt x="0" y="1157"/>
                  </a:lnTo>
                  <a:lnTo>
                    <a:pt x="28" y="0"/>
                  </a:lnTo>
                  <a:lnTo>
                    <a:pt x="452" y="0"/>
                  </a:lnTo>
                  <a:lnTo>
                    <a:pt x="477" y="1157"/>
                  </a:lnTo>
                  <a:close/>
                </a:path>
              </a:pathLst>
            </a:custGeom>
            <a:solidFill>
              <a:srgbClr val="FCB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2" name="íṥľïďé"/>
            <p:cNvSpPr/>
            <p:nvPr/>
          </p:nvSpPr>
          <p:spPr bwMode="auto">
            <a:xfrm>
              <a:off x="5766842" y="2589947"/>
              <a:ext cx="563430" cy="1564123"/>
            </a:xfrm>
            <a:custGeom>
              <a:avLst/>
              <a:gdLst>
                <a:gd name="T0" fmla="*/ 48393 w 326"/>
                <a:gd name="T1" fmla="*/ 0 h 905"/>
                <a:gd name="T2" fmla="*/ 238507 w 326"/>
                <a:gd name="T3" fmla="*/ 122710 h 905"/>
                <a:gd name="T4" fmla="*/ 563430 w 326"/>
                <a:gd name="T5" fmla="*/ 122710 h 905"/>
                <a:gd name="T6" fmla="*/ 238507 w 326"/>
                <a:gd name="T7" fmla="*/ 335293 h 905"/>
                <a:gd name="T8" fmla="*/ 0 w 326"/>
                <a:gd name="T9" fmla="*/ 1564123 h 905"/>
                <a:gd name="T10" fmla="*/ 48393 w 326"/>
                <a:gd name="T11" fmla="*/ 0 h 90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 h="905">
                  <a:moveTo>
                    <a:pt x="28" y="0"/>
                  </a:moveTo>
                  <a:lnTo>
                    <a:pt x="138" y="71"/>
                  </a:lnTo>
                  <a:lnTo>
                    <a:pt x="326" y="71"/>
                  </a:lnTo>
                  <a:lnTo>
                    <a:pt x="138" y="194"/>
                  </a:lnTo>
                  <a:lnTo>
                    <a:pt x="0" y="905"/>
                  </a:lnTo>
                  <a:lnTo>
                    <a:pt x="28"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3" name="íṩļiḋe"/>
            <p:cNvSpPr/>
            <p:nvPr/>
          </p:nvSpPr>
          <p:spPr bwMode="auto">
            <a:xfrm>
              <a:off x="5186128" y="2121573"/>
              <a:ext cx="912549" cy="642932"/>
            </a:xfrm>
            <a:custGeom>
              <a:avLst/>
              <a:gdLst>
                <a:gd name="T0" fmla="*/ 0 w 528"/>
                <a:gd name="T1" fmla="*/ 0 h 372"/>
                <a:gd name="T2" fmla="*/ 912549 w 528"/>
                <a:gd name="T3" fmla="*/ 556516 h 372"/>
                <a:gd name="T4" fmla="*/ 807122 w 528"/>
                <a:gd name="T5" fmla="*/ 642932 h 372"/>
                <a:gd name="T6" fmla="*/ 627377 w 528"/>
                <a:gd name="T7" fmla="*/ 511580 h 372"/>
                <a:gd name="T8" fmla="*/ 0 w 528"/>
                <a:gd name="T9" fmla="*/ 0 h 3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8" h="372">
                  <a:moveTo>
                    <a:pt x="0" y="0"/>
                  </a:moveTo>
                  <a:lnTo>
                    <a:pt x="528" y="322"/>
                  </a:lnTo>
                  <a:lnTo>
                    <a:pt x="467" y="372"/>
                  </a:lnTo>
                  <a:lnTo>
                    <a:pt x="363" y="296"/>
                  </a:lnTo>
                  <a:lnTo>
                    <a:pt x="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4" name="iṩliḍê"/>
            <p:cNvSpPr/>
            <p:nvPr/>
          </p:nvSpPr>
          <p:spPr bwMode="auto">
            <a:xfrm>
              <a:off x="6031271" y="1926274"/>
              <a:ext cx="101971" cy="388870"/>
            </a:xfrm>
            <a:custGeom>
              <a:avLst/>
              <a:gdLst>
                <a:gd name="T0" fmla="*/ 0 w 59"/>
                <a:gd name="T1" fmla="*/ 0 h 225"/>
                <a:gd name="T2" fmla="*/ 86416 w 59"/>
                <a:gd name="T3" fmla="*/ 388870 h 225"/>
                <a:gd name="T4" fmla="*/ 101971 w 59"/>
                <a:gd name="T5" fmla="*/ 133080 h 225"/>
                <a:gd name="T6" fmla="*/ 0 w 59"/>
                <a:gd name="T7" fmla="*/ 0 h 2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9" h="225">
                  <a:moveTo>
                    <a:pt x="0" y="0"/>
                  </a:moveTo>
                  <a:lnTo>
                    <a:pt x="50" y="225"/>
                  </a:lnTo>
                  <a:lnTo>
                    <a:pt x="59" y="77"/>
                  </a:lnTo>
                  <a:lnTo>
                    <a:pt x="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5" name="îṩḻîḋè"/>
            <p:cNvSpPr/>
            <p:nvPr/>
          </p:nvSpPr>
          <p:spPr bwMode="auto">
            <a:xfrm>
              <a:off x="6031271" y="1857143"/>
              <a:ext cx="649846" cy="184930"/>
            </a:xfrm>
            <a:custGeom>
              <a:avLst/>
              <a:gdLst>
                <a:gd name="T0" fmla="*/ 0 w 376"/>
                <a:gd name="T1" fmla="*/ 0 h 107"/>
                <a:gd name="T2" fmla="*/ 649846 w 376"/>
                <a:gd name="T3" fmla="*/ 112341 h 107"/>
                <a:gd name="T4" fmla="*/ 649846 w 376"/>
                <a:gd name="T5" fmla="*/ 184930 h 107"/>
                <a:gd name="T6" fmla="*/ 13827 w 376"/>
                <a:gd name="T7" fmla="*/ 72589 h 107"/>
                <a:gd name="T8" fmla="*/ 0 w 376"/>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6" h="107">
                  <a:moveTo>
                    <a:pt x="0" y="0"/>
                  </a:moveTo>
                  <a:lnTo>
                    <a:pt x="376" y="65"/>
                  </a:lnTo>
                  <a:lnTo>
                    <a:pt x="376" y="107"/>
                  </a:lnTo>
                  <a:lnTo>
                    <a:pt x="8" y="42"/>
                  </a:lnTo>
                  <a:lnTo>
                    <a:pt x="0"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6" name="îṩlîde"/>
            <p:cNvSpPr/>
            <p:nvPr/>
          </p:nvSpPr>
          <p:spPr bwMode="auto">
            <a:xfrm>
              <a:off x="6297433" y="1461358"/>
              <a:ext cx="98514" cy="468374"/>
            </a:xfrm>
            <a:custGeom>
              <a:avLst/>
              <a:gdLst>
                <a:gd name="T0" fmla="*/ 60491 w 57"/>
                <a:gd name="T1" fmla="*/ 0 h 271"/>
                <a:gd name="T2" fmla="*/ 0 w 57"/>
                <a:gd name="T3" fmla="*/ 464917 h 271"/>
                <a:gd name="T4" fmla="*/ 60491 w 57"/>
                <a:gd name="T5" fmla="*/ 468374 h 271"/>
                <a:gd name="T6" fmla="*/ 98514 w 57"/>
                <a:gd name="T7" fmla="*/ 5185 h 271"/>
                <a:gd name="T8" fmla="*/ 60491 w 57"/>
                <a:gd name="T9" fmla="*/ 0 h 2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 h="271">
                  <a:moveTo>
                    <a:pt x="35" y="0"/>
                  </a:moveTo>
                  <a:lnTo>
                    <a:pt x="0" y="269"/>
                  </a:lnTo>
                  <a:lnTo>
                    <a:pt x="35" y="271"/>
                  </a:lnTo>
                  <a:lnTo>
                    <a:pt x="57" y="3"/>
                  </a:lnTo>
                  <a:lnTo>
                    <a:pt x="35"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7" name="íṧḷíḍé"/>
            <p:cNvSpPr/>
            <p:nvPr/>
          </p:nvSpPr>
          <p:spPr bwMode="auto">
            <a:xfrm>
              <a:off x="6347553" y="1784553"/>
              <a:ext cx="150363" cy="48393"/>
            </a:xfrm>
            <a:custGeom>
              <a:avLst/>
              <a:gdLst>
                <a:gd name="T0" fmla="*/ 10370 w 87"/>
                <a:gd name="T1" fmla="*/ 0 h 28"/>
                <a:gd name="T2" fmla="*/ 150363 w 87"/>
                <a:gd name="T3" fmla="*/ 0 h 28"/>
                <a:gd name="T4" fmla="*/ 0 w 87"/>
                <a:gd name="T5" fmla="*/ 48393 h 28"/>
                <a:gd name="T6" fmla="*/ 10370 w 87"/>
                <a:gd name="T7" fmla="*/ 0 h 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28">
                  <a:moveTo>
                    <a:pt x="6" y="0"/>
                  </a:moveTo>
                  <a:lnTo>
                    <a:pt x="87" y="0"/>
                  </a:lnTo>
                  <a:lnTo>
                    <a:pt x="0" y="28"/>
                  </a:lnTo>
                  <a:lnTo>
                    <a:pt x="6"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8" name="íšḷíḍe"/>
            <p:cNvSpPr/>
            <p:nvPr/>
          </p:nvSpPr>
          <p:spPr bwMode="auto">
            <a:xfrm>
              <a:off x="6548037" y="1525306"/>
              <a:ext cx="399241" cy="3064299"/>
            </a:xfrm>
            <a:custGeom>
              <a:avLst/>
              <a:gdLst>
                <a:gd name="T0" fmla="*/ 200485 w 231"/>
                <a:gd name="T1" fmla="*/ 0 h 1773"/>
                <a:gd name="T2" fmla="*/ 240236 w 231"/>
                <a:gd name="T3" fmla="*/ 152092 h 1773"/>
                <a:gd name="T4" fmla="*/ 273074 w 231"/>
                <a:gd name="T5" fmla="*/ 1239200 h 1773"/>
                <a:gd name="T6" fmla="*/ 399241 w 231"/>
                <a:gd name="T7" fmla="*/ 3064299 h 1773"/>
                <a:gd name="T8" fmla="*/ 43208 w 231"/>
                <a:gd name="T9" fmla="*/ 3064299 h 1773"/>
                <a:gd name="T10" fmla="*/ 0 w 231"/>
                <a:gd name="T11" fmla="*/ 1107849 h 1773"/>
                <a:gd name="T12" fmla="*/ 133080 w 231"/>
                <a:gd name="T13" fmla="*/ 827862 h 1773"/>
                <a:gd name="T14" fmla="*/ 200485 w 231"/>
                <a:gd name="T15" fmla="*/ 0 h 177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1" h="1773">
                  <a:moveTo>
                    <a:pt x="116" y="0"/>
                  </a:moveTo>
                  <a:lnTo>
                    <a:pt x="139" y="88"/>
                  </a:lnTo>
                  <a:lnTo>
                    <a:pt x="158" y="717"/>
                  </a:lnTo>
                  <a:lnTo>
                    <a:pt x="231" y="1773"/>
                  </a:lnTo>
                  <a:lnTo>
                    <a:pt x="25" y="1773"/>
                  </a:lnTo>
                  <a:lnTo>
                    <a:pt x="0" y="641"/>
                  </a:lnTo>
                  <a:lnTo>
                    <a:pt x="77" y="479"/>
                  </a:lnTo>
                  <a:lnTo>
                    <a:pt x="116" y="0"/>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79" name="ïsļídé"/>
            <p:cNvSpPr/>
            <p:nvPr/>
          </p:nvSpPr>
          <p:spPr bwMode="auto">
            <a:xfrm>
              <a:off x="5780666" y="1929732"/>
              <a:ext cx="900451" cy="319739"/>
            </a:xfrm>
            <a:custGeom>
              <a:avLst/>
              <a:gdLst>
                <a:gd name="T0" fmla="*/ 0 w 521"/>
                <a:gd name="T1" fmla="*/ 39751 h 185"/>
                <a:gd name="T2" fmla="*/ 264432 w 521"/>
                <a:gd name="T3" fmla="*/ 0 h 185"/>
                <a:gd name="T4" fmla="*/ 900451 w 521"/>
                <a:gd name="T5" fmla="*/ 112341 h 185"/>
                <a:gd name="T6" fmla="*/ 838232 w 521"/>
                <a:gd name="T7" fmla="*/ 319739 h 185"/>
                <a:gd name="T8" fmla="*/ 399240 w 521"/>
                <a:gd name="T9" fmla="*/ 81231 h 185"/>
                <a:gd name="T10" fmla="*/ 0 w 521"/>
                <a:gd name="T11" fmla="*/ 39751 h 18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1" h="185">
                  <a:moveTo>
                    <a:pt x="0" y="23"/>
                  </a:moveTo>
                  <a:lnTo>
                    <a:pt x="153" y="0"/>
                  </a:lnTo>
                  <a:lnTo>
                    <a:pt x="521" y="65"/>
                  </a:lnTo>
                  <a:lnTo>
                    <a:pt x="485" y="185"/>
                  </a:lnTo>
                  <a:lnTo>
                    <a:pt x="231" y="47"/>
                  </a:lnTo>
                  <a:lnTo>
                    <a:pt x="0" y="23"/>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0" name="ïṡḻíḍe"/>
            <p:cNvSpPr/>
            <p:nvPr/>
          </p:nvSpPr>
          <p:spPr bwMode="auto">
            <a:xfrm>
              <a:off x="5322664" y="1784553"/>
              <a:ext cx="357761" cy="305912"/>
            </a:xfrm>
            <a:custGeom>
              <a:avLst/>
              <a:gdLst>
                <a:gd name="T0" fmla="*/ 328380 w 207"/>
                <a:gd name="T1" fmla="*/ 48393 h 177"/>
                <a:gd name="T2" fmla="*/ 32838 w 207"/>
                <a:gd name="T3" fmla="*/ 0 h 177"/>
                <a:gd name="T4" fmla="*/ 0 w 207"/>
                <a:gd name="T5" fmla="*/ 276531 h 177"/>
                <a:gd name="T6" fmla="*/ 67404 w 207"/>
                <a:gd name="T7" fmla="*/ 305912 h 177"/>
                <a:gd name="T8" fmla="*/ 95057 w 207"/>
                <a:gd name="T9" fmla="*/ 63948 h 177"/>
                <a:gd name="T10" fmla="*/ 328380 w 207"/>
                <a:gd name="T11" fmla="*/ 145179 h 177"/>
                <a:gd name="T12" fmla="*/ 357761 w 207"/>
                <a:gd name="T13" fmla="*/ 48393 h 177"/>
                <a:gd name="T14" fmla="*/ 328380 w 207"/>
                <a:gd name="T15" fmla="*/ 48393 h 1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7" h="177">
                  <a:moveTo>
                    <a:pt x="190" y="28"/>
                  </a:moveTo>
                  <a:lnTo>
                    <a:pt x="19" y="0"/>
                  </a:lnTo>
                  <a:lnTo>
                    <a:pt x="0" y="160"/>
                  </a:lnTo>
                  <a:lnTo>
                    <a:pt x="39" y="177"/>
                  </a:lnTo>
                  <a:lnTo>
                    <a:pt x="55" y="37"/>
                  </a:lnTo>
                  <a:lnTo>
                    <a:pt x="190" y="84"/>
                  </a:lnTo>
                  <a:lnTo>
                    <a:pt x="207" y="28"/>
                  </a:lnTo>
                  <a:lnTo>
                    <a:pt x="190" y="28"/>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1" name="íṧlïḋè"/>
            <p:cNvSpPr/>
            <p:nvPr/>
          </p:nvSpPr>
          <p:spPr bwMode="auto">
            <a:xfrm>
              <a:off x="5322665" y="1784553"/>
              <a:ext cx="357761" cy="305912"/>
            </a:xfrm>
            <a:custGeom>
              <a:avLst/>
              <a:gdLst>
                <a:gd name="T0" fmla="*/ 328380 w 207"/>
                <a:gd name="T1" fmla="*/ 48393 h 177"/>
                <a:gd name="T2" fmla="*/ 32838 w 207"/>
                <a:gd name="T3" fmla="*/ 0 h 177"/>
                <a:gd name="T4" fmla="*/ 0 w 207"/>
                <a:gd name="T5" fmla="*/ 276531 h 177"/>
                <a:gd name="T6" fmla="*/ 67404 w 207"/>
                <a:gd name="T7" fmla="*/ 305912 h 177"/>
                <a:gd name="T8" fmla="*/ 95057 w 207"/>
                <a:gd name="T9" fmla="*/ 63948 h 177"/>
                <a:gd name="T10" fmla="*/ 328380 w 207"/>
                <a:gd name="T11" fmla="*/ 145179 h 177"/>
                <a:gd name="T12" fmla="*/ 357761 w 207"/>
                <a:gd name="T13" fmla="*/ 48393 h 17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7" h="177">
                  <a:moveTo>
                    <a:pt x="190" y="28"/>
                  </a:moveTo>
                  <a:lnTo>
                    <a:pt x="19" y="0"/>
                  </a:lnTo>
                  <a:lnTo>
                    <a:pt x="0" y="160"/>
                  </a:lnTo>
                  <a:lnTo>
                    <a:pt x="39" y="177"/>
                  </a:lnTo>
                  <a:lnTo>
                    <a:pt x="55" y="37"/>
                  </a:lnTo>
                  <a:lnTo>
                    <a:pt x="190" y="84"/>
                  </a:lnTo>
                  <a:lnTo>
                    <a:pt x="207"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2" name="íṧľíḓé"/>
            <p:cNvSpPr/>
            <p:nvPr/>
          </p:nvSpPr>
          <p:spPr bwMode="auto">
            <a:xfrm>
              <a:off x="5422907" y="1615178"/>
              <a:ext cx="184931" cy="233323"/>
            </a:xfrm>
            <a:custGeom>
              <a:avLst/>
              <a:gdLst>
                <a:gd name="T0" fmla="*/ 81231 w 107"/>
                <a:gd name="T1" fmla="*/ 15555 h 135"/>
                <a:gd name="T2" fmla="*/ 53578 w 107"/>
                <a:gd name="T3" fmla="*/ 174560 h 135"/>
                <a:gd name="T4" fmla="*/ 155549 w 107"/>
                <a:gd name="T5" fmla="*/ 198757 h 135"/>
                <a:gd name="T6" fmla="*/ 174561 w 107"/>
                <a:gd name="T7" fmla="*/ 79503 h 135"/>
                <a:gd name="T8" fmla="*/ 184931 w 107"/>
                <a:gd name="T9" fmla="*/ 222953 h 135"/>
                <a:gd name="T10" fmla="*/ 165919 w 107"/>
                <a:gd name="T11" fmla="*/ 233323 h 135"/>
                <a:gd name="T12" fmla="*/ 0 w 107"/>
                <a:gd name="T13" fmla="*/ 195300 h 135"/>
                <a:gd name="T14" fmla="*/ 50121 w 107"/>
                <a:gd name="T15" fmla="*/ 0 h 135"/>
                <a:gd name="T16" fmla="*/ 81231 w 107"/>
                <a:gd name="T17" fmla="*/ 15555 h 1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7" h="135">
                  <a:moveTo>
                    <a:pt x="47" y="9"/>
                  </a:moveTo>
                  <a:lnTo>
                    <a:pt x="31" y="101"/>
                  </a:lnTo>
                  <a:lnTo>
                    <a:pt x="90" y="115"/>
                  </a:lnTo>
                  <a:lnTo>
                    <a:pt x="101" y="46"/>
                  </a:lnTo>
                  <a:lnTo>
                    <a:pt x="107" y="129"/>
                  </a:lnTo>
                  <a:lnTo>
                    <a:pt x="96" y="135"/>
                  </a:lnTo>
                  <a:lnTo>
                    <a:pt x="0" y="113"/>
                  </a:lnTo>
                  <a:lnTo>
                    <a:pt x="29" y="0"/>
                  </a:lnTo>
                  <a:lnTo>
                    <a:pt x="47" y="9"/>
                  </a:lnTo>
                  <a:close/>
                </a:path>
              </a:pathLst>
            </a:custGeom>
            <a:solidFill>
              <a:srgbClr val="8D1922"/>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3" name="iṥ1îḓè"/>
            <p:cNvSpPr/>
            <p:nvPr/>
          </p:nvSpPr>
          <p:spPr bwMode="auto">
            <a:xfrm>
              <a:off x="5815233" y="2505260"/>
              <a:ext cx="793295" cy="279986"/>
            </a:xfrm>
            <a:custGeom>
              <a:avLst/>
              <a:gdLst>
                <a:gd name="T0" fmla="*/ 0 w 459"/>
                <a:gd name="T1" fmla="*/ 0 h 162"/>
                <a:gd name="T2" fmla="*/ 793295 w 459"/>
                <a:gd name="T3" fmla="*/ 0 h 162"/>
                <a:gd name="T4" fmla="*/ 732804 w 459"/>
                <a:gd name="T5" fmla="*/ 127895 h 162"/>
                <a:gd name="T6" fmla="*/ 739717 w 459"/>
                <a:gd name="T7" fmla="*/ 279986 h 162"/>
                <a:gd name="T8" fmla="*/ 229865 w 459"/>
                <a:gd name="T9" fmla="*/ 207397 h 162"/>
                <a:gd name="T10" fmla="*/ 267888 w 459"/>
                <a:gd name="T11" fmla="*/ 162461 h 162"/>
                <a:gd name="T12" fmla="*/ 0 w 459"/>
                <a:gd name="T13" fmla="*/ 0 h 16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9" h="162">
                  <a:moveTo>
                    <a:pt x="0" y="0"/>
                  </a:moveTo>
                  <a:lnTo>
                    <a:pt x="459" y="0"/>
                  </a:lnTo>
                  <a:lnTo>
                    <a:pt x="424" y="74"/>
                  </a:lnTo>
                  <a:lnTo>
                    <a:pt x="428" y="162"/>
                  </a:lnTo>
                  <a:lnTo>
                    <a:pt x="133" y="120"/>
                  </a:lnTo>
                  <a:lnTo>
                    <a:pt x="155" y="94"/>
                  </a:lnTo>
                  <a:lnTo>
                    <a:pt x="0"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4" name="isḻïďe"/>
            <p:cNvSpPr/>
            <p:nvPr/>
          </p:nvSpPr>
          <p:spPr bwMode="auto">
            <a:xfrm>
              <a:off x="6395946" y="2764506"/>
              <a:ext cx="195299" cy="1825097"/>
            </a:xfrm>
            <a:custGeom>
              <a:avLst/>
              <a:gdLst>
                <a:gd name="T0" fmla="*/ 0 w 113"/>
                <a:gd name="T1" fmla="*/ 0 h 1056"/>
                <a:gd name="T2" fmla="*/ 101970 w 113"/>
                <a:gd name="T3" fmla="*/ 1825097 h 1056"/>
                <a:gd name="T4" fmla="*/ 195299 w 113"/>
                <a:gd name="T5" fmla="*/ 1825097 h 1056"/>
                <a:gd name="T6" fmla="*/ 159004 w 113"/>
                <a:gd name="T7" fmla="*/ 20740 h 1056"/>
                <a:gd name="T8" fmla="*/ 0 w 113"/>
                <a:gd name="T9" fmla="*/ 0 h 10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1056">
                  <a:moveTo>
                    <a:pt x="0" y="0"/>
                  </a:moveTo>
                  <a:lnTo>
                    <a:pt x="59" y="1056"/>
                  </a:lnTo>
                  <a:lnTo>
                    <a:pt x="113" y="1056"/>
                  </a:lnTo>
                  <a:lnTo>
                    <a:pt x="92" y="12"/>
                  </a:lnTo>
                  <a:lnTo>
                    <a:pt x="0"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5" name="ïśľîḓé"/>
            <p:cNvSpPr/>
            <p:nvPr/>
          </p:nvSpPr>
          <p:spPr bwMode="auto">
            <a:xfrm>
              <a:off x="5804863" y="1226309"/>
              <a:ext cx="148635" cy="651574"/>
            </a:xfrm>
            <a:custGeom>
              <a:avLst/>
              <a:gdLst>
                <a:gd name="T0" fmla="*/ 77774 w 86"/>
                <a:gd name="T1" fmla="*/ 157276 h 377"/>
                <a:gd name="T2" fmla="*/ 0 w 86"/>
                <a:gd name="T3" fmla="*/ 0 h 377"/>
                <a:gd name="T4" fmla="*/ 77774 w 86"/>
                <a:gd name="T5" fmla="*/ 651574 h 377"/>
                <a:gd name="T6" fmla="*/ 148635 w 86"/>
                <a:gd name="T7" fmla="*/ 632563 h 377"/>
                <a:gd name="T8" fmla="*/ 77774 w 86"/>
                <a:gd name="T9" fmla="*/ 157276 h 3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6" h="377">
                  <a:moveTo>
                    <a:pt x="45" y="91"/>
                  </a:moveTo>
                  <a:lnTo>
                    <a:pt x="0" y="0"/>
                  </a:lnTo>
                  <a:lnTo>
                    <a:pt x="45" y="377"/>
                  </a:lnTo>
                  <a:lnTo>
                    <a:pt x="86" y="366"/>
                  </a:lnTo>
                  <a:lnTo>
                    <a:pt x="45" y="91"/>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6" name="íṧľïdé"/>
            <p:cNvSpPr/>
            <p:nvPr/>
          </p:nvSpPr>
          <p:spPr bwMode="auto">
            <a:xfrm>
              <a:off x="5492039" y="1388769"/>
              <a:ext cx="70861" cy="255790"/>
            </a:xfrm>
            <a:custGeom>
              <a:avLst/>
              <a:gdLst>
                <a:gd name="T0" fmla="*/ 70861 w 41"/>
                <a:gd name="T1" fmla="*/ 0 h 148"/>
                <a:gd name="T2" fmla="*/ 51850 w 41"/>
                <a:gd name="T3" fmla="*/ 255790 h 148"/>
                <a:gd name="T4" fmla="*/ 0 w 41"/>
                <a:gd name="T5" fmla="*/ 226409 h 148"/>
                <a:gd name="T6" fmla="*/ 36295 w 41"/>
                <a:gd name="T7" fmla="*/ 15555 h 148"/>
                <a:gd name="T8" fmla="*/ 70861 w 41"/>
                <a:gd name="T9" fmla="*/ 0 h 1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48">
                  <a:moveTo>
                    <a:pt x="41" y="0"/>
                  </a:moveTo>
                  <a:lnTo>
                    <a:pt x="30" y="148"/>
                  </a:lnTo>
                  <a:lnTo>
                    <a:pt x="0" y="131"/>
                  </a:lnTo>
                  <a:lnTo>
                    <a:pt x="21" y="9"/>
                  </a:lnTo>
                  <a:lnTo>
                    <a:pt x="41"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7" name="íśḷídé"/>
            <p:cNvSpPr/>
            <p:nvPr/>
          </p:nvSpPr>
          <p:spPr bwMode="auto">
            <a:xfrm>
              <a:off x="5410810" y="1566786"/>
              <a:ext cx="134809" cy="77775"/>
            </a:xfrm>
            <a:custGeom>
              <a:avLst/>
              <a:gdLst>
                <a:gd name="T0" fmla="*/ 134809 w 78"/>
                <a:gd name="T1" fmla="*/ 29382 h 45"/>
                <a:gd name="T2" fmla="*/ 0 w 78"/>
                <a:gd name="T3" fmla="*/ 0 h 45"/>
                <a:gd name="T4" fmla="*/ 0 w 78"/>
                <a:gd name="T5" fmla="*/ 20740 h 45"/>
                <a:gd name="T6" fmla="*/ 133081 w 78"/>
                <a:gd name="T7" fmla="*/ 77775 h 45"/>
                <a:gd name="T8" fmla="*/ 134809 w 78"/>
                <a:gd name="T9" fmla="*/ 29382 h 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 h="45">
                  <a:moveTo>
                    <a:pt x="78" y="17"/>
                  </a:moveTo>
                  <a:lnTo>
                    <a:pt x="0" y="0"/>
                  </a:lnTo>
                  <a:lnTo>
                    <a:pt x="0" y="12"/>
                  </a:lnTo>
                  <a:lnTo>
                    <a:pt x="77" y="45"/>
                  </a:lnTo>
                  <a:lnTo>
                    <a:pt x="78" y="17"/>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8" name="îṡľïḋé"/>
            <p:cNvSpPr/>
            <p:nvPr/>
          </p:nvSpPr>
          <p:spPr bwMode="auto">
            <a:xfrm>
              <a:off x="6017448" y="1456173"/>
              <a:ext cx="340478" cy="445904"/>
            </a:xfrm>
            <a:custGeom>
              <a:avLst/>
              <a:gdLst>
                <a:gd name="T0" fmla="*/ 0 w 197"/>
                <a:gd name="T1" fmla="*/ 328379 h 258"/>
                <a:gd name="T2" fmla="*/ 250606 w 197"/>
                <a:gd name="T3" fmla="*/ 376772 h 258"/>
                <a:gd name="T4" fmla="*/ 312825 w 197"/>
                <a:gd name="T5" fmla="*/ 0 h 258"/>
                <a:gd name="T6" fmla="*/ 340478 w 197"/>
                <a:gd name="T7" fmla="*/ 5185 h 258"/>
                <a:gd name="T8" fmla="*/ 283444 w 197"/>
                <a:gd name="T9" fmla="*/ 445904 h 258"/>
                <a:gd name="T10" fmla="*/ 13827 w 197"/>
                <a:gd name="T11" fmla="*/ 400968 h 258"/>
                <a:gd name="T12" fmla="*/ 0 w 197"/>
                <a:gd name="T13" fmla="*/ 328379 h 25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7" h="258">
                  <a:moveTo>
                    <a:pt x="0" y="190"/>
                  </a:moveTo>
                  <a:lnTo>
                    <a:pt x="145" y="218"/>
                  </a:lnTo>
                  <a:lnTo>
                    <a:pt x="181" y="0"/>
                  </a:lnTo>
                  <a:lnTo>
                    <a:pt x="197" y="3"/>
                  </a:lnTo>
                  <a:lnTo>
                    <a:pt x="164" y="258"/>
                  </a:lnTo>
                  <a:lnTo>
                    <a:pt x="8" y="232"/>
                  </a:lnTo>
                  <a:lnTo>
                    <a:pt x="0" y="19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89" name="î$ļíḍè"/>
            <p:cNvSpPr/>
            <p:nvPr/>
          </p:nvSpPr>
          <p:spPr bwMode="auto">
            <a:xfrm>
              <a:off x="5751287" y="1768997"/>
              <a:ext cx="202213" cy="157276"/>
            </a:xfrm>
            <a:custGeom>
              <a:avLst/>
              <a:gdLst>
                <a:gd name="T0" fmla="*/ 188386 w 117"/>
                <a:gd name="T1" fmla="*/ 0 h 91"/>
                <a:gd name="T2" fmla="*/ 0 w 117"/>
                <a:gd name="T3" fmla="*/ 127895 h 91"/>
                <a:gd name="T4" fmla="*/ 10370 w 117"/>
                <a:gd name="T5" fmla="*/ 157276 h 91"/>
                <a:gd name="T6" fmla="*/ 202213 w 117"/>
                <a:gd name="T7" fmla="*/ 89872 h 91"/>
                <a:gd name="T8" fmla="*/ 188386 w 117"/>
                <a:gd name="T9" fmla="*/ 0 h 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91">
                  <a:moveTo>
                    <a:pt x="109" y="0"/>
                  </a:moveTo>
                  <a:lnTo>
                    <a:pt x="0" y="74"/>
                  </a:lnTo>
                  <a:lnTo>
                    <a:pt x="6" y="91"/>
                  </a:lnTo>
                  <a:lnTo>
                    <a:pt x="117" y="52"/>
                  </a:lnTo>
                  <a:lnTo>
                    <a:pt x="109" y="0"/>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90" name="iṥḻidê"/>
            <p:cNvSpPr/>
            <p:nvPr/>
          </p:nvSpPr>
          <p:spPr bwMode="auto">
            <a:xfrm>
              <a:off x="6357907" y="1525311"/>
              <a:ext cx="390599" cy="461461"/>
            </a:xfrm>
            <a:custGeom>
              <a:avLst/>
              <a:gdLst>
                <a:gd name="T0" fmla="*/ 5185 w 226"/>
                <a:gd name="T1" fmla="*/ 331837 h 267"/>
                <a:gd name="T2" fmla="*/ 304183 w 226"/>
                <a:gd name="T3" fmla="*/ 400970 h 267"/>
                <a:gd name="T4" fmla="*/ 390599 w 226"/>
                <a:gd name="T5" fmla="*/ 0 h 267"/>
                <a:gd name="T6" fmla="*/ 352576 w 226"/>
                <a:gd name="T7" fmla="*/ 461461 h 267"/>
                <a:gd name="T8" fmla="*/ 0 w 226"/>
                <a:gd name="T9" fmla="*/ 404426 h 267"/>
                <a:gd name="T10" fmla="*/ 5185 w 226"/>
                <a:gd name="T11" fmla="*/ 331837 h 2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6" h="267">
                  <a:moveTo>
                    <a:pt x="3" y="192"/>
                  </a:moveTo>
                  <a:lnTo>
                    <a:pt x="176" y="232"/>
                  </a:lnTo>
                  <a:lnTo>
                    <a:pt x="226" y="0"/>
                  </a:lnTo>
                  <a:lnTo>
                    <a:pt x="204" y="267"/>
                  </a:lnTo>
                  <a:lnTo>
                    <a:pt x="0" y="234"/>
                  </a:lnTo>
                  <a:lnTo>
                    <a:pt x="3" y="192"/>
                  </a:lnTo>
                  <a:close/>
                </a:path>
              </a:pathLst>
            </a:custGeom>
            <a:solidFill>
              <a:srgbClr val="FC7315"/>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23591" name="iš1ïdê"/>
            <p:cNvSpPr/>
            <p:nvPr/>
          </p:nvSpPr>
          <p:spPr bwMode="auto">
            <a:xfrm>
              <a:off x="3766877" y="4790521"/>
              <a:ext cx="1133384" cy="841172"/>
            </a:xfrm>
            <a:custGeom>
              <a:avLst/>
              <a:gdLst>
                <a:gd name="T0" fmla="*/ 275190 w 799"/>
                <a:gd name="T1" fmla="*/ 215612 h 593"/>
                <a:gd name="T2" fmla="*/ 275190 w 799"/>
                <a:gd name="T3" fmla="*/ 439736 h 593"/>
                <a:gd name="T4" fmla="*/ 357463 w 799"/>
                <a:gd name="T5" fmla="*/ 414203 h 593"/>
                <a:gd name="T6" fmla="*/ 357463 w 799"/>
                <a:gd name="T7" fmla="*/ 487965 h 593"/>
                <a:gd name="T8" fmla="*/ 275190 w 799"/>
                <a:gd name="T9" fmla="*/ 516335 h 593"/>
                <a:gd name="T10" fmla="*/ 278027 w 799"/>
                <a:gd name="T11" fmla="*/ 841172 h 593"/>
                <a:gd name="T12" fmla="*/ 39718 w 799"/>
                <a:gd name="T13" fmla="*/ 841172 h 593"/>
                <a:gd name="T14" fmla="*/ 8511 w 799"/>
                <a:gd name="T15" fmla="*/ 781595 h 593"/>
                <a:gd name="T16" fmla="*/ 103551 w 799"/>
                <a:gd name="T17" fmla="*/ 781595 h 593"/>
                <a:gd name="T18" fmla="*/ 100714 w 799"/>
                <a:gd name="T19" fmla="*/ 558890 h 593"/>
                <a:gd name="T20" fmla="*/ 0 w 799"/>
                <a:gd name="T21" fmla="*/ 585842 h 593"/>
                <a:gd name="T22" fmla="*/ 0 w 799"/>
                <a:gd name="T23" fmla="*/ 510661 h 593"/>
                <a:gd name="T24" fmla="*/ 100714 w 799"/>
                <a:gd name="T25" fmla="*/ 479454 h 593"/>
                <a:gd name="T26" fmla="*/ 100714 w 799"/>
                <a:gd name="T27" fmla="*/ 215612 h 593"/>
                <a:gd name="T28" fmla="*/ 5674 w 799"/>
                <a:gd name="T29" fmla="*/ 215612 h 593"/>
                <a:gd name="T30" fmla="*/ 5674 w 799"/>
                <a:gd name="T31" fmla="*/ 143269 h 593"/>
                <a:gd name="T32" fmla="*/ 100714 w 799"/>
                <a:gd name="T33" fmla="*/ 143269 h 593"/>
                <a:gd name="T34" fmla="*/ 100714 w 799"/>
                <a:gd name="T35" fmla="*/ 0 h 593"/>
                <a:gd name="T36" fmla="*/ 275190 w 799"/>
                <a:gd name="T37" fmla="*/ 0 h 593"/>
                <a:gd name="T38" fmla="*/ 275190 w 799"/>
                <a:gd name="T39" fmla="*/ 143269 h 593"/>
                <a:gd name="T40" fmla="*/ 364555 w 799"/>
                <a:gd name="T41" fmla="*/ 143269 h 593"/>
                <a:gd name="T42" fmla="*/ 334767 w 799"/>
                <a:gd name="T43" fmla="*/ 215612 h 593"/>
                <a:gd name="T44" fmla="*/ 275190 w 799"/>
                <a:gd name="T45" fmla="*/ 215612 h 593"/>
                <a:gd name="T46" fmla="*/ 1095084 w 799"/>
                <a:gd name="T47" fmla="*/ 841172 h 593"/>
                <a:gd name="T48" fmla="*/ 808547 w 799"/>
                <a:gd name="T49" fmla="*/ 841172 h 593"/>
                <a:gd name="T50" fmla="*/ 808547 w 799"/>
                <a:gd name="T51" fmla="*/ 314908 h 593"/>
                <a:gd name="T52" fmla="*/ 651093 w 799"/>
                <a:gd name="T53" fmla="*/ 314908 h 593"/>
                <a:gd name="T54" fmla="*/ 651093 w 799"/>
                <a:gd name="T55" fmla="*/ 696485 h 593"/>
                <a:gd name="T56" fmla="*/ 558890 w 799"/>
                <a:gd name="T57" fmla="*/ 836916 h 593"/>
                <a:gd name="T58" fmla="*/ 364555 w 799"/>
                <a:gd name="T59" fmla="*/ 836916 h 593"/>
                <a:gd name="T60" fmla="*/ 472362 w 799"/>
                <a:gd name="T61" fmla="*/ 679463 h 593"/>
                <a:gd name="T62" fmla="*/ 472362 w 799"/>
                <a:gd name="T63" fmla="*/ 251075 h 593"/>
                <a:gd name="T64" fmla="*/ 985860 w 799"/>
                <a:gd name="T65" fmla="*/ 251075 h 593"/>
                <a:gd name="T66" fmla="*/ 985860 w 799"/>
                <a:gd name="T67" fmla="*/ 774502 h 593"/>
                <a:gd name="T68" fmla="*/ 1133384 w 799"/>
                <a:gd name="T69" fmla="*/ 774502 h 593"/>
                <a:gd name="T70" fmla="*/ 1095084 w 799"/>
                <a:gd name="T71" fmla="*/ 841172 h 593"/>
                <a:gd name="T72" fmla="*/ 626978 w 799"/>
                <a:gd name="T73" fmla="*/ 0 h 593"/>
                <a:gd name="T74" fmla="*/ 804291 w 799"/>
                <a:gd name="T75" fmla="*/ 0 h 593"/>
                <a:gd name="T76" fmla="*/ 824150 w 799"/>
                <a:gd name="T77" fmla="*/ 87947 h 593"/>
                <a:gd name="T78" fmla="*/ 1122036 w 799"/>
                <a:gd name="T79" fmla="*/ 87947 h 593"/>
                <a:gd name="T80" fmla="*/ 1085155 w 799"/>
                <a:gd name="T81" fmla="*/ 153198 h 593"/>
                <a:gd name="T82" fmla="*/ 373066 w 799"/>
                <a:gd name="T83" fmla="*/ 153198 h 593"/>
                <a:gd name="T84" fmla="*/ 373066 w 799"/>
                <a:gd name="T85" fmla="*/ 87947 h 593"/>
                <a:gd name="T86" fmla="*/ 646837 w 799"/>
                <a:gd name="T87" fmla="*/ 87947 h 593"/>
                <a:gd name="T88" fmla="*/ 626978 w 799"/>
                <a:gd name="T89" fmla="*/ 0 h 5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99" h="593">
                  <a:moveTo>
                    <a:pt x="194" y="152"/>
                  </a:moveTo>
                  <a:lnTo>
                    <a:pt x="194" y="310"/>
                  </a:lnTo>
                  <a:lnTo>
                    <a:pt x="252" y="292"/>
                  </a:lnTo>
                  <a:lnTo>
                    <a:pt x="252" y="344"/>
                  </a:lnTo>
                  <a:lnTo>
                    <a:pt x="194" y="364"/>
                  </a:lnTo>
                  <a:lnTo>
                    <a:pt x="196" y="593"/>
                  </a:lnTo>
                  <a:lnTo>
                    <a:pt x="28" y="593"/>
                  </a:lnTo>
                  <a:lnTo>
                    <a:pt x="6" y="551"/>
                  </a:lnTo>
                  <a:lnTo>
                    <a:pt x="73" y="551"/>
                  </a:lnTo>
                  <a:lnTo>
                    <a:pt x="71" y="394"/>
                  </a:lnTo>
                  <a:lnTo>
                    <a:pt x="0" y="413"/>
                  </a:lnTo>
                  <a:lnTo>
                    <a:pt x="0" y="360"/>
                  </a:lnTo>
                  <a:lnTo>
                    <a:pt x="71" y="338"/>
                  </a:lnTo>
                  <a:lnTo>
                    <a:pt x="71" y="152"/>
                  </a:lnTo>
                  <a:lnTo>
                    <a:pt x="4" y="152"/>
                  </a:lnTo>
                  <a:lnTo>
                    <a:pt x="4" y="101"/>
                  </a:lnTo>
                  <a:lnTo>
                    <a:pt x="71" y="101"/>
                  </a:lnTo>
                  <a:lnTo>
                    <a:pt x="71" y="0"/>
                  </a:lnTo>
                  <a:lnTo>
                    <a:pt x="194" y="0"/>
                  </a:lnTo>
                  <a:lnTo>
                    <a:pt x="194" y="101"/>
                  </a:lnTo>
                  <a:lnTo>
                    <a:pt x="257" y="101"/>
                  </a:lnTo>
                  <a:lnTo>
                    <a:pt x="236" y="152"/>
                  </a:lnTo>
                  <a:lnTo>
                    <a:pt x="194" y="152"/>
                  </a:lnTo>
                  <a:close/>
                  <a:moveTo>
                    <a:pt x="772" y="593"/>
                  </a:moveTo>
                  <a:lnTo>
                    <a:pt x="570" y="593"/>
                  </a:lnTo>
                  <a:lnTo>
                    <a:pt x="570" y="222"/>
                  </a:lnTo>
                  <a:lnTo>
                    <a:pt x="459" y="222"/>
                  </a:lnTo>
                  <a:lnTo>
                    <a:pt x="459" y="491"/>
                  </a:lnTo>
                  <a:lnTo>
                    <a:pt x="394" y="590"/>
                  </a:lnTo>
                  <a:lnTo>
                    <a:pt x="257" y="590"/>
                  </a:lnTo>
                  <a:lnTo>
                    <a:pt x="333" y="479"/>
                  </a:lnTo>
                  <a:lnTo>
                    <a:pt x="333" y="177"/>
                  </a:lnTo>
                  <a:lnTo>
                    <a:pt x="695" y="177"/>
                  </a:lnTo>
                  <a:lnTo>
                    <a:pt x="695" y="546"/>
                  </a:lnTo>
                  <a:lnTo>
                    <a:pt x="799" y="546"/>
                  </a:lnTo>
                  <a:lnTo>
                    <a:pt x="772" y="593"/>
                  </a:lnTo>
                  <a:close/>
                  <a:moveTo>
                    <a:pt x="442" y="0"/>
                  </a:moveTo>
                  <a:lnTo>
                    <a:pt x="567" y="0"/>
                  </a:lnTo>
                  <a:lnTo>
                    <a:pt x="581" y="62"/>
                  </a:lnTo>
                  <a:lnTo>
                    <a:pt x="791" y="62"/>
                  </a:lnTo>
                  <a:lnTo>
                    <a:pt x="765" y="108"/>
                  </a:lnTo>
                  <a:lnTo>
                    <a:pt x="263" y="108"/>
                  </a:lnTo>
                  <a:lnTo>
                    <a:pt x="263" y="62"/>
                  </a:lnTo>
                  <a:lnTo>
                    <a:pt x="456" y="62"/>
                  </a:lnTo>
                  <a:lnTo>
                    <a:pt x="442" y="0"/>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2" name="iṩļíḋè"/>
            <p:cNvSpPr/>
            <p:nvPr/>
          </p:nvSpPr>
          <p:spPr bwMode="auto">
            <a:xfrm>
              <a:off x="5007158" y="4806124"/>
              <a:ext cx="1140476" cy="811383"/>
            </a:xfrm>
            <a:custGeom>
              <a:avLst/>
              <a:gdLst>
                <a:gd name="T0" fmla="*/ 641163 w 804"/>
                <a:gd name="T1" fmla="*/ 79436 h 572"/>
                <a:gd name="T2" fmla="*/ 1100758 w 804"/>
                <a:gd name="T3" fmla="*/ 79436 h 572"/>
                <a:gd name="T4" fmla="*/ 1061040 w 804"/>
                <a:gd name="T5" fmla="*/ 137595 h 572"/>
                <a:gd name="T6" fmla="*/ 641163 w 804"/>
                <a:gd name="T7" fmla="*/ 137595 h 572"/>
                <a:gd name="T8" fmla="*/ 641163 w 804"/>
                <a:gd name="T9" fmla="*/ 358881 h 572"/>
                <a:gd name="T10" fmla="*/ 1140476 w 804"/>
                <a:gd name="T11" fmla="*/ 358881 h 572"/>
                <a:gd name="T12" fmla="*/ 1109269 w 804"/>
                <a:gd name="T13" fmla="*/ 418458 h 572"/>
                <a:gd name="T14" fmla="*/ 641163 w 804"/>
                <a:gd name="T15" fmla="*/ 418458 h 572"/>
                <a:gd name="T16" fmla="*/ 641163 w 804"/>
                <a:gd name="T17" fmla="*/ 754643 h 572"/>
                <a:gd name="T18" fmla="*/ 956071 w 804"/>
                <a:gd name="T19" fmla="*/ 754643 h 572"/>
                <a:gd name="T20" fmla="*/ 903586 w 804"/>
                <a:gd name="T21" fmla="*/ 811383 h 572"/>
                <a:gd name="T22" fmla="*/ 39718 w 804"/>
                <a:gd name="T23" fmla="*/ 811383 h 572"/>
                <a:gd name="T24" fmla="*/ 39718 w 804"/>
                <a:gd name="T25" fmla="*/ 499313 h 572"/>
                <a:gd name="T26" fmla="*/ 194335 w 804"/>
                <a:gd name="T27" fmla="*/ 499313 h 572"/>
                <a:gd name="T28" fmla="*/ 194335 w 804"/>
                <a:gd name="T29" fmla="*/ 754643 h 572"/>
                <a:gd name="T30" fmla="*/ 486546 w 804"/>
                <a:gd name="T31" fmla="*/ 754643 h 572"/>
                <a:gd name="T32" fmla="*/ 486546 w 804"/>
                <a:gd name="T33" fmla="*/ 418458 h 572"/>
                <a:gd name="T34" fmla="*/ 0 w 804"/>
                <a:gd name="T35" fmla="*/ 418458 h 572"/>
                <a:gd name="T36" fmla="*/ 0 w 804"/>
                <a:gd name="T37" fmla="*/ 358881 h 572"/>
                <a:gd name="T38" fmla="*/ 486546 w 804"/>
                <a:gd name="T39" fmla="*/ 358881 h 572"/>
                <a:gd name="T40" fmla="*/ 486546 w 804"/>
                <a:gd name="T41" fmla="*/ 137595 h 572"/>
                <a:gd name="T42" fmla="*/ 68088 w 804"/>
                <a:gd name="T43" fmla="*/ 137595 h 572"/>
                <a:gd name="T44" fmla="*/ 68088 w 804"/>
                <a:gd name="T45" fmla="*/ 79436 h 572"/>
                <a:gd name="T46" fmla="*/ 486546 w 804"/>
                <a:gd name="T47" fmla="*/ 79436 h 572"/>
                <a:gd name="T48" fmla="*/ 486546 w 804"/>
                <a:gd name="T49" fmla="*/ 0 h 572"/>
                <a:gd name="T50" fmla="*/ 641163 w 804"/>
                <a:gd name="T51" fmla="*/ 0 h 572"/>
                <a:gd name="T52" fmla="*/ 641163 w 804"/>
                <a:gd name="T53" fmla="*/ 79436 h 572"/>
                <a:gd name="T54" fmla="*/ 1110687 w 804"/>
                <a:gd name="T55" fmla="*/ 514916 h 572"/>
                <a:gd name="T56" fmla="*/ 1110687 w 804"/>
                <a:gd name="T57" fmla="*/ 811383 h 572"/>
                <a:gd name="T58" fmla="*/ 956071 w 804"/>
                <a:gd name="T59" fmla="*/ 811383 h 572"/>
                <a:gd name="T60" fmla="*/ 956071 w 804"/>
                <a:gd name="T61" fmla="*/ 514916 h 572"/>
                <a:gd name="T62" fmla="*/ 1110687 w 804"/>
                <a:gd name="T63" fmla="*/ 514916 h 5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4" h="572">
                  <a:moveTo>
                    <a:pt x="452" y="56"/>
                  </a:moveTo>
                  <a:lnTo>
                    <a:pt x="776" y="56"/>
                  </a:lnTo>
                  <a:lnTo>
                    <a:pt x="748" y="97"/>
                  </a:lnTo>
                  <a:lnTo>
                    <a:pt x="452" y="97"/>
                  </a:lnTo>
                  <a:lnTo>
                    <a:pt x="452" y="253"/>
                  </a:lnTo>
                  <a:lnTo>
                    <a:pt x="804" y="253"/>
                  </a:lnTo>
                  <a:lnTo>
                    <a:pt x="782" y="295"/>
                  </a:lnTo>
                  <a:lnTo>
                    <a:pt x="452" y="295"/>
                  </a:lnTo>
                  <a:lnTo>
                    <a:pt x="452" y="532"/>
                  </a:lnTo>
                  <a:lnTo>
                    <a:pt x="674" y="532"/>
                  </a:lnTo>
                  <a:lnTo>
                    <a:pt x="637" y="572"/>
                  </a:lnTo>
                  <a:lnTo>
                    <a:pt x="28" y="572"/>
                  </a:lnTo>
                  <a:lnTo>
                    <a:pt x="28" y="352"/>
                  </a:lnTo>
                  <a:lnTo>
                    <a:pt x="137" y="352"/>
                  </a:lnTo>
                  <a:lnTo>
                    <a:pt x="137" y="532"/>
                  </a:lnTo>
                  <a:lnTo>
                    <a:pt x="343" y="532"/>
                  </a:lnTo>
                  <a:lnTo>
                    <a:pt x="343" y="295"/>
                  </a:lnTo>
                  <a:lnTo>
                    <a:pt x="0" y="295"/>
                  </a:lnTo>
                  <a:lnTo>
                    <a:pt x="0" y="253"/>
                  </a:lnTo>
                  <a:lnTo>
                    <a:pt x="343" y="253"/>
                  </a:lnTo>
                  <a:lnTo>
                    <a:pt x="343" y="97"/>
                  </a:lnTo>
                  <a:lnTo>
                    <a:pt x="48" y="97"/>
                  </a:lnTo>
                  <a:lnTo>
                    <a:pt x="48" y="56"/>
                  </a:lnTo>
                  <a:lnTo>
                    <a:pt x="343" y="56"/>
                  </a:lnTo>
                  <a:lnTo>
                    <a:pt x="343" y="0"/>
                  </a:lnTo>
                  <a:lnTo>
                    <a:pt x="452" y="0"/>
                  </a:lnTo>
                  <a:lnTo>
                    <a:pt x="452" y="56"/>
                  </a:lnTo>
                  <a:close/>
                  <a:moveTo>
                    <a:pt x="783" y="363"/>
                  </a:moveTo>
                  <a:lnTo>
                    <a:pt x="783" y="572"/>
                  </a:lnTo>
                  <a:lnTo>
                    <a:pt x="674" y="572"/>
                  </a:lnTo>
                  <a:lnTo>
                    <a:pt x="674" y="363"/>
                  </a:lnTo>
                  <a:lnTo>
                    <a:pt x="783" y="363"/>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3" name="ïŝḻíḋè"/>
            <p:cNvSpPr/>
            <p:nvPr/>
          </p:nvSpPr>
          <p:spPr bwMode="auto">
            <a:xfrm>
              <a:off x="6259979" y="4794776"/>
              <a:ext cx="1130547" cy="834079"/>
            </a:xfrm>
            <a:custGeom>
              <a:avLst/>
              <a:gdLst>
                <a:gd name="T0" fmla="*/ 95040 w 797"/>
                <a:gd name="T1" fmla="*/ 272352 h 588"/>
                <a:gd name="T2" fmla="*/ 0 w 797"/>
                <a:gd name="T3" fmla="*/ 241145 h 588"/>
                <a:gd name="T4" fmla="*/ 0 w 797"/>
                <a:gd name="T5" fmla="*/ 170220 h 588"/>
                <a:gd name="T6" fmla="*/ 95040 w 797"/>
                <a:gd name="T7" fmla="*/ 197172 h 588"/>
                <a:gd name="T8" fmla="*/ 95040 w 797"/>
                <a:gd name="T9" fmla="*/ 68088 h 588"/>
                <a:gd name="T10" fmla="*/ 556053 w 797"/>
                <a:gd name="T11" fmla="*/ 68088 h 588"/>
                <a:gd name="T12" fmla="*/ 556053 w 797"/>
                <a:gd name="T13" fmla="*/ 0 h 588"/>
                <a:gd name="T14" fmla="*/ 706415 w 797"/>
                <a:gd name="T15" fmla="*/ 0 h 588"/>
                <a:gd name="T16" fmla="*/ 706415 w 797"/>
                <a:gd name="T17" fmla="*/ 68088 h 588"/>
                <a:gd name="T18" fmla="*/ 1130547 w 797"/>
                <a:gd name="T19" fmla="*/ 68088 h 588"/>
                <a:gd name="T20" fmla="*/ 1095084 w 797"/>
                <a:gd name="T21" fmla="*/ 126247 h 588"/>
                <a:gd name="T22" fmla="*/ 246820 w 797"/>
                <a:gd name="T23" fmla="*/ 126247 h 588"/>
                <a:gd name="T24" fmla="*/ 246820 w 797"/>
                <a:gd name="T25" fmla="*/ 604282 h 588"/>
                <a:gd name="T26" fmla="*/ 154617 w 797"/>
                <a:gd name="T27" fmla="*/ 832660 h 588"/>
                <a:gd name="T28" fmla="*/ 4256 w 797"/>
                <a:gd name="T29" fmla="*/ 832660 h 588"/>
                <a:gd name="T30" fmla="*/ 95040 w 797"/>
                <a:gd name="T31" fmla="*/ 604282 h 588"/>
                <a:gd name="T32" fmla="*/ 95040 w 797"/>
                <a:gd name="T33" fmla="*/ 530520 h 588"/>
                <a:gd name="T34" fmla="*/ 9930 w 797"/>
                <a:gd name="T35" fmla="*/ 563145 h 588"/>
                <a:gd name="T36" fmla="*/ 9930 w 797"/>
                <a:gd name="T37" fmla="*/ 486546 h 588"/>
                <a:gd name="T38" fmla="*/ 95040 w 797"/>
                <a:gd name="T39" fmla="*/ 448247 h 588"/>
                <a:gd name="T40" fmla="*/ 95040 w 797"/>
                <a:gd name="T41" fmla="*/ 272352 h 588"/>
                <a:gd name="T42" fmla="*/ 275190 w 797"/>
                <a:gd name="T43" fmla="*/ 834079 h 588"/>
                <a:gd name="T44" fmla="*/ 580168 w 797"/>
                <a:gd name="T45" fmla="*/ 669533 h 588"/>
                <a:gd name="T46" fmla="*/ 309234 w 797"/>
                <a:gd name="T47" fmla="*/ 514916 h 588"/>
                <a:gd name="T48" fmla="*/ 519172 w 797"/>
                <a:gd name="T49" fmla="*/ 514916 h 588"/>
                <a:gd name="T50" fmla="*/ 689393 w 797"/>
                <a:gd name="T51" fmla="*/ 614211 h 588"/>
                <a:gd name="T52" fmla="*/ 892238 w 797"/>
                <a:gd name="T53" fmla="*/ 503568 h 588"/>
                <a:gd name="T54" fmla="*/ 892238 w 797"/>
                <a:gd name="T55" fmla="*/ 487965 h 588"/>
                <a:gd name="T56" fmla="*/ 299304 w 797"/>
                <a:gd name="T57" fmla="*/ 487965 h 588"/>
                <a:gd name="T58" fmla="*/ 299304 w 797"/>
                <a:gd name="T59" fmla="*/ 429806 h 588"/>
                <a:gd name="T60" fmla="*/ 1045437 w 797"/>
                <a:gd name="T61" fmla="*/ 429806 h 588"/>
                <a:gd name="T62" fmla="*/ 1045437 w 797"/>
                <a:gd name="T63" fmla="*/ 546123 h 588"/>
                <a:gd name="T64" fmla="*/ 797199 w 797"/>
                <a:gd name="T65" fmla="*/ 676625 h 588"/>
                <a:gd name="T66" fmla="*/ 1073807 w 797"/>
                <a:gd name="T67" fmla="*/ 834079 h 588"/>
                <a:gd name="T68" fmla="*/ 865287 w 797"/>
                <a:gd name="T69" fmla="*/ 834079 h 588"/>
                <a:gd name="T70" fmla="*/ 689393 w 797"/>
                <a:gd name="T71" fmla="*/ 734784 h 588"/>
                <a:gd name="T72" fmla="*/ 500732 w 797"/>
                <a:gd name="T73" fmla="*/ 834079 h 588"/>
                <a:gd name="T74" fmla="*/ 275190 w 797"/>
                <a:gd name="T75" fmla="*/ 834079 h 588"/>
                <a:gd name="T76" fmla="*/ 309234 w 797"/>
                <a:gd name="T77" fmla="*/ 160291 h 588"/>
                <a:gd name="T78" fmla="*/ 859613 w 797"/>
                <a:gd name="T79" fmla="*/ 160291 h 588"/>
                <a:gd name="T80" fmla="*/ 825569 w 797"/>
                <a:gd name="T81" fmla="*/ 224123 h 588"/>
                <a:gd name="T82" fmla="*/ 461014 w 797"/>
                <a:gd name="T83" fmla="*/ 224123 h 588"/>
                <a:gd name="T84" fmla="*/ 461014 w 797"/>
                <a:gd name="T85" fmla="*/ 310652 h 588"/>
                <a:gd name="T86" fmla="*/ 439736 w 797"/>
                <a:gd name="T87" fmla="*/ 404273 h 588"/>
                <a:gd name="T88" fmla="*/ 286538 w 797"/>
                <a:gd name="T89" fmla="*/ 404273 h 588"/>
                <a:gd name="T90" fmla="*/ 309234 w 797"/>
                <a:gd name="T91" fmla="*/ 310652 h 588"/>
                <a:gd name="T92" fmla="*/ 309234 w 797"/>
                <a:gd name="T93" fmla="*/ 160291 h 588"/>
                <a:gd name="T94" fmla="*/ 1014230 w 797"/>
                <a:gd name="T95" fmla="*/ 160291 h 588"/>
                <a:gd name="T96" fmla="*/ 1014230 w 797"/>
                <a:gd name="T97" fmla="*/ 339022 h 588"/>
                <a:gd name="T98" fmla="*/ 1078062 w 797"/>
                <a:gd name="T99" fmla="*/ 339022 h 588"/>
                <a:gd name="T100" fmla="*/ 1045437 w 797"/>
                <a:gd name="T101" fmla="*/ 404273 h 588"/>
                <a:gd name="T102" fmla="*/ 859613 w 797"/>
                <a:gd name="T103" fmla="*/ 404273 h 588"/>
                <a:gd name="T104" fmla="*/ 859613 w 797"/>
                <a:gd name="T105" fmla="*/ 160291 h 588"/>
                <a:gd name="T106" fmla="*/ 1014230 w 797"/>
                <a:gd name="T107" fmla="*/ 160291 h 58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7" h="588">
                  <a:moveTo>
                    <a:pt x="67" y="192"/>
                  </a:moveTo>
                  <a:lnTo>
                    <a:pt x="0" y="170"/>
                  </a:lnTo>
                  <a:lnTo>
                    <a:pt x="0" y="120"/>
                  </a:lnTo>
                  <a:lnTo>
                    <a:pt x="67" y="139"/>
                  </a:lnTo>
                  <a:lnTo>
                    <a:pt x="67" y="48"/>
                  </a:lnTo>
                  <a:lnTo>
                    <a:pt x="392" y="48"/>
                  </a:lnTo>
                  <a:lnTo>
                    <a:pt x="392" y="0"/>
                  </a:lnTo>
                  <a:lnTo>
                    <a:pt x="498" y="0"/>
                  </a:lnTo>
                  <a:lnTo>
                    <a:pt x="498" y="48"/>
                  </a:lnTo>
                  <a:lnTo>
                    <a:pt x="797" y="48"/>
                  </a:lnTo>
                  <a:lnTo>
                    <a:pt x="772" y="89"/>
                  </a:lnTo>
                  <a:lnTo>
                    <a:pt x="174" y="89"/>
                  </a:lnTo>
                  <a:lnTo>
                    <a:pt x="174" y="426"/>
                  </a:lnTo>
                  <a:lnTo>
                    <a:pt x="109" y="587"/>
                  </a:lnTo>
                  <a:lnTo>
                    <a:pt x="3" y="587"/>
                  </a:lnTo>
                  <a:lnTo>
                    <a:pt x="67" y="426"/>
                  </a:lnTo>
                  <a:lnTo>
                    <a:pt x="67" y="374"/>
                  </a:lnTo>
                  <a:lnTo>
                    <a:pt x="7" y="397"/>
                  </a:lnTo>
                  <a:lnTo>
                    <a:pt x="7" y="343"/>
                  </a:lnTo>
                  <a:lnTo>
                    <a:pt x="67" y="316"/>
                  </a:lnTo>
                  <a:lnTo>
                    <a:pt x="67" y="192"/>
                  </a:lnTo>
                  <a:close/>
                  <a:moveTo>
                    <a:pt x="194" y="588"/>
                  </a:moveTo>
                  <a:lnTo>
                    <a:pt x="409" y="472"/>
                  </a:lnTo>
                  <a:lnTo>
                    <a:pt x="218" y="363"/>
                  </a:lnTo>
                  <a:lnTo>
                    <a:pt x="366" y="363"/>
                  </a:lnTo>
                  <a:lnTo>
                    <a:pt x="486" y="433"/>
                  </a:lnTo>
                  <a:lnTo>
                    <a:pt x="629" y="355"/>
                  </a:lnTo>
                  <a:lnTo>
                    <a:pt x="629" y="344"/>
                  </a:lnTo>
                  <a:lnTo>
                    <a:pt x="211" y="344"/>
                  </a:lnTo>
                  <a:lnTo>
                    <a:pt x="211" y="303"/>
                  </a:lnTo>
                  <a:lnTo>
                    <a:pt x="737" y="303"/>
                  </a:lnTo>
                  <a:lnTo>
                    <a:pt x="737" y="385"/>
                  </a:lnTo>
                  <a:lnTo>
                    <a:pt x="562" y="477"/>
                  </a:lnTo>
                  <a:lnTo>
                    <a:pt x="757" y="588"/>
                  </a:lnTo>
                  <a:lnTo>
                    <a:pt x="610" y="588"/>
                  </a:lnTo>
                  <a:lnTo>
                    <a:pt x="486" y="518"/>
                  </a:lnTo>
                  <a:lnTo>
                    <a:pt x="353" y="588"/>
                  </a:lnTo>
                  <a:lnTo>
                    <a:pt x="194" y="588"/>
                  </a:lnTo>
                  <a:close/>
                  <a:moveTo>
                    <a:pt x="218" y="113"/>
                  </a:moveTo>
                  <a:lnTo>
                    <a:pt x="606" y="113"/>
                  </a:lnTo>
                  <a:lnTo>
                    <a:pt x="582" y="158"/>
                  </a:lnTo>
                  <a:lnTo>
                    <a:pt x="325" y="158"/>
                  </a:lnTo>
                  <a:lnTo>
                    <a:pt x="325" y="219"/>
                  </a:lnTo>
                  <a:lnTo>
                    <a:pt x="310" y="285"/>
                  </a:lnTo>
                  <a:lnTo>
                    <a:pt x="202" y="285"/>
                  </a:lnTo>
                  <a:lnTo>
                    <a:pt x="218" y="219"/>
                  </a:lnTo>
                  <a:lnTo>
                    <a:pt x="218" y="113"/>
                  </a:lnTo>
                  <a:close/>
                  <a:moveTo>
                    <a:pt x="715" y="113"/>
                  </a:moveTo>
                  <a:lnTo>
                    <a:pt x="715" y="239"/>
                  </a:lnTo>
                  <a:lnTo>
                    <a:pt x="760" y="239"/>
                  </a:lnTo>
                  <a:lnTo>
                    <a:pt x="737" y="285"/>
                  </a:lnTo>
                  <a:lnTo>
                    <a:pt x="606" y="285"/>
                  </a:lnTo>
                  <a:lnTo>
                    <a:pt x="606" y="113"/>
                  </a:lnTo>
                  <a:lnTo>
                    <a:pt x="715" y="113"/>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4" name="ïš1îďé"/>
            <p:cNvSpPr/>
            <p:nvPr/>
          </p:nvSpPr>
          <p:spPr bwMode="auto">
            <a:xfrm>
              <a:off x="7456912" y="4791939"/>
              <a:ext cx="1123454" cy="839753"/>
            </a:xfrm>
            <a:custGeom>
              <a:avLst/>
              <a:gdLst>
                <a:gd name="T0" fmla="*/ 42555 w 792"/>
                <a:gd name="T1" fmla="*/ 184405 h 592"/>
                <a:gd name="T2" fmla="*/ 165965 w 792"/>
                <a:gd name="T3" fmla="*/ 184405 h 592"/>
                <a:gd name="T4" fmla="*/ 126247 w 792"/>
                <a:gd name="T5" fmla="*/ 580167 h 592"/>
                <a:gd name="T6" fmla="*/ 0 w 792"/>
                <a:gd name="T7" fmla="*/ 580167 h 592"/>
                <a:gd name="T8" fmla="*/ 42555 w 792"/>
                <a:gd name="T9" fmla="*/ 184405 h 592"/>
                <a:gd name="T10" fmla="*/ 329093 w 792"/>
                <a:gd name="T11" fmla="*/ 316326 h 592"/>
                <a:gd name="T12" fmla="*/ 415621 w 792"/>
                <a:gd name="T13" fmla="*/ 316326 h 592"/>
                <a:gd name="T14" fmla="*/ 390088 w 792"/>
                <a:gd name="T15" fmla="*/ 384414 h 592"/>
                <a:gd name="T16" fmla="*/ 329093 w 792"/>
                <a:gd name="T17" fmla="*/ 384414 h 592"/>
                <a:gd name="T18" fmla="*/ 329093 w 792"/>
                <a:gd name="T19" fmla="*/ 839753 h 592"/>
                <a:gd name="T20" fmla="*/ 180150 w 792"/>
                <a:gd name="T21" fmla="*/ 839753 h 592"/>
                <a:gd name="T22" fmla="*/ 180150 w 792"/>
                <a:gd name="T23" fmla="*/ 0 h 592"/>
                <a:gd name="T24" fmla="*/ 329093 w 792"/>
                <a:gd name="T25" fmla="*/ 0 h 592"/>
                <a:gd name="T26" fmla="*/ 329093 w 792"/>
                <a:gd name="T27" fmla="*/ 316326 h 592"/>
                <a:gd name="T28" fmla="*/ 700740 w 792"/>
                <a:gd name="T29" fmla="*/ 275189 h 592"/>
                <a:gd name="T30" fmla="*/ 700740 w 792"/>
                <a:gd name="T31" fmla="*/ 235471 h 592"/>
                <a:gd name="T32" fmla="*/ 466687 w 792"/>
                <a:gd name="T33" fmla="*/ 235471 h 592"/>
                <a:gd name="T34" fmla="*/ 466687 w 792"/>
                <a:gd name="T35" fmla="*/ 171639 h 592"/>
                <a:gd name="T36" fmla="*/ 700740 w 792"/>
                <a:gd name="T37" fmla="*/ 171639 h 592"/>
                <a:gd name="T38" fmla="*/ 700740 w 792"/>
                <a:gd name="T39" fmla="*/ 129084 h 592"/>
                <a:gd name="T40" fmla="*/ 446828 w 792"/>
                <a:gd name="T41" fmla="*/ 129084 h 592"/>
                <a:gd name="T42" fmla="*/ 446828 w 792"/>
                <a:gd name="T43" fmla="*/ 65251 h 592"/>
                <a:gd name="T44" fmla="*/ 700740 w 792"/>
                <a:gd name="T45" fmla="*/ 65251 h 592"/>
                <a:gd name="T46" fmla="*/ 700740 w 792"/>
                <a:gd name="T47" fmla="*/ 0 h 592"/>
                <a:gd name="T48" fmla="*/ 855357 w 792"/>
                <a:gd name="T49" fmla="*/ 0 h 592"/>
                <a:gd name="T50" fmla="*/ 855357 w 792"/>
                <a:gd name="T51" fmla="*/ 65251 h 592"/>
                <a:gd name="T52" fmla="*/ 1109269 w 792"/>
                <a:gd name="T53" fmla="*/ 65251 h 592"/>
                <a:gd name="T54" fmla="*/ 1075225 w 792"/>
                <a:gd name="T55" fmla="*/ 129084 h 592"/>
                <a:gd name="T56" fmla="*/ 855357 w 792"/>
                <a:gd name="T57" fmla="*/ 129084 h 592"/>
                <a:gd name="T58" fmla="*/ 855357 w 792"/>
                <a:gd name="T59" fmla="*/ 171639 h 592"/>
                <a:gd name="T60" fmla="*/ 1087991 w 792"/>
                <a:gd name="T61" fmla="*/ 168802 h 592"/>
                <a:gd name="T62" fmla="*/ 1052529 w 792"/>
                <a:gd name="T63" fmla="*/ 235471 h 592"/>
                <a:gd name="T64" fmla="*/ 855357 w 792"/>
                <a:gd name="T65" fmla="*/ 235471 h 592"/>
                <a:gd name="T66" fmla="*/ 855357 w 792"/>
                <a:gd name="T67" fmla="*/ 275189 h 592"/>
                <a:gd name="T68" fmla="*/ 1123454 w 792"/>
                <a:gd name="T69" fmla="*/ 275189 h 592"/>
                <a:gd name="T70" fmla="*/ 1087991 w 792"/>
                <a:gd name="T71" fmla="*/ 340440 h 592"/>
                <a:gd name="T72" fmla="*/ 434062 w 792"/>
                <a:gd name="T73" fmla="*/ 340440 h 592"/>
                <a:gd name="T74" fmla="*/ 434062 w 792"/>
                <a:gd name="T75" fmla="*/ 275189 h 592"/>
                <a:gd name="T76" fmla="*/ 700740 w 792"/>
                <a:gd name="T77" fmla="*/ 275189 h 592"/>
                <a:gd name="T78" fmla="*/ 919190 w 792"/>
                <a:gd name="T79" fmla="*/ 510661 h 592"/>
                <a:gd name="T80" fmla="*/ 919190 w 792"/>
                <a:gd name="T81" fmla="*/ 380158 h 592"/>
                <a:gd name="T82" fmla="*/ 1075225 w 792"/>
                <a:gd name="T83" fmla="*/ 380158 h 592"/>
                <a:gd name="T84" fmla="*/ 1075225 w 792"/>
                <a:gd name="T85" fmla="*/ 839753 h 592"/>
                <a:gd name="T86" fmla="*/ 844009 w 792"/>
                <a:gd name="T87" fmla="*/ 839753 h 592"/>
                <a:gd name="T88" fmla="*/ 809965 w 792"/>
                <a:gd name="T89" fmla="*/ 774502 h 592"/>
                <a:gd name="T90" fmla="*/ 919190 w 792"/>
                <a:gd name="T91" fmla="*/ 774502 h 592"/>
                <a:gd name="T92" fmla="*/ 919190 w 792"/>
                <a:gd name="T93" fmla="*/ 709251 h 592"/>
                <a:gd name="T94" fmla="*/ 634071 w 792"/>
                <a:gd name="T95" fmla="*/ 709251 h 592"/>
                <a:gd name="T96" fmla="*/ 634071 w 792"/>
                <a:gd name="T97" fmla="*/ 839753 h 592"/>
                <a:gd name="T98" fmla="*/ 479454 w 792"/>
                <a:gd name="T99" fmla="*/ 839753 h 592"/>
                <a:gd name="T100" fmla="*/ 479454 w 792"/>
                <a:gd name="T101" fmla="*/ 380158 h 592"/>
                <a:gd name="T102" fmla="*/ 919190 w 792"/>
                <a:gd name="T103" fmla="*/ 380158 h 592"/>
                <a:gd name="T104" fmla="*/ 885146 w 792"/>
                <a:gd name="T105" fmla="*/ 443991 h 592"/>
                <a:gd name="T106" fmla="*/ 634071 w 792"/>
                <a:gd name="T107" fmla="*/ 443991 h 592"/>
                <a:gd name="T108" fmla="*/ 634071 w 792"/>
                <a:gd name="T109" fmla="*/ 510661 h 592"/>
                <a:gd name="T110" fmla="*/ 919190 w 792"/>
                <a:gd name="T111" fmla="*/ 510661 h 592"/>
                <a:gd name="T112" fmla="*/ 919190 w 792"/>
                <a:gd name="T113" fmla="*/ 644000 h 592"/>
                <a:gd name="T114" fmla="*/ 919190 w 792"/>
                <a:gd name="T115" fmla="*/ 575912 h 592"/>
                <a:gd name="T116" fmla="*/ 634071 w 792"/>
                <a:gd name="T117" fmla="*/ 575912 h 592"/>
                <a:gd name="T118" fmla="*/ 634071 w 792"/>
                <a:gd name="T119" fmla="*/ 644000 h 592"/>
                <a:gd name="T120" fmla="*/ 919190 w 792"/>
                <a:gd name="T121" fmla="*/ 644000 h 5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92" h="592">
                  <a:moveTo>
                    <a:pt x="30" y="130"/>
                  </a:moveTo>
                  <a:lnTo>
                    <a:pt x="117" y="130"/>
                  </a:lnTo>
                  <a:lnTo>
                    <a:pt x="89" y="409"/>
                  </a:lnTo>
                  <a:lnTo>
                    <a:pt x="0" y="409"/>
                  </a:lnTo>
                  <a:lnTo>
                    <a:pt x="30" y="130"/>
                  </a:lnTo>
                  <a:close/>
                  <a:moveTo>
                    <a:pt x="232" y="223"/>
                  </a:moveTo>
                  <a:lnTo>
                    <a:pt x="293" y="223"/>
                  </a:lnTo>
                  <a:lnTo>
                    <a:pt x="275" y="271"/>
                  </a:lnTo>
                  <a:lnTo>
                    <a:pt x="232" y="271"/>
                  </a:lnTo>
                  <a:lnTo>
                    <a:pt x="232" y="592"/>
                  </a:lnTo>
                  <a:lnTo>
                    <a:pt x="127" y="592"/>
                  </a:lnTo>
                  <a:lnTo>
                    <a:pt x="127" y="0"/>
                  </a:lnTo>
                  <a:lnTo>
                    <a:pt x="232" y="0"/>
                  </a:lnTo>
                  <a:lnTo>
                    <a:pt x="232" y="223"/>
                  </a:lnTo>
                  <a:close/>
                  <a:moveTo>
                    <a:pt x="494" y="194"/>
                  </a:moveTo>
                  <a:lnTo>
                    <a:pt x="494" y="166"/>
                  </a:lnTo>
                  <a:lnTo>
                    <a:pt x="329" y="166"/>
                  </a:lnTo>
                  <a:lnTo>
                    <a:pt x="329" y="121"/>
                  </a:lnTo>
                  <a:lnTo>
                    <a:pt x="494" y="121"/>
                  </a:lnTo>
                  <a:lnTo>
                    <a:pt x="494" y="91"/>
                  </a:lnTo>
                  <a:lnTo>
                    <a:pt x="315" y="91"/>
                  </a:lnTo>
                  <a:lnTo>
                    <a:pt x="315" y="46"/>
                  </a:lnTo>
                  <a:lnTo>
                    <a:pt x="494" y="46"/>
                  </a:lnTo>
                  <a:lnTo>
                    <a:pt x="494" y="0"/>
                  </a:lnTo>
                  <a:lnTo>
                    <a:pt x="603" y="0"/>
                  </a:lnTo>
                  <a:lnTo>
                    <a:pt x="603" y="46"/>
                  </a:lnTo>
                  <a:lnTo>
                    <a:pt x="782" y="46"/>
                  </a:lnTo>
                  <a:lnTo>
                    <a:pt x="758" y="91"/>
                  </a:lnTo>
                  <a:lnTo>
                    <a:pt x="603" y="91"/>
                  </a:lnTo>
                  <a:lnTo>
                    <a:pt x="603" y="121"/>
                  </a:lnTo>
                  <a:lnTo>
                    <a:pt x="767" y="119"/>
                  </a:lnTo>
                  <a:lnTo>
                    <a:pt x="742" y="166"/>
                  </a:lnTo>
                  <a:lnTo>
                    <a:pt x="603" y="166"/>
                  </a:lnTo>
                  <a:lnTo>
                    <a:pt x="603" y="194"/>
                  </a:lnTo>
                  <a:lnTo>
                    <a:pt x="792" y="194"/>
                  </a:lnTo>
                  <a:lnTo>
                    <a:pt x="767" y="240"/>
                  </a:lnTo>
                  <a:lnTo>
                    <a:pt x="306" y="240"/>
                  </a:lnTo>
                  <a:lnTo>
                    <a:pt x="306" y="194"/>
                  </a:lnTo>
                  <a:lnTo>
                    <a:pt x="494" y="194"/>
                  </a:lnTo>
                  <a:close/>
                  <a:moveTo>
                    <a:pt x="648" y="360"/>
                  </a:moveTo>
                  <a:lnTo>
                    <a:pt x="648" y="268"/>
                  </a:lnTo>
                  <a:lnTo>
                    <a:pt x="758" y="268"/>
                  </a:lnTo>
                  <a:lnTo>
                    <a:pt x="758" y="592"/>
                  </a:lnTo>
                  <a:lnTo>
                    <a:pt x="595" y="592"/>
                  </a:lnTo>
                  <a:lnTo>
                    <a:pt x="571" y="546"/>
                  </a:lnTo>
                  <a:lnTo>
                    <a:pt x="648" y="546"/>
                  </a:lnTo>
                  <a:lnTo>
                    <a:pt x="648" y="500"/>
                  </a:lnTo>
                  <a:lnTo>
                    <a:pt x="447" y="500"/>
                  </a:lnTo>
                  <a:lnTo>
                    <a:pt x="447" y="592"/>
                  </a:lnTo>
                  <a:lnTo>
                    <a:pt x="338" y="592"/>
                  </a:lnTo>
                  <a:lnTo>
                    <a:pt x="338" y="268"/>
                  </a:lnTo>
                  <a:lnTo>
                    <a:pt x="648" y="268"/>
                  </a:lnTo>
                  <a:lnTo>
                    <a:pt x="624" y="313"/>
                  </a:lnTo>
                  <a:lnTo>
                    <a:pt x="447" y="313"/>
                  </a:lnTo>
                  <a:lnTo>
                    <a:pt x="447" y="360"/>
                  </a:lnTo>
                  <a:lnTo>
                    <a:pt x="648" y="360"/>
                  </a:lnTo>
                  <a:close/>
                  <a:moveTo>
                    <a:pt x="648" y="454"/>
                  </a:moveTo>
                  <a:lnTo>
                    <a:pt x="648" y="406"/>
                  </a:lnTo>
                  <a:lnTo>
                    <a:pt x="447" y="406"/>
                  </a:lnTo>
                  <a:lnTo>
                    <a:pt x="447" y="454"/>
                  </a:lnTo>
                  <a:lnTo>
                    <a:pt x="648" y="454"/>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5" name="ïšľiḓè"/>
            <p:cNvSpPr/>
            <p:nvPr/>
          </p:nvSpPr>
          <p:spPr bwMode="auto">
            <a:xfrm>
              <a:off x="3766876" y="4790521"/>
              <a:ext cx="1133384" cy="841172"/>
            </a:xfrm>
            <a:custGeom>
              <a:avLst/>
              <a:gdLst>
                <a:gd name="T0" fmla="*/ 275190 w 799"/>
                <a:gd name="T1" fmla="*/ 215612 h 593"/>
                <a:gd name="T2" fmla="*/ 275190 w 799"/>
                <a:gd name="T3" fmla="*/ 439736 h 593"/>
                <a:gd name="T4" fmla="*/ 357463 w 799"/>
                <a:gd name="T5" fmla="*/ 414203 h 593"/>
                <a:gd name="T6" fmla="*/ 357463 w 799"/>
                <a:gd name="T7" fmla="*/ 487965 h 593"/>
                <a:gd name="T8" fmla="*/ 275190 w 799"/>
                <a:gd name="T9" fmla="*/ 516335 h 593"/>
                <a:gd name="T10" fmla="*/ 278027 w 799"/>
                <a:gd name="T11" fmla="*/ 841172 h 593"/>
                <a:gd name="T12" fmla="*/ 39718 w 799"/>
                <a:gd name="T13" fmla="*/ 841172 h 593"/>
                <a:gd name="T14" fmla="*/ 8511 w 799"/>
                <a:gd name="T15" fmla="*/ 781595 h 593"/>
                <a:gd name="T16" fmla="*/ 103551 w 799"/>
                <a:gd name="T17" fmla="*/ 781595 h 593"/>
                <a:gd name="T18" fmla="*/ 100714 w 799"/>
                <a:gd name="T19" fmla="*/ 558890 h 593"/>
                <a:gd name="T20" fmla="*/ 0 w 799"/>
                <a:gd name="T21" fmla="*/ 585842 h 593"/>
                <a:gd name="T22" fmla="*/ 0 w 799"/>
                <a:gd name="T23" fmla="*/ 510661 h 593"/>
                <a:gd name="T24" fmla="*/ 100714 w 799"/>
                <a:gd name="T25" fmla="*/ 479454 h 593"/>
                <a:gd name="T26" fmla="*/ 100714 w 799"/>
                <a:gd name="T27" fmla="*/ 215612 h 593"/>
                <a:gd name="T28" fmla="*/ 5674 w 799"/>
                <a:gd name="T29" fmla="*/ 215612 h 593"/>
                <a:gd name="T30" fmla="*/ 5674 w 799"/>
                <a:gd name="T31" fmla="*/ 143269 h 593"/>
                <a:gd name="T32" fmla="*/ 100714 w 799"/>
                <a:gd name="T33" fmla="*/ 143269 h 593"/>
                <a:gd name="T34" fmla="*/ 100714 w 799"/>
                <a:gd name="T35" fmla="*/ 0 h 593"/>
                <a:gd name="T36" fmla="*/ 275190 w 799"/>
                <a:gd name="T37" fmla="*/ 0 h 593"/>
                <a:gd name="T38" fmla="*/ 275190 w 799"/>
                <a:gd name="T39" fmla="*/ 143269 h 593"/>
                <a:gd name="T40" fmla="*/ 364555 w 799"/>
                <a:gd name="T41" fmla="*/ 143269 h 593"/>
                <a:gd name="T42" fmla="*/ 334767 w 799"/>
                <a:gd name="T43" fmla="*/ 215612 h 593"/>
                <a:gd name="T44" fmla="*/ 275190 w 799"/>
                <a:gd name="T45" fmla="*/ 215612 h 593"/>
                <a:gd name="T46" fmla="*/ 1095084 w 799"/>
                <a:gd name="T47" fmla="*/ 841172 h 593"/>
                <a:gd name="T48" fmla="*/ 808547 w 799"/>
                <a:gd name="T49" fmla="*/ 841172 h 593"/>
                <a:gd name="T50" fmla="*/ 808547 w 799"/>
                <a:gd name="T51" fmla="*/ 314908 h 593"/>
                <a:gd name="T52" fmla="*/ 651093 w 799"/>
                <a:gd name="T53" fmla="*/ 314908 h 593"/>
                <a:gd name="T54" fmla="*/ 651093 w 799"/>
                <a:gd name="T55" fmla="*/ 696485 h 593"/>
                <a:gd name="T56" fmla="*/ 558890 w 799"/>
                <a:gd name="T57" fmla="*/ 836916 h 593"/>
                <a:gd name="T58" fmla="*/ 364555 w 799"/>
                <a:gd name="T59" fmla="*/ 836916 h 593"/>
                <a:gd name="T60" fmla="*/ 472362 w 799"/>
                <a:gd name="T61" fmla="*/ 679463 h 593"/>
                <a:gd name="T62" fmla="*/ 472362 w 799"/>
                <a:gd name="T63" fmla="*/ 251075 h 593"/>
                <a:gd name="T64" fmla="*/ 985860 w 799"/>
                <a:gd name="T65" fmla="*/ 251075 h 593"/>
                <a:gd name="T66" fmla="*/ 985860 w 799"/>
                <a:gd name="T67" fmla="*/ 774502 h 593"/>
                <a:gd name="T68" fmla="*/ 1133384 w 799"/>
                <a:gd name="T69" fmla="*/ 774502 h 593"/>
                <a:gd name="T70" fmla="*/ 1095084 w 799"/>
                <a:gd name="T71" fmla="*/ 841172 h 593"/>
                <a:gd name="T72" fmla="*/ 626978 w 799"/>
                <a:gd name="T73" fmla="*/ 0 h 593"/>
                <a:gd name="T74" fmla="*/ 804291 w 799"/>
                <a:gd name="T75" fmla="*/ 0 h 593"/>
                <a:gd name="T76" fmla="*/ 824150 w 799"/>
                <a:gd name="T77" fmla="*/ 87947 h 593"/>
                <a:gd name="T78" fmla="*/ 1122036 w 799"/>
                <a:gd name="T79" fmla="*/ 87947 h 593"/>
                <a:gd name="T80" fmla="*/ 1085155 w 799"/>
                <a:gd name="T81" fmla="*/ 153198 h 593"/>
                <a:gd name="T82" fmla="*/ 373066 w 799"/>
                <a:gd name="T83" fmla="*/ 153198 h 593"/>
                <a:gd name="T84" fmla="*/ 373066 w 799"/>
                <a:gd name="T85" fmla="*/ 87947 h 593"/>
                <a:gd name="T86" fmla="*/ 646837 w 799"/>
                <a:gd name="T87" fmla="*/ 87947 h 593"/>
                <a:gd name="T88" fmla="*/ 626978 w 799"/>
                <a:gd name="T89" fmla="*/ 0 h 5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99" h="593">
                  <a:moveTo>
                    <a:pt x="194" y="152"/>
                  </a:moveTo>
                  <a:lnTo>
                    <a:pt x="194" y="310"/>
                  </a:lnTo>
                  <a:lnTo>
                    <a:pt x="252" y="292"/>
                  </a:lnTo>
                  <a:lnTo>
                    <a:pt x="252" y="344"/>
                  </a:lnTo>
                  <a:lnTo>
                    <a:pt x="194" y="364"/>
                  </a:lnTo>
                  <a:lnTo>
                    <a:pt x="196" y="593"/>
                  </a:lnTo>
                  <a:lnTo>
                    <a:pt x="28" y="593"/>
                  </a:lnTo>
                  <a:lnTo>
                    <a:pt x="6" y="551"/>
                  </a:lnTo>
                  <a:lnTo>
                    <a:pt x="73" y="551"/>
                  </a:lnTo>
                  <a:lnTo>
                    <a:pt x="71" y="394"/>
                  </a:lnTo>
                  <a:lnTo>
                    <a:pt x="0" y="413"/>
                  </a:lnTo>
                  <a:lnTo>
                    <a:pt x="0" y="360"/>
                  </a:lnTo>
                  <a:lnTo>
                    <a:pt x="71" y="338"/>
                  </a:lnTo>
                  <a:lnTo>
                    <a:pt x="71" y="152"/>
                  </a:lnTo>
                  <a:lnTo>
                    <a:pt x="4" y="152"/>
                  </a:lnTo>
                  <a:lnTo>
                    <a:pt x="4" y="101"/>
                  </a:lnTo>
                  <a:lnTo>
                    <a:pt x="71" y="101"/>
                  </a:lnTo>
                  <a:lnTo>
                    <a:pt x="71" y="0"/>
                  </a:lnTo>
                  <a:lnTo>
                    <a:pt x="194" y="0"/>
                  </a:lnTo>
                  <a:lnTo>
                    <a:pt x="194" y="101"/>
                  </a:lnTo>
                  <a:lnTo>
                    <a:pt x="257" y="101"/>
                  </a:lnTo>
                  <a:lnTo>
                    <a:pt x="236" y="152"/>
                  </a:lnTo>
                  <a:lnTo>
                    <a:pt x="194" y="152"/>
                  </a:lnTo>
                  <a:close/>
                  <a:moveTo>
                    <a:pt x="772" y="593"/>
                  </a:moveTo>
                  <a:lnTo>
                    <a:pt x="570" y="593"/>
                  </a:lnTo>
                  <a:lnTo>
                    <a:pt x="570" y="222"/>
                  </a:lnTo>
                  <a:lnTo>
                    <a:pt x="459" y="222"/>
                  </a:lnTo>
                  <a:lnTo>
                    <a:pt x="459" y="491"/>
                  </a:lnTo>
                  <a:lnTo>
                    <a:pt x="394" y="590"/>
                  </a:lnTo>
                  <a:lnTo>
                    <a:pt x="257" y="590"/>
                  </a:lnTo>
                  <a:lnTo>
                    <a:pt x="333" y="479"/>
                  </a:lnTo>
                  <a:lnTo>
                    <a:pt x="333" y="177"/>
                  </a:lnTo>
                  <a:lnTo>
                    <a:pt x="695" y="177"/>
                  </a:lnTo>
                  <a:lnTo>
                    <a:pt x="695" y="546"/>
                  </a:lnTo>
                  <a:lnTo>
                    <a:pt x="799" y="546"/>
                  </a:lnTo>
                  <a:lnTo>
                    <a:pt x="772" y="593"/>
                  </a:lnTo>
                  <a:close/>
                  <a:moveTo>
                    <a:pt x="442" y="0"/>
                  </a:moveTo>
                  <a:lnTo>
                    <a:pt x="567" y="0"/>
                  </a:lnTo>
                  <a:lnTo>
                    <a:pt x="581" y="62"/>
                  </a:lnTo>
                  <a:lnTo>
                    <a:pt x="791" y="62"/>
                  </a:lnTo>
                  <a:lnTo>
                    <a:pt x="765" y="108"/>
                  </a:lnTo>
                  <a:lnTo>
                    <a:pt x="263" y="108"/>
                  </a:lnTo>
                  <a:lnTo>
                    <a:pt x="263" y="62"/>
                  </a:lnTo>
                  <a:lnTo>
                    <a:pt x="456" y="62"/>
                  </a:lnTo>
                  <a:lnTo>
                    <a:pt x="442" y="0"/>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6" name="ïṩlïḋè"/>
            <p:cNvSpPr/>
            <p:nvPr/>
          </p:nvSpPr>
          <p:spPr bwMode="auto">
            <a:xfrm>
              <a:off x="5007157" y="4806124"/>
              <a:ext cx="1140476" cy="811383"/>
            </a:xfrm>
            <a:custGeom>
              <a:avLst/>
              <a:gdLst>
                <a:gd name="T0" fmla="*/ 641163 w 804"/>
                <a:gd name="T1" fmla="*/ 79436 h 572"/>
                <a:gd name="T2" fmla="*/ 1100758 w 804"/>
                <a:gd name="T3" fmla="*/ 79436 h 572"/>
                <a:gd name="T4" fmla="*/ 1061040 w 804"/>
                <a:gd name="T5" fmla="*/ 137595 h 572"/>
                <a:gd name="T6" fmla="*/ 641163 w 804"/>
                <a:gd name="T7" fmla="*/ 137595 h 572"/>
                <a:gd name="T8" fmla="*/ 641163 w 804"/>
                <a:gd name="T9" fmla="*/ 358881 h 572"/>
                <a:gd name="T10" fmla="*/ 1140476 w 804"/>
                <a:gd name="T11" fmla="*/ 358881 h 572"/>
                <a:gd name="T12" fmla="*/ 1109269 w 804"/>
                <a:gd name="T13" fmla="*/ 418458 h 572"/>
                <a:gd name="T14" fmla="*/ 641163 w 804"/>
                <a:gd name="T15" fmla="*/ 418458 h 572"/>
                <a:gd name="T16" fmla="*/ 641163 w 804"/>
                <a:gd name="T17" fmla="*/ 754643 h 572"/>
                <a:gd name="T18" fmla="*/ 956071 w 804"/>
                <a:gd name="T19" fmla="*/ 754643 h 572"/>
                <a:gd name="T20" fmla="*/ 903586 w 804"/>
                <a:gd name="T21" fmla="*/ 811383 h 572"/>
                <a:gd name="T22" fmla="*/ 39718 w 804"/>
                <a:gd name="T23" fmla="*/ 811383 h 572"/>
                <a:gd name="T24" fmla="*/ 39718 w 804"/>
                <a:gd name="T25" fmla="*/ 499313 h 572"/>
                <a:gd name="T26" fmla="*/ 194335 w 804"/>
                <a:gd name="T27" fmla="*/ 499313 h 572"/>
                <a:gd name="T28" fmla="*/ 194335 w 804"/>
                <a:gd name="T29" fmla="*/ 754643 h 572"/>
                <a:gd name="T30" fmla="*/ 486546 w 804"/>
                <a:gd name="T31" fmla="*/ 754643 h 572"/>
                <a:gd name="T32" fmla="*/ 486546 w 804"/>
                <a:gd name="T33" fmla="*/ 418458 h 572"/>
                <a:gd name="T34" fmla="*/ 0 w 804"/>
                <a:gd name="T35" fmla="*/ 418458 h 572"/>
                <a:gd name="T36" fmla="*/ 0 w 804"/>
                <a:gd name="T37" fmla="*/ 358881 h 572"/>
                <a:gd name="T38" fmla="*/ 486546 w 804"/>
                <a:gd name="T39" fmla="*/ 358881 h 572"/>
                <a:gd name="T40" fmla="*/ 486546 w 804"/>
                <a:gd name="T41" fmla="*/ 137595 h 572"/>
                <a:gd name="T42" fmla="*/ 68088 w 804"/>
                <a:gd name="T43" fmla="*/ 137595 h 572"/>
                <a:gd name="T44" fmla="*/ 68088 w 804"/>
                <a:gd name="T45" fmla="*/ 79436 h 572"/>
                <a:gd name="T46" fmla="*/ 486546 w 804"/>
                <a:gd name="T47" fmla="*/ 79436 h 572"/>
                <a:gd name="T48" fmla="*/ 486546 w 804"/>
                <a:gd name="T49" fmla="*/ 0 h 572"/>
                <a:gd name="T50" fmla="*/ 641163 w 804"/>
                <a:gd name="T51" fmla="*/ 0 h 572"/>
                <a:gd name="T52" fmla="*/ 641163 w 804"/>
                <a:gd name="T53" fmla="*/ 79436 h 572"/>
                <a:gd name="T54" fmla="*/ 1110687 w 804"/>
                <a:gd name="T55" fmla="*/ 514916 h 572"/>
                <a:gd name="T56" fmla="*/ 1110687 w 804"/>
                <a:gd name="T57" fmla="*/ 811383 h 572"/>
                <a:gd name="T58" fmla="*/ 956071 w 804"/>
                <a:gd name="T59" fmla="*/ 811383 h 572"/>
                <a:gd name="T60" fmla="*/ 956071 w 804"/>
                <a:gd name="T61" fmla="*/ 514916 h 572"/>
                <a:gd name="T62" fmla="*/ 1110687 w 804"/>
                <a:gd name="T63" fmla="*/ 514916 h 5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4" h="572">
                  <a:moveTo>
                    <a:pt x="452" y="56"/>
                  </a:moveTo>
                  <a:lnTo>
                    <a:pt x="776" y="56"/>
                  </a:lnTo>
                  <a:lnTo>
                    <a:pt x="748" y="97"/>
                  </a:lnTo>
                  <a:lnTo>
                    <a:pt x="452" y="97"/>
                  </a:lnTo>
                  <a:lnTo>
                    <a:pt x="452" y="253"/>
                  </a:lnTo>
                  <a:lnTo>
                    <a:pt x="804" y="253"/>
                  </a:lnTo>
                  <a:lnTo>
                    <a:pt x="782" y="295"/>
                  </a:lnTo>
                  <a:lnTo>
                    <a:pt x="452" y="295"/>
                  </a:lnTo>
                  <a:lnTo>
                    <a:pt x="452" y="532"/>
                  </a:lnTo>
                  <a:lnTo>
                    <a:pt x="674" y="532"/>
                  </a:lnTo>
                  <a:lnTo>
                    <a:pt x="637" y="572"/>
                  </a:lnTo>
                  <a:lnTo>
                    <a:pt x="28" y="572"/>
                  </a:lnTo>
                  <a:lnTo>
                    <a:pt x="28" y="352"/>
                  </a:lnTo>
                  <a:lnTo>
                    <a:pt x="137" y="352"/>
                  </a:lnTo>
                  <a:lnTo>
                    <a:pt x="137" y="532"/>
                  </a:lnTo>
                  <a:lnTo>
                    <a:pt x="343" y="532"/>
                  </a:lnTo>
                  <a:lnTo>
                    <a:pt x="343" y="295"/>
                  </a:lnTo>
                  <a:lnTo>
                    <a:pt x="0" y="295"/>
                  </a:lnTo>
                  <a:lnTo>
                    <a:pt x="0" y="253"/>
                  </a:lnTo>
                  <a:lnTo>
                    <a:pt x="343" y="253"/>
                  </a:lnTo>
                  <a:lnTo>
                    <a:pt x="343" y="97"/>
                  </a:lnTo>
                  <a:lnTo>
                    <a:pt x="48" y="97"/>
                  </a:lnTo>
                  <a:lnTo>
                    <a:pt x="48" y="56"/>
                  </a:lnTo>
                  <a:lnTo>
                    <a:pt x="343" y="56"/>
                  </a:lnTo>
                  <a:lnTo>
                    <a:pt x="343" y="0"/>
                  </a:lnTo>
                  <a:lnTo>
                    <a:pt x="452" y="0"/>
                  </a:lnTo>
                  <a:lnTo>
                    <a:pt x="452" y="56"/>
                  </a:lnTo>
                  <a:close/>
                  <a:moveTo>
                    <a:pt x="783" y="363"/>
                  </a:moveTo>
                  <a:lnTo>
                    <a:pt x="783" y="572"/>
                  </a:lnTo>
                  <a:lnTo>
                    <a:pt x="674" y="572"/>
                  </a:lnTo>
                  <a:lnTo>
                    <a:pt x="674" y="363"/>
                  </a:lnTo>
                  <a:lnTo>
                    <a:pt x="783" y="363"/>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7" name="îṧlíḓê"/>
            <p:cNvSpPr/>
            <p:nvPr/>
          </p:nvSpPr>
          <p:spPr bwMode="auto">
            <a:xfrm>
              <a:off x="6259978" y="4794776"/>
              <a:ext cx="1130547" cy="834079"/>
            </a:xfrm>
            <a:custGeom>
              <a:avLst/>
              <a:gdLst>
                <a:gd name="T0" fmla="*/ 95040 w 797"/>
                <a:gd name="T1" fmla="*/ 272352 h 588"/>
                <a:gd name="T2" fmla="*/ 0 w 797"/>
                <a:gd name="T3" fmla="*/ 241145 h 588"/>
                <a:gd name="T4" fmla="*/ 0 w 797"/>
                <a:gd name="T5" fmla="*/ 170220 h 588"/>
                <a:gd name="T6" fmla="*/ 95040 w 797"/>
                <a:gd name="T7" fmla="*/ 197172 h 588"/>
                <a:gd name="T8" fmla="*/ 95040 w 797"/>
                <a:gd name="T9" fmla="*/ 68088 h 588"/>
                <a:gd name="T10" fmla="*/ 556053 w 797"/>
                <a:gd name="T11" fmla="*/ 68088 h 588"/>
                <a:gd name="T12" fmla="*/ 556053 w 797"/>
                <a:gd name="T13" fmla="*/ 0 h 588"/>
                <a:gd name="T14" fmla="*/ 706415 w 797"/>
                <a:gd name="T15" fmla="*/ 0 h 588"/>
                <a:gd name="T16" fmla="*/ 706415 w 797"/>
                <a:gd name="T17" fmla="*/ 68088 h 588"/>
                <a:gd name="T18" fmla="*/ 1130547 w 797"/>
                <a:gd name="T19" fmla="*/ 68088 h 588"/>
                <a:gd name="T20" fmla="*/ 1095084 w 797"/>
                <a:gd name="T21" fmla="*/ 126247 h 588"/>
                <a:gd name="T22" fmla="*/ 246820 w 797"/>
                <a:gd name="T23" fmla="*/ 126247 h 588"/>
                <a:gd name="T24" fmla="*/ 246820 w 797"/>
                <a:gd name="T25" fmla="*/ 604282 h 588"/>
                <a:gd name="T26" fmla="*/ 154617 w 797"/>
                <a:gd name="T27" fmla="*/ 832660 h 588"/>
                <a:gd name="T28" fmla="*/ 4256 w 797"/>
                <a:gd name="T29" fmla="*/ 832660 h 588"/>
                <a:gd name="T30" fmla="*/ 95040 w 797"/>
                <a:gd name="T31" fmla="*/ 604282 h 588"/>
                <a:gd name="T32" fmla="*/ 95040 w 797"/>
                <a:gd name="T33" fmla="*/ 530520 h 588"/>
                <a:gd name="T34" fmla="*/ 9930 w 797"/>
                <a:gd name="T35" fmla="*/ 563145 h 588"/>
                <a:gd name="T36" fmla="*/ 9930 w 797"/>
                <a:gd name="T37" fmla="*/ 486546 h 588"/>
                <a:gd name="T38" fmla="*/ 95040 w 797"/>
                <a:gd name="T39" fmla="*/ 448247 h 588"/>
                <a:gd name="T40" fmla="*/ 95040 w 797"/>
                <a:gd name="T41" fmla="*/ 272352 h 588"/>
                <a:gd name="T42" fmla="*/ 275190 w 797"/>
                <a:gd name="T43" fmla="*/ 834079 h 588"/>
                <a:gd name="T44" fmla="*/ 580168 w 797"/>
                <a:gd name="T45" fmla="*/ 669533 h 588"/>
                <a:gd name="T46" fmla="*/ 309234 w 797"/>
                <a:gd name="T47" fmla="*/ 514916 h 588"/>
                <a:gd name="T48" fmla="*/ 519172 w 797"/>
                <a:gd name="T49" fmla="*/ 514916 h 588"/>
                <a:gd name="T50" fmla="*/ 689393 w 797"/>
                <a:gd name="T51" fmla="*/ 614211 h 588"/>
                <a:gd name="T52" fmla="*/ 892238 w 797"/>
                <a:gd name="T53" fmla="*/ 503568 h 588"/>
                <a:gd name="T54" fmla="*/ 892238 w 797"/>
                <a:gd name="T55" fmla="*/ 487965 h 588"/>
                <a:gd name="T56" fmla="*/ 299304 w 797"/>
                <a:gd name="T57" fmla="*/ 487965 h 588"/>
                <a:gd name="T58" fmla="*/ 299304 w 797"/>
                <a:gd name="T59" fmla="*/ 429806 h 588"/>
                <a:gd name="T60" fmla="*/ 1045437 w 797"/>
                <a:gd name="T61" fmla="*/ 429806 h 588"/>
                <a:gd name="T62" fmla="*/ 1045437 w 797"/>
                <a:gd name="T63" fmla="*/ 546123 h 588"/>
                <a:gd name="T64" fmla="*/ 797199 w 797"/>
                <a:gd name="T65" fmla="*/ 676625 h 588"/>
                <a:gd name="T66" fmla="*/ 1073807 w 797"/>
                <a:gd name="T67" fmla="*/ 834079 h 588"/>
                <a:gd name="T68" fmla="*/ 865287 w 797"/>
                <a:gd name="T69" fmla="*/ 834079 h 588"/>
                <a:gd name="T70" fmla="*/ 689393 w 797"/>
                <a:gd name="T71" fmla="*/ 734784 h 588"/>
                <a:gd name="T72" fmla="*/ 500732 w 797"/>
                <a:gd name="T73" fmla="*/ 834079 h 588"/>
                <a:gd name="T74" fmla="*/ 275190 w 797"/>
                <a:gd name="T75" fmla="*/ 834079 h 588"/>
                <a:gd name="T76" fmla="*/ 309234 w 797"/>
                <a:gd name="T77" fmla="*/ 160291 h 588"/>
                <a:gd name="T78" fmla="*/ 859613 w 797"/>
                <a:gd name="T79" fmla="*/ 160291 h 588"/>
                <a:gd name="T80" fmla="*/ 825569 w 797"/>
                <a:gd name="T81" fmla="*/ 224123 h 588"/>
                <a:gd name="T82" fmla="*/ 461014 w 797"/>
                <a:gd name="T83" fmla="*/ 224123 h 588"/>
                <a:gd name="T84" fmla="*/ 461014 w 797"/>
                <a:gd name="T85" fmla="*/ 310652 h 588"/>
                <a:gd name="T86" fmla="*/ 439736 w 797"/>
                <a:gd name="T87" fmla="*/ 404273 h 588"/>
                <a:gd name="T88" fmla="*/ 286538 w 797"/>
                <a:gd name="T89" fmla="*/ 404273 h 588"/>
                <a:gd name="T90" fmla="*/ 309234 w 797"/>
                <a:gd name="T91" fmla="*/ 310652 h 588"/>
                <a:gd name="T92" fmla="*/ 309234 w 797"/>
                <a:gd name="T93" fmla="*/ 160291 h 588"/>
                <a:gd name="T94" fmla="*/ 1014230 w 797"/>
                <a:gd name="T95" fmla="*/ 160291 h 588"/>
                <a:gd name="T96" fmla="*/ 1014230 w 797"/>
                <a:gd name="T97" fmla="*/ 339022 h 588"/>
                <a:gd name="T98" fmla="*/ 1078062 w 797"/>
                <a:gd name="T99" fmla="*/ 339022 h 588"/>
                <a:gd name="T100" fmla="*/ 1045437 w 797"/>
                <a:gd name="T101" fmla="*/ 404273 h 588"/>
                <a:gd name="T102" fmla="*/ 859613 w 797"/>
                <a:gd name="T103" fmla="*/ 404273 h 588"/>
                <a:gd name="T104" fmla="*/ 859613 w 797"/>
                <a:gd name="T105" fmla="*/ 160291 h 588"/>
                <a:gd name="T106" fmla="*/ 1014230 w 797"/>
                <a:gd name="T107" fmla="*/ 160291 h 58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97" h="588">
                  <a:moveTo>
                    <a:pt x="67" y="192"/>
                  </a:moveTo>
                  <a:lnTo>
                    <a:pt x="0" y="170"/>
                  </a:lnTo>
                  <a:lnTo>
                    <a:pt x="0" y="120"/>
                  </a:lnTo>
                  <a:lnTo>
                    <a:pt x="67" y="139"/>
                  </a:lnTo>
                  <a:lnTo>
                    <a:pt x="67" y="48"/>
                  </a:lnTo>
                  <a:lnTo>
                    <a:pt x="392" y="48"/>
                  </a:lnTo>
                  <a:lnTo>
                    <a:pt x="392" y="0"/>
                  </a:lnTo>
                  <a:lnTo>
                    <a:pt x="498" y="0"/>
                  </a:lnTo>
                  <a:lnTo>
                    <a:pt x="498" y="48"/>
                  </a:lnTo>
                  <a:lnTo>
                    <a:pt x="797" y="48"/>
                  </a:lnTo>
                  <a:lnTo>
                    <a:pt x="772" y="89"/>
                  </a:lnTo>
                  <a:lnTo>
                    <a:pt x="174" y="89"/>
                  </a:lnTo>
                  <a:lnTo>
                    <a:pt x="174" y="426"/>
                  </a:lnTo>
                  <a:lnTo>
                    <a:pt x="109" y="587"/>
                  </a:lnTo>
                  <a:lnTo>
                    <a:pt x="3" y="587"/>
                  </a:lnTo>
                  <a:lnTo>
                    <a:pt x="67" y="426"/>
                  </a:lnTo>
                  <a:lnTo>
                    <a:pt x="67" y="374"/>
                  </a:lnTo>
                  <a:lnTo>
                    <a:pt x="7" y="397"/>
                  </a:lnTo>
                  <a:lnTo>
                    <a:pt x="7" y="343"/>
                  </a:lnTo>
                  <a:lnTo>
                    <a:pt x="67" y="316"/>
                  </a:lnTo>
                  <a:lnTo>
                    <a:pt x="67" y="192"/>
                  </a:lnTo>
                  <a:close/>
                  <a:moveTo>
                    <a:pt x="194" y="588"/>
                  </a:moveTo>
                  <a:lnTo>
                    <a:pt x="409" y="472"/>
                  </a:lnTo>
                  <a:lnTo>
                    <a:pt x="218" y="363"/>
                  </a:lnTo>
                  <a:lnTo>
                    <a:pt x="366" y="363"/>
                  </a:lnTo>
                  <a:lnTo>
                    <a:pt x="486" y="433"/>
                  </a:lnTo>
                  <a:lnTo>
                    <a:pt x="629" y="355"/>
                  </a:lnTo>
                  <a:lnTo>
                    <a:pt x="629" y="344"/>
                  </a:lnTo>
                  <a:lnTo>
                    <a:pt x="211" y="344"/>
                  </a:lnTo>
                  <a:lnTo>
                    <a:pt x="211" y="303"/>
                  </a:lnTo>
                  <a:lnTo>
                    <a:pt x="737" y="303"/>
                  </a:lnTo>
                  <a:lnTo>
                    <a:pt x="737" y="385"/>
                  </a:lnTo>
                  <a:lnTo>
                    <a:pt x="562" y="477"/>
                  </a:lnTo>
                  <a:lnTo>
                    <a:pt x="757" y="588"/>
                  </a:lnTo>
                  <a:lnTo>
                    <a:pt x="610" y="588"/>
                  </a:lnTo>
                  <a:lnTo>
                    <a:pt x="486" y="518"/>
                  </a:lnTo>
                  <a:lnTo>
                    <a:pt x="353" y="588"/>
                  </a:lnTo>
                  <a:lnTo>
                    <a:pt x="194" y="588"/>
                  </a:lnTo>
                  <a:close/>
                  <a:moveTo>
                    <a:pt x="218" y="113"/>
                  </a:moveTo>
                  <a:lnTo>
                    <a:pt x="606" y="113"/>
                  </a:lnTo>
                  <a:lnTo>
                    <a:pt x="582" y="158"/>
                  </a:lnTo>
                  <a:lnTo>
                    <a:pt x="325" y="158"/>
                  </a:lnTo>
                  <a:lnTo>
                    <a:pt x="325" y="219"/>
                  </a:lnTo>
                  <a:lnTo>
                    <a:pt x="310" y="285"/>
                  </a:lnTo>
                  <a:lnTo>
                    <a:pt x="202" y="285"/>
                  </a:lnTo>
                  <a:lnTo>
                    <a:pt x="218" y="219"/>
                  </a:lnTo>
                  <a:lnTo>
                    <a:pt x="218" y="113"/>
                  </a:lnTo>
                  <a:close/>
                  <a:moveTo>
                    <a:pt x="715" y="113"/>
                  </a:moveTo>
                  <a:lnTo>
                    <a:pt x="715" y="239"/>
                  </a:lnTo>
                  <a:lnTo>
                    <a:pt x="760" y="239"/>
                  </a:lnTo>
                  <a:lnTo>
                    <a:pt x="737" y="285"/>
                  </a:lnTo>
                  <a:lnTo>
                    <a:pt x="606" y="285"/>
                  </a:lnTo>
                  <a:lnTo>
                    <a:pt x="606" y="113"/>
                  </a:lnTo>
                  <a:lnTo>
                    <a:pt x="715" y="113"/>
                  </a:lnTo>
                  <a:close/>
                </a:path>
              </a:pathLst>
            </a:custGeom>
            <a:solidFill>
              <a:srgbClr val="860A12"/>
            </a:solidFill>
            <a:ln w="9525" cap="flat">
              <a:solidFill>
                <a:srgbClr val="860A12"/>
              </a:solidFill>
              <a:prstDash val="solid"/>
              <a:miter lim="800000"/>
            </a:ln>
          </p:spPr>
          <p:txBody>
            <a:bodyPr anchor="ctr"/>
            <a:lstStyle/>
            <a:p>
              <a:endParaRPr lang="zh-CN" altLang="en-US"/>
            </a:p>
          </p:txBody>
        </p:sp>
        <p:sp>
          <p:nvSpPr>
            <p:cNvPr id="23598" name="i$1iḑé"/>
            <p:cNvSpPr/>
            <p:nvPr/>
          </p:nvSpPr>
          <p:spPr bwMode="auto">
            <a:xfrm>
              <a:off x="7456911" y="4791939"/>
              <a:ext cx="1123454" cy="839753"/>
            </a:xfrm>
            <a:custGeom>
              <a:avLst/>
              <a:gdLst>
                <a:gd name="T0" fmla="*/ 42555 w 792"/>
                <a:gd name="T1" fmla="*/ 184405 h 592"/>
                <a:gd name="T2" fmla="*/ 165965 w 792"/>
                <a:gd name="T3" fmla="*/ 184405 h 592"/>
                <a:gd name="T4" fmla="*/ 126247 w 792"/>
                <a:gd name="T5" fmla="*/ 580167 h 592"/>
                <a:gd name="T6" fmla="*/ 0 w 792"/>
                <a:gd name="T7" fmla="*/ 580167 h 592"/>
                <a:gd name="T8" fmla="*/ 42555 w 792"/>
                <a:gd name="T9" fmla="*/ 184405 h 592"/>
                <a:gd name="T10" fmla="*/ 329093 w 792"/>
                <a:gd name="T11" fmla="*/ 316326 h 592"/>
                <a:gd name="T12" fmla="*/ 415621 w 792"/>
                <a:gd name="T13" fmla="*/ 316326 h 592"/>
                <a:gd name="T14" fmla="*/ 390088 w 792"/>
                <a:gd name="T15" fmla="*/ 384414 h 592"/>
                <a:gd name="T16" fmla="*/ 329093 w 792"/>
                <a:gd name="T17" fmla="*/ 384414 h 592"/>
                <a:gd name="T18" fmla="*/ 329093 w 792"/>
                <a:gd name="T19" fmla="*/ 839753 h 592"/>
                <a:gd name="T20" fmla="*/ 180150 w 792"/>
                <a:gd name="T21" fmla="*/ 839753 h 592"/>
                <a:gd name="T22" fmla="*/ 180150 w 792"/>
                <a:gd name="T23" fmla="*/ 0 h 592"/>
                <a:gd name="T24" fmla="*/ 329093 w 792"/>
                <a:gd name="T25" fmla="*/ 0 h 592"/>
                <a:gd name="T26" fmla="*/ 329093 w 792"/>
                <a:gd name="T27" fmla="*/ 316326 h 592"/>
                <a:gd name="T28" fmla="*/ 700740 w 792"/>
                <a:gd name="T29" fmla="*/ 275189 h 592"/>
                <a:gd name="T30" fmla="*/ 700740 w 792"/>
                <a:gd name="T31" fmla="*/ 235471 h 592"/>
                <a:gd name="T32" fmla="*/ 466687 w 792"/>
                <a:gd name="T33" fmla="*/ 235471 h 592"/>
                <a:gd name="T34" fmla="*/ 466687 w 792"/>
                <a:gd name="T35" fmla="*/ 171639 h 592"/>
                <a:gd name="T36" fmla="*/ 700740 w 792"/>
                <a:gd name="T37" fmla="*/ 171639 h 592"/>
                <a:gd name="T38" fmla="*/ 700740 w 792"/>
                <a:gd name="T39" fmla="*/ 129084 h 592"/>
                <a:gd name="T40" fmla="*/ 446828 w 792"/>
                <a:gd name="T41" fmla="*/ 129084 h 592"/>
                <a:gd name="T42" fmla="*/ 446828 w 792"/>
                <a:gd name="T43" fmla="*/ 65251 h 592"/>
                <a:gd name="T44" fmla="*/ 700740 w 792"/>
                <a:gd name="T45" fmla="*/ 65251 h 592"/>
                <a:gd name="T46" fmla="*/ 700740 w 792"/>
                <a:gd name="T47" fmla="*/ 0 h 592"/>
                <a:gd name="T48" fmla="*/ 855357 w 792"/>
                <a:gd name="T49" fmla="*/ 0 h 592"/>
                <a:gd name="T50" fmla="*/ 855357 w 792"/>
                <a:gd name="T51" fmla="*/ 65251 h 592"/>
                <a:gd name="T52" fmla="*/ 1109269 w 792"/>
                <a:gd name="T53" fmla="*/ 65251 h 592"/>
                <a:gd name="T54" fmla="*/ 1075225 w 792"/>
                <a:gd name="T55" fmla="*/ 129084 h 592"/>
                <a:gd name="T56" fmla="*/ 855357 w 792"/>
                <a:gd name="T57" fmla="*/ 129084 h 592"/>
                <a:gd name="T58" fmla="*/ 855357 w 792"/>
                <a:gd name="T59" fmla="*/ 171639 h 592"/>
                <a:gd name="T60" fmla="*/ 1087991 w 792"/>
                <a:gd name="T61" fmla="*/ 168802 h 592"/>
                <a:gd name="T62" fmla="*/ 1052529 w 792"/>
                <a:gd name="T63" fmla="*/ 235471 h 592"/>
                <a:gd name="T64" fmla="*/ 855357 w 792"/>
                <a:gd name="T65" fmla="*/ 235471 h 592"/>
                <a:gd name="T66" fmla="*/ 855357 w 792"/>
                <a:gd name="T67" fmla="*/ 275189 h 592"/>
                <a:gd name="T68" fmla="*/ 1123454 w 792"/>
                <a:gd name="T69" fmla="*/ 275189 h 592"/>
                <a:gd name="T70" fmla="*/ 1087991 w 792"/>
                <a:gd name="T71" fmla="*/ 340440 h 592"/>
                <a:gd name="T72" fmla="*/ 434062 w 792"/>
                <a:gd name="T73" fmla="*/ 340440 h 592"/>
                <a:gd name="T74" fmla="*/ 434062 w 792"/>
                <a:gd name="T75" fmla="*/ 275189 h 592"/>
                <a:gd name="T76" fmla="*/ 700740 w 792"/>
                <a:gd name="T77" fmla="*/ 275189 h 592"/>
                <a:gd name="T78" fmla="*/ 919190 w 792"/>
                <a:gd name="T79" fmla="*/ 510661 h 592"/>
                <a:gd name="T80" fmla="*/ 919190 w 792"/>
                <a:gd name="T81" fmla="*/ 380158 h 592"/>
                <a:gd name="T82" fmla="*/ 1075225 w 792"/>
                <a:gd name="T83" fmla="*/ 380158 h 592"/>
                <a:gd name="T84" fmla="*/ 1075225 w 792"/>
                <a:gd name="T85" fmla="*/ 839753 h 592"/>
                <a:gd name="T86" fmla="*/ 844009 w 792"/>
                <a:gd name="T87" fmla="*/ 839753 h 592"/>
                <a:gd name="T88" fmla="*/ 809965 w 792"/>
                <a:gd name="T89" fmla="*/ 774502 h 592"/>
                <a:gd name="T90" fmla="*/ 919190 w 792"/>
                <a:gd name="T91" fmla="*/ 774502 h 592"/>
                <a:gd name="T92" fmla="*/ 919190 w 792"/>
                <a:gd name="T93" fmla="*/ 709251 h 592"/>
                <a:gd name="T94" fmla="*/ 634071 w 792"/>
                <a:gd name="T95" fmla="*/ 709251 h 592"/>
                <a:gd name="T96" fmla="*/ 634071 w 792"/>
                <a:gd name="T97" fmla="*/ 839753 h 592"/>
                <a:gd name="T98" fmla="*/ 479454 w 792"/>
                <a:gd name="T99" fmla="*/ 839753 h 592"/>
                <a:gd name="T100" fmla="*/ 479454 w 792"/>
                <a:gd name="T101" fmla="*/ 380158 h 592"/>
                <a:gd name="T102" fmla="*/ 919190 w 792"/>
                <a:gd name="T103" fmla="*/ 380158 h 592"/>
                <a:gd name="T104" fmla="*/ 885146 w 792"/>
                <a:gd name="T105" fmla="*/ 443991 h 592"/>
                <a:gd name="T106" fmla="*/ 634071 w 792"/>
                <a:gd name="T107" fmla="*/ 443991 h 592"/>
                <a:gd name="T108" fmla="*/ 634071 w 792"/>
                <a:gd name="T109" fmla="*/ 510661 h 592"/>
                <a:gd name="T110" fmla="*/ 919190 w 792"/>
                <a:gd name="T111" fmla="*/ 510661 h 592"/>
                <a:gd name="T112" fmla="*/ 919190 w 792"/>
                <a:gd name="T113" fmla="*/ 644000 h 592"/>
                <a:gd name="T114" fmla="*/ 919190 w 792"/>
                <a:gd name="T115" fmla="*/ 575912 h 592"/>
                <a:gd name="T116" fmla="*/ 634071 w 792"/>
                <a:gd name="T117" fmla="*/ 575912 h 592"/>
                <a:gd name="T118" fmla="*/ 634071 w 792"/>
                <a:gd name="T119" fmla="*/ 644000 h 592"/>
                <a:gd name="T120" fmla="*/ 919190 w 792"/>
                <a:gd name="T121" fmla="*/ 644000 h 5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92" h="592">
                  <a:moveTo>
                    <a:pt x="30" y="130"/>
                  </a:moveTo>
                  <a:lnTo>
                    <a:pt x="117" y="130"/>
                  </a:lnTo>
                  <a:lnTo>
                    <a:pt x="89" y="409"/>
                  </a:lnTo>
                  <a:lnTo>
                    <a:pt x="0" y="409"/>
                  </a:lnTo>
                  <a:lnTo>
                    <a:pt x="30" y="130"/>
                  </a:lnTo>
                  <a:close/>
                  <a:moveTo>
                    <a:pt x="232" y="223"/>
                  </a:moveTo>
                  <a:lnTo>
                    <a:pt x="293" y="223"/>
                  </a:lnTo>
                  <a:lnTo>
                    <a:pt x="275" y="271"/>
                  </a:lnTo>
                  <a:lnTo>
                    <a:pt x="232" y="271"/>
                  </a:lnTo>
                  <a:lnTo>
                    <a:pt x="232" y="592"/>
                  </a:lnTo>
                  <a:lnTo>
                    <a:pt x="127" y="592"/>
                  </a:lnTo>
                  <a:lnTo>
                    <a:pt x="127" y="0"/>
                  </a:lnTo>
                  <a:lnTo>
                    <a:pt x="232" y="0"/>
                  </a:lnTo>
                  <a:lnTo>
                    <a:pt x="232" y="223"/>
                  </a:lnTo>
                  <a:close/>
                  <a:moveTo>
                    <a:pt x="494" y="194"/>
                  </a:moveTo>
                  <a:lnTo>
                    <a:pt x="494" y="166"/>
                  </a:lnTo>
                  <a:lnTo>
                    <a:pt x="329" y="166"/>
                  </a:lnTo>
                  <a:lnTo>
                    <a:pt x="329" y="121"/>
                  </a:lnTo>
                  <a:lnTo>
                    <a:pt x="494" y="121"/>
                  </a:lnTo>
                  <a:lnTo>
                    <a:pt x="494" y="91"/>
                  </a:lnTo>
                  <a:lnTo>
                    <a:pt x="315" y="91"/>
                  </a:lnTo>
                  <a:lnTo>
                    <a:pt x="315" y="46"/>
                  </a:lnTo>
                  <a:lnTo>
                    <a:pt x="494" y="46"/>
                  </a:lnTo>
                  <a:lnTo>
                    <a:pt x="494" y="0"/>
                  </a:lnTo>
                  <a:lnTo>
                    <a:pt x="603" y="0"/>
                  </a:lnTo>
                  <a:lnTo>
                    <a:pt x="603" y="46"/>
                  </a:lnTo>
                  <a:lnTo>
                    <a:pt x="782" y="46"/>
                  </a:lnTo>
                  <a:lnTo>
                    <a:pt x="758" y="91"/>
                  </a:lnTo>
                  <a:lnTo>
                    <a:pt x="603" y="91"/>
                  </a:lnTo>
                  <a:lnTo>
                    <a:pt x="603" y="121"/>
                  </a:lnTo>
                  <a:lnTo>
                    <a:pt x="767" y="119"/>
                  </a:lnTo>
                  <a:lnTo>
                    <a:pt x="742" y="166"/>
                  </a:lnTo>
                  <a:lnTo>
                    <a:pt x="603" y="166"/>
                  </a:lnTo>
                  <a:lnTo>
                    <a:pt x="603" y="194"/>
                  </a:lnTo>
                  <a:lnTo>
                    <a:pt x="792" y="194"/>
                  </a:lnTo>
                  <a:lnTo>
                    <a:pt x="767" y="240"/>
                  </a:lnTo>
                  <a:lnTo>
                    <a:pt x="306" y="240"/>
                  </a:lnTo>
                  <a:lnTo>
                    <a:pt x="306" y="194"/>
                  </a:lnTo>
                  <a:lnTo>
                    <a:pt x="494" y="194"/>
                  </a:lnTo>
                  <a:close/>
                  <a:moveTo>
                    <a:pt x="648" y="360"/>
                  </a:moveTo>
                  <a:lnTo>
                    <a:pt x="648" y="268"/>
                  </a:lnTo>
                  <a:lnTo>
                    <a:pt x="758" y="268"/>
                  </a:lnTo>
                  <a:lnTo>
                    <a:pt x="758" y="592"/>
                  </a:lnTo>
                  <a:lnTo>
                    <a:pt x="595" y="592"/>
                  </a:lnTo>
                  <a:lnTo>
                    <a:pt x="571" y="546"/>
                  </a:lnTo>
                  <a:lnTo>
                    <a:pt x="648" y="546"/>
                  </a:lnTo>
                  <a:lnTo>
                    <a:pt x="648" y="500"/>
                  </a:lnTo>
                  <a:lnTo>
                    <a:pt x="447" y="500"/>
                  </a:lnTo>
                  <a:lnTo>
                    <a:pt x="447" y="592"/>
                  </a:lnTo>
                  <a:lnTo>
                    <a:pt x="338" y="592"/>
                  </a:lnTo>
                  <a:lnTo>
                    <a:pt x="338" y="268"/>
                  </a:lnTo>
                  <a:lnTo>
                    <a:pt x="648" y="268"/>
                  </a:lnTo>
                  <a:lnTo>
                    <a:pt x="624" y="313"/>
                  </a:lnTo>
                  <a:lnTo>
                    <a:pt x="447" y="313"/>
                  </a:lnTo>
                  <a:lnTo>
                    <a:pt x="447" y="360"/>
                  </a:lnTo>
                  <a:lnTo>
                    <a:pt x="648" y="360"/>
                  </a:lnTo>
                  <a:close/>
                  <a:moveTo>
                    <a:pt x="648" y="454"/>
                  </a:moveTo>
                  <a:lnTo>
                    <a:pt x="648" y="406"/>
                  </a:lnTo>
                  <a:lnTo>
                    <a:pt x="447" y="406"/>
                  </a:lnTo>
                  <a:lnTo>
                    <a:pt x="447" y="454"/>
                  </a:lnTo>
                  <a:lnTo>
                    <a:pt x="648" y="454"/>
                  </a:lnTo>
                  <a:close/>
                </a:path>
              </a:pathLst>
            </a:custGeom>
            <a:solidFill>
              <a:srgbClr val="860A12"/>
            </a:solidFill>
            <a:ln w="9525" cap="flat">
              <a:solidFill>
                <a:srgbClr val="860A12"/>
              </a:solidFill>
              <a:prstDash val="solid"/>
              <a:miter lim="800000"/>
            </a:ln>
          </p:spPr>
          <p:txBody>
            <a:bodyPr anchor="ctr"/>
            <a:lstStyle/>
            <a:p>
              <a:endParaRPr lang="zh-CN" altLang="en-US"/>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24119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525982"/>
            <a:ext cx="12192000" cy="5640167"/>
            <a:chOff x="0" y="0"/>
            <a:chExt cx="12192000" cy="5626090"/>
          </a:xfrm>
        </p:grpSpPr>
        <p:sp>
          <p:nvSpPr>
            <p:cNvPr id="6" name="ïšḷîḑè"/>
            <p:cNvSpPr/>
            <p:nvPr/>
          </p:nvSpPr>
          <p:spPr>
            <a:xfrm rot="5400000" flipV="1">
              <a:off x="3883742" y="-3883742"/>
              <a:ext cx="4424516" cy="12192000"/>
            </a:xfrm>
            <a:prstGeom prst="homePlate">
              <a:avLst>
                <a:gd name="adj" fmla="val 36222"/>
              </a:avLst>
            </a:prstGeom>
            <a:solidFill>
              <a:schemeClr val="bg1">
                <a:lumMod val="95000"/>
              </a:schemeClr>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tx1"/>
                </a:solidFill>
              </a:endParaRPr>
            </a:p>
          </p:txBody>
        </p:sp>
        <p:sp>
          <p:nvSpPr>
            <p:cNvPr id="7" name="íSḻîḋê"/>
            <p:cNvSpPr/>
            <p:nvPr/>
          </p:nvSpPr>
          <p:spPr>
            <a:xfrm>
              <a:off x="4686300" y="2702532"/>
              <a:ext cx="2819400" cy="2819400"/>
            </a:xfrm>
            <a:prstGeom prst="ellipse">
              <a:avLst/>
            </a:prstGeom>
            <a:blipFill>
              <a:blip r:embed="rId2"/>
              <a:stretch>
                <a:fillRect l="-25113" r="-24887"/>
              </a:stretch>
            </a:blip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8" name="îSľïḍè"/>
            <p:cNvSpPr txBox="1"/>
            <p:nvPr/>
          </p:nvSpPr>
          <p:spPr>
            <a:xfrm>
              <a:off x="672305" y="1963403"/>
              <a:ext cx="10845800" cy="713994"/>
            </a:xfrm>
            <a:prstGeom prst="rect">
              <a:avLst/>
            </a:prstGeom>
            <a:noFill/>
            <a:ln>
              <a:noFill/>
            </a:ln>
          </p:spPr>
          <p:txBody>
            <a:bodyPr wrap="square" lIns="91440" tIns="45720" rIns="91440" bIns="45720" anchor="ctr" anchorCtr="0">
              <a:normAutofit/>
            </a:bodyPr>
            <a:lstStyle/>
            <a:p>
              <a:pPr algn="ctr"/>
              <a:r>
                <a:rPr lang="zh-CN" altLang="en-US" sz="2000" b="1" dirty="0">
                  <a:solidFill>
                    <a:srgbClr val="C00000"/>
                  </a:solidFill>
                </a:rPr>
                <a:t>实施”一企一策“纾困方案</a:t>
              </a:r>
              <a:endParaRPr lang="zh-CN" altLang="zh-CN" sz="2000" b="1" dirty="0">
                <a:solidFill>
                  <a:srgbClr val="C00000"/>
                </a:solidFill>
              </a:endParaRPr>
            </a:p>
          </p:txBody>
        </p:sp>
        <p:grpSp>
          <p:nvGrpSpPr>
            <p:cNvPr id="9" name="íşļiḓè"/>
            <p:cNvGrpSpPr/>
            <p:nvPr/>
          </p:nvGrpSpPr>
          <p:grpSpPr>
            <a:xfrm>
              <a:off x="5649849" y="1856232"/>
              <a:ext cx="892302" cy="0"/>
              <a:chOff x="5649849" y="1856232"/>
              <a:chExt cx="892302" cy="0"/>
            </a:xfrm>
          </p:grpSpPr>
          <p:cxnSp>
            <p:nvCxnSpPr>
              <p:cNvPr id="31" name="直接连接符 30"/>
              <p:cNvCxnSpPr/>
              <p:nvPr/>
            </p:nvCxnSpPr>
            <p:spPr>
              <a:xfrm>
                <a:off x="5927725" y="1856232"/>
                <a:ext cx="336550" cy="0"/>
              </a:xfrm>
              <a:prstGeom prst="line">
                <a:avLst/>
              </a:prstGeom>
              <a:ln w="635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2" name="iŝļíḓè"/>
              <p:cNvGrpSpPr/>
              <p:nvPr/>
            </p:nvGrpSpPr>
            <p:grpSpPr>
              <a:xfrm>
                <a:off x="6408801" y="1856232"/>
                <a:ext cx="133350" cy="0"/>
                <a:chOff x="6264275" y="1856232"/>
                <a:chExt cx="133350" cy="0"/>
              </a:xfrm>
            </p:grpSpPr>
            <p:cxnSp>
              <p:nvCxnSpPr>
                <p:cNvPr id="36" name="直接连接符 35"/>
                <p:cNvCxnSpPr/>
                <p:nvPr/>
              </p:nvCxnSpPr>
              <p:spPr>
                <a:xfrm>
                  <a:off x="626427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639762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3" name="íSlîḋe"/>
              <p:cNvGrpSpPr/>
              <p:nvPr/>
            </p:nvGrpSpPr>
            <p:grpSpPr>
              <a:xfrm>
                <a:off x="5649849" y="1856232"/>
                <a:ext cx="133350" cy="0"/>
                <a:chOff x="6264275" y="1856232"/>
                <a:chExt cx="133350" cy="0"/>
              </a:xfrm>
            </p:grpSpPr>
            <p:cxnSp>
              <p:nvCxnSpPr>
                <p:cNvPr id="34" name="直接连接符 33"/>
                <p:cNvCxnSpPr/>
                <p:nvPr/>
              </p:nvCxnSpPr>
              <p:spPr>
                <a:xfrm>
                  <a:off x="626427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6397625" y="1856232"/>
                  <a:ext cx="0" cy="0"/>
                </a:xfrm>
                <a:prstGeom prst="line">
                  <a:avLst/>
                </a:prstGeom>
                <a:ln w="635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 name="ïṥ1îdê"/>
            <p:cNvGrpSpPr/>
            <p:nvPr/>
          </p:nvGrpSpPr>
          <p:grpSpPr>
            <a:xfrm>
              <a:off x="673099" y="3886200"/>
              <a:ext cx="3601444" cy="1739890"/>
              <a:chOff x="626583" y="3886200"/>
              <a:chExt cx="3601444" cy="1739890"/>
            </a:xfrm>
          </p:grpSpPr>
          <p:grpSp>
            <p:nvGrpSpPr>
              <p:cNvPr id="21" name="îŝḻiďé"/>
              <p:cNvGrpSpPr/>
              <p:nvPr/>
            </p:nvGrpSpPr>
            <p:grpSpPr>
              <a:xfrm>
                <a:off x="626583" y="3886200"/>
                <a:ext cx="719376" cy="719376"/>
                <a:chOff x="6356293" y="5213246"/>
                <a:chExt cx="626342" cy="626342"/>
              </a:xfrm>
            </p:grpSpPr>
            <p:sp>
              <p:nvSpPr>
                <p:cNvPr id="29" name="íş1ïḍê"/>
                <p:cNvSpPr/>
                <p:nvPr/>
              </p:nvSpPr>
              <p:spPr>
                <a:xfrm>
                  <a:off x="6356293" y="5213246"/>
                  <a:ext cx="626342" cy="626342"/>
                </a:xfrm>
                <a:prstGeom prst="ellipse">
                  <a:avLst/>
                </a:prstGeom>
                <a:solidFill>
                  <a:schemeClr val="accent1"/>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30" name="ïṣḷîḑè"/>
                <p:cNvSpPr/>
                <p:nvPr/>
              </p:nvSpPr>
              <p:spPr>
                <a:xfrm>
                  <a:off x="6513894" y="5398735"/>
                  <a:ext cx="311141" cy="255359"/>
                </a:xfrm>
                <a:custGeom>
                  <a:avLst/>
                  <a:gdLst>
                    <a:gd name="T0" fmla="*/ 318 w 753"/>
                    <a:gd name="T1" fmla="*/ 47 h 619"/>
                    <a:gd name="T2" fmla="*/ 369 w 753"/>
                    <a:gd name="T3" fmla="*/ 69 h 619"/>
                    <a:gd name="T4" fmla="*/ 458 w 753"/>
                    <a:gd name="T5" fmla="*/ 8 h 619"/>
                    <a:gd name="T6" fmla="*/ 383 w 753"/>
                    <a:gd name="T7" fmla="*/ 112 h 619"/>
                    <a:gd name="T8" fmla="*/ 355 w 753"/>
                    <a:gd name="T9" fmla="*/ 112 h 619"/>
                    <a:gd name="T10" fmla="*/ 650 w 753"/>
                    <a:gd name="T11" fmla="*/ 296 h 619"/>
                    <a:gd name="T12" fmla="*/ 690 w 753"/>
                    <a:gd name="T13" fmla="*/ 579 h 619"/>
                    <a:gd name="T14" fmla="*/ 690 w 753"/>
                    <a:gd name="T15" fmla="*/ 619 h 619"/>
                    <a:gd name="T16" fmla="*/ 43 w 753"/>
                    <a:gd name="T17" fmla="*/ 599 h 619"/>
                    <a:gd name="T18" fmla="*/ 103 w 753"/>
                    <a:gd name="T19" fmla="*/ 579 h 619"/>
                    <a:gd name="T20" fmla="*/ 0 w 753"/>
                    <a:gd name="T21" fmla="*/ 173 h 619"/>
                    <a:gd name="T22" fmla="*/ 115 w 753"/>
                    <a:gd name="T23" fmla="*/ 68 h 619"/>
                    <a:gd name="T24" fmla="*/ 267 w 753"/>
                    <a:gd name="T25" fmla="*/ 64 h 619"/>
                    <a:gd name="T26" fmla="*/ 377 w 753"/>
                    <a:gd name="T27" fmla="*/ 138 h 619"/>
                    <a:gd name="T28" fmla="*/ 486 w 753"/>
                    <a:gd name="T29" fmla="*/ 64 h 619"/>
                    <a:gd name="T30" fmla="*/ 638 w 753"/>
                    <a:gd name="T31" fmla="*/ 68 h 619"/>
                    <a:gd name="T32" fmla="*/ 753 w 753"/>
                    <a:gd name="T33" fmla="*/ 173 h 619"/>
                    <a:gd name="T34" fmla="*/ 610 w 753"/>
                    <a:gd name="T35" fmla="*/ 579 h 619"/>
                    <a:gd name="T36" fmla="*/ 544 w 753"/>
                    <a:gd name="T37" fmla="*/ 266 h 619"/>
                    <a:gd name="T38" fmla="*/ 377 w 753"/>
                    <a:gd name="T39" fmla="*/ 266 h 619"/>
                    <a:gd name="T40" fmla="*/ 209 w 753"/>
                    <a:gd name="T41" fmla="*/ 266 h 619"/>
                    <a:gd name="T42" fmla="*/ 143 w 753"/>
                    <a:gd name="T43" fmla="*/ 579 h 619"/>
                    <a:gd name="T44" fmla="*/ 412 w 753"/>
                    <a:gd name="T45" fmla="*/ 352 h 619"/>
                    <a:gd name="T46" fmla="*/ 567 w 753"/>
                    <a:gd name="T47" fmla="*/ 332 h 619"/>
                    <a:gd name="T48" fmla="*/ 587 w 753"/>
                    <a:gd name="T49" fmla="*/ 579 h 619"/>
                    <a:gd name="T50" fmla="*/ 389 w 753"/>
                    <a:gd name="T51" fmla="*/ 352 h 619"/>
                    <a:gd name="T52" fmla="*/ 369 w 753"/>
                    <a:gd name="T53" fmla="*/ 535 h 619"/>
                    <a:gd name="T54" fmla="*/ 166 w 753"/>
                    <a:gd name="T55" fmla="*/ 515 h 619"/>
                    <a:gd name="T56" fmla="*/ 186 w 753"/>
                    <a:gd name="T57" fmla="*/ 332 h 619"/>
                    <a:gd name="T58" fmla="*/ 389 w 753"/>
                    <a:gd name="T59" fmla="*/ 352 h 619"/>
                    <a:gd name="T60" fmla="*/ 206 w 753"/>
                    <a:gd name="T61" fmla="*/ 372 h 619"/>
                    <a:gd name="T62" fmla="*/ 349 w 753"/>
                    <a:gd name="T63" fmla="*/ 495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3" h="619">
                      <a:moveTo>
                        <a:pt x="318" y="75"/>
                      </a:moveTo>
                      <a:cubicBezTo>
                        <a:pt x="311" y="67"/>
                        <a:pt x="311" y="55"/>
                        <a:pt x="318" y="47"/>
                      </a:cubicBezTo>
                      <a:cubicBezTo>
                        <a:pt x="326" y="39"/>
                        <a:pt x="339" y="39"/>
                        <a:pt x="347" y="47"/>
                      </a:cubicBezTo>
                      <a:lnTo>
                        <a:pt x="369" y="69"/>
                      </a:lnTo>
                      <a:lnTo>
                        <a:pt x="430" y="8"/>
                      </a:lnTo>
                      <a:cubicBezTo>
                        <a:pt x="438" y="0"/>
                        <a:pt x="451" y="0"/>
                        <a:pt x="458" y="8"/>
                      </a:cubicBezTo>
                      <a:cubicBezTo>
                        <a:pt x="466" y="16"/>
                        <a:pt x="466" y="28"/>
                        <a:pt x="458" y="36"/>
                      </a:cubicBezTo>
                      <a:lnTo>
                        <a:pt x="383" y="112"/>
                      </a:lnTo>
                      <a:cubicBezTo>
                        <a:pt x="379" y="115"/>
                        <a:pt x="374" y="117"/>
                        <a:pt x="369" y="117"/>
                      </a:cubicBezTo>
                      <a:cubicBezTo>
                        <a:pt x="364" y="117"/>
                        <a:pt x="359" y="115"/>
                        <a:pt x="355" y="112"/>
                      </a:cubicBezTo>
                      <a:lnTo>
                        <a:pt x="318" y="75"/>
                      </a:lnTo>
                      <a:close/>
                      <a:moveTo>
                        <a:pt x="650" y="296"/>
                      </a:moveTo>
                      <a:lnTo>
                        <a:pt x="650" y="579"/>
                      </a:lnTo>
                      <a:lnTo>
                        <a:pt x="690" y="579"/>
                      </a:lnTo>
                      <a:cubicBezTo>
                        <a:pt x="701" y="579"/>
                        <a:pt x="710" y="588"/>
                        <a:pt x="710" y="599"/>
                      </a:cubicBezTo>
                      <a:cubicBezTo>
                        <a:pt x="710" y="610"/>
                        <a:pt x="701" y="619"/>
                        <a:pt x="690" y="619"/>
                      </a:cubicBezTo>
                      <a:lnTo>
                        <a:pt x="63" y="619"/>
                      </a:lnTo>
                      <a:cubicBezTo>
                        <a:pt x="52" y="619"/>
                        <a:pt x="43" y="610"/>
                        <a:pt x="43" y="599"/>
                      </a:cubicBezTo>
                      <a:cubicBezTo>
                        <a:pt x="43" y="588"/>
                        <a:pt x="52" y="579"/>
                        <a:pt x="63" y="579"/>
                      </a:cubicBezTo>
                      <a:lnTo>
                        <a:pt x="103" y="579"/>
                      </a:lnTo>
                      <a:lnTo>
                        <a:pt x="103" y="296"/>
                      </a:lnTo>
                      <a:cubicBezTo>
                        <a:pt x="45" y="286"/>
                        <a:pt x="0" y="234"/>
                        <a:pt x="0" y="173"/>
                      </a:cubicBezTo>
                      <a:cubicBezTo>
                        <a:pt x="0" y="167"/>
                        <a:pt x="3" y="161"/>
                        <a:pt x="7" y="157"/>
                      </a:cubicBezTo>
                      <a:lnTo>
                        <a:pt x="115" y="68"/>
                      </a:lnTo>
                      <a:cubicBezTo>
                        <a:pt x="119" y="65"/>
                        <a:pt x="123" y="64"/>
                        <a:pt x="128" y="64"/>
                      </a:cubicBezTo>
                      <a:lnTo>
                        <a:pt x="267" y="64"/>
                      </a:lnTo>
                      <a:cubicBezTo>
                        <a:pt x="275" y="64"/>
                        <a:pt x="283" y="69"/>
                        <a:pt x="286" y="76"/>
                      </a:cubicBezTo>
                      <a:cubicBezTo>
                        <a:pt x="301" y="114"/>
                        <a:pt x="336" y="138"/>
                        <a:pt x="377" y="138"/>
                      </a:cubicBezTo>
                      <a:cubicBezTo>
                        <a:pt x="417" y="138"/>
                        <a:pt x="453" y="114"/>
                        <a:pt x="468" y="76"/>
                      </a:cubicBezTo>
                      <a:cubicBezTo>
                        <a:pt x="471" y="69"/>
                        <a:pt x="478" y="64"/>
                        <a:pt x="486" y="64"/>
                      </a:cubicBezTo>
                      <a:lnTo>
                        <a:pt x="626" y="64"/>
                      </a:lnTo>
                      <a:cubicBezTo>
                        <a:pt x="630" y="64"/>
                        <a:pt x="635" y="65"/>
                        <a:pt x="638" y="68"/>
                      </a:cubicBezTo>
                      <a:lnTo>
                        <a:pt x="746" y="157"/>
                      </a:lnTo>
                      <a:cubicBezTo>
                        <a:pt x="751" y="161"/>
                        <a:pt x="753" y="167"/>
                        <a:pt x="753" y="173"/>
                      </a:cubicBezTo>
                      <a:cubicBezTo>
                        <a:pt x="753" y="234"/>
                        <a:pt x="709" y="286"/>
                        <a:pt x="650" y="296"/>
                      </a:cubicBezTo>
                      <a:close/>
                      <a:moveTo>
                        <a:pt x="610" y="579"/>
                      </a:moveTo>
                      <a:lnTo>
                        <a:pt x="610" y="297"/>
                      </a:lnTo>
                      <a:cubicBezTo>
                        <a:pt x="585" y="293"/>
                        <a:pt x="563" y="283"/>
                        <a:pt x="544" y="266"/>
                      </a:cubicBezTo>
                      <a:cubicBezTo>
                        <a:pt x="521" y="287"/>
                        <a:pt x="492" y="298"/>
                        <a:pt x="460" y="298"/>
                      </a:cubicBezTo>
                      <a:cubicBezTo>
                        <a:pt x="429" y="298"/>
                        <a:pt x="400" y="287"/>
                        <a:pt x="377" y="266"/>
                      </a:cubicBezTo>
                      <a:cubicBezTo>
                        <a:pt x="354" y="287"/>
                        <a:pt x="324" y="298"/>
                        <a:pt x="293" y="298"/>
                      </a:cubicBezTo>
                      <a:cubicBezTo>
                        <a:pt x="262" y="298"/>
                        <a:pt x="232" y="287"/>
                        <a:pt x="209" y="266"/>
                      </a:cubicBezTo>
                      <a:cubicBezTo>
                        <a:pt x="191" y="283"/>
                        <a:pt x="168" y="293"/>
                        <a:pt x="143" y="297"/>
                      </a:cubicBezTo>
                      <a:lnTo>
                        <a:pt x="143" y="579"/>
                      </a:lnTo>
                      <a:lnTo>
                        <a:pt x="412" y="579"/>
                      </a:lnTo>
                      <a:lnTo>
                        <a:pt x="412" y="352"/>
                      </a:lnTo>
                      <a:cubicBezTo>
                        <a:pt x="412" y="341"/>
                        <a:pt x="421" y="332"/>
                        <a:pt x="432" y="332"/>
                      </a:cubicBezTo>
                      <a:lnTo>
                        <a:pt x="567" y="332"/>
                      </a:lnTo>
                      <a:cubicBezTo>
                        <a:pt x="578" y="332"/>
                        <a:pt x="587" y="341"/>
                        <a:pt x="587" y="352"/>
                      </a:cubicBezTo>
                      <a:lnTo>
                        <a:pt x="587" y="579"/>
                      </a:lnTo>
                      <a:lnTo>
                        <a:pt x="610" y="579"/>
                      </a:lnTo>
                      <a:close/>
                      <a:moveTo>
                        <a:pt x="389" y="352"/>
                      </a:moveTo>
                      <a:lnTo>
                        <a:pt x="389" y="515"/>
                      </a:lnTo>
                      <a:cubicBezTo>
                        <a:pt x="389" y="527"/>
                        <a:pt x="380" y="535"/>
                        <a:pt x="369" y="535"/>
                      </a:cubicBezTo>
                      <a:lnTo>
                        <a:pt x="186" y="535"/>
                      </a:lnTo>
                      <a:cubicBezTo>
                        <a:pt x="175" y="535"/>
                        <a:pt x="166" y="527"/>
                        <a:pt x="166" y="515"/>
                      </a:cubicBezTo>
                      <a:lnTo>
                        <a:pt x="166" y="352"/>
                      </a:lnTo>
                      <a:cubicBezTo>
                        <a:pt x="166" y="341"/>
                        <a:pt x="175" y="332"/>
                        <a:pt x="186" y="332"/>
                      </a:cubicBezTo>
                      <a:lnTo>
                        <a:pt x="369" y="332"/>
                      </a:lnTo>
                      <a:cubicBezTo>
                        <a:pt x="380" y="332"/>
                        <a:pt x="389" y="341"/>
                        <a:pt x="389" y="352"/>
                      </a:cubicBezTo>
                      <a:close/>
                      <a:moveTo>
                        <a:pt x="349" y="372"/>
                      </a:moveTo>
                      <a:lnTo>
                        <a:pt x="206" y="372"/>
                      </a:lnTo>
                      <a:lnTo>
                        <a:pt x="206" y="495"/>
                      </a:lnTo>
                      <a:lnTo>
                        <a:pt x="349" y="495"/>
                      </a:lnTo>
                      <a:lnTo>
                        <a:pt x="349" y="372"/>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sp>
            <p:nvSpPr>
              <p:cNvPr id="23" name="îşlïḍe"/>
              <p:cNvSpPr/>
              <p:nvPr/>
            </p:nvSpPr>
            <p:spPr>
              <a:xfrm>
                <a:off x="1393417" y="3886200"/>
                <a:ext cx="2328986" cy="804094"/>
              </a:xfrm>
              <a:prstGeom prst="rect">
                <a:avLst/>
              </a:prstGeom>
            </p:spPr>
            <p:txBody>
              <a:bodyPr wrap="square" lIns="91440" tIns="45720" rIns="91440" bIns="45720" anchor="ctr">
                <a:normAutofit/>
              </a:bodyPr>
              <a:lstStyle/>
              <a:p>
                <a:r>
                  <a:rPr lang="zh-CN" altLang="en-US" dirty="0"/>
                  <a:t>灵活调整还款计划、支持延迟付息</a:t>
                </a:r>
                <a:endParaRPr lang="zh-CN" altLang="en-US" dirty="0"/>
              </a:p>
            </p:txBody>
          </p:sp>
          <p:grpSp>
            <p:nvGrpSpPr>
              <p:cNvPr id="24" name="is1iďè"/>
              <p:cNvGrpSpPr/>
              <p:nvPr/>
            </p:nvGrpSpPr>
            <p:grpSpPr>
              <a:xfrm>
                <a:off x="626583" y="4906712"/>
                <a:ext cx="719376" cy="719378"/>
                <a:chOff x="6356293" y="5021567"/>
                <a:chExt cx="626342" cy="626342"/>
              </a:xfrm>
            </p:grpSpPr>
            <p:sp>
              <p:nvSpPr>
                <p:cNvPr id="27" name="iṡḷiďè"/>
                <p:cNvSpPr/>
                <p:nvPr/>
              </p:nvSpPr>
              <p:spPr>
                <a:xfrm>
                  <a:off x="6356293" y="5021567"/>
                  <a:ext cx="626342" cy="626342"/>
                </a:xfrm>
                <a:prstGeom prst="ellipse">
                  <a:avLst/>
                </a:prstGeom>
                <a:solidFill>
                  <a:schemeClr val="accent1"/>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28" name="îşļíḓè"/>
                <p:cNvSpPr/>
                <p:nvPr/>
              </p:nvSpPr>
              <p:spPr>
                <a:xfrm>
                  <a:off x="6509879" y="5238186"/>
                  <a:ext cx="311141" cy="243687"/>
                </a:xfrm>
                <a:custGeom>
                  <a:avLst/>
                  <a:gdLst>
                    <a:gd name="T0" fmla="*/ 140 w 667"/>
                    <a:gd name="T1" fmla="*/ 182 h 523"/>
                    <a:gd name="T2" fmla="*/ 160 w 667"/>
                    <a:gd name="T3" fmla="*/ 162 h 523"/>
                    <a:gd name="T4" fmla="*/ 507 w 667"/>
                    <a:gd name="T5" fmla="*/ 162 h 523"/>
                    <a:gd name="T6" fmla="*/ 527 w 667"/>
                    <a:gd name="T7" fmla="*/ 182 h 523"/>
                    <a:gd name="T8" fmla="*/ 507 w 667"/>
                    <a:gd name="T9" fmla="*/ 202 h 523"/>
                    <a:gd name="T10" fmla="*/ 160 w 667"/>
                    <a:gd name="T11" fmla="*/ 202 h 523"/>
                    <a:gd name="T12" fmla="*/ 140 w 667"/>
                    <a:gd name="T13" fmla="*/ 182 h 523"/>
                    <a:gd name="T14" fmla="*/ 160 w 667"/>
                    <a:gd name="T15" fmla="*/ 426 h 523"/>
                    <a:gd name="T16" fmla="*/ 507 w 667"/>
                    <a:gd name="T17" fmla="*/ 426 h 523"/>
                    <a:gd name="T18" fmla="*/ 527 w 667"/>
                    <a:gd name="T19" fmla="*/ 406 h 523"/>
                    <a:gd name="T20" fmla="*/ 507 w 667"/>
                    <a:gd name="T21" fmla="*/ 386 h 523"/>
                    <a:gd name="T22" fmla="*/ 160 w 667"/>
                    <a:gd name="T23" fmla="*/ 386 h 523"/>
                    <a:gd name="T24" fmla="*/ 140 w 667"/>
                    <a:gd name="T25" fmla="*/ 406 h 523"/>
                    <a:gd name="T26" fmla="*/ 160 w 667"/>
                    <a:gd name="T27" fmla="*/ 426 h 523"/>
                    <a:gd name="T28" fmla="*/ 160 w 667"/>
                    <a:gd name="T29" fmla="*/ 276 h 523"/>
                    <a:gd name="T30" fmla="*/ 507 w 667"/>
                    <a:gd name="T31" fmla="*/ 276 h 523"/>
                    <a:gd name="T32" fmla="*/ 527 w 667"/>
                    <a:gd name="T33" fmla="*/ 256 h 523"/>
                    <a:gd name="T34" fmla="*/ 507 w 667"/>
                    <a:gd name="T35" fmla="*/ 236 h 523"/>
                    <a:gd name="T36" fmla="*/ 160 w 667"/>
                    <a:gd name="T37" fmla="*/ 236 h 523"/>
                    <a:gd name="T38" fmla="*/ 140 w 667"/>
                    <a:gd name="T39" fmla="*/ 256 h 523"/>
                    <a:gd name="T40" fmla="*/ 160 w 667"/>
                    <a:gd name="T41" fmla="*/ 276 h 523"/>
                    <a:gd name="T42" fmla="*/ 160 w 667"/>
                    <a:gd name="T43" fmla="*/ 352 h 523"/>
                    <a:gd name="T44" fmla="*/ 507 w 667"/>
                    <a:gd name="T45" fmla="*/ 352 h 523"/>
                    <a:gd name="T46" fmla="*/ 527 w 667"/>
                    <a:gd name="T47" fmla="*/ 332 h 523"/>
                    <a:gd name="T48" fmla="*/ 507 w 667"/>
                    <a:gd name="T49" fmla="*/ 312 h 523"/>
                    <a:gd name="T50" fmla="*/ 160 w 667"/>
                    <a:gd name="T51" fmla="*/ 312 h 523"/>
                    <a:gd name="T52" fmla="*/ 140 w 667"/>
                    <a:gd name="T53" fmla="*/ 332 h 523"/>
                    <a:gd name="T54" fmla="*/ 160 w 667"/>
                    <a:gd name="T55" fmla="*/ 352 h 523"/>
                    <a:gd name="T56" fmla="*/ 607 w 667"/>
                    <a:gd name="T57" fmla="*/ 105 h 523"/>
                    <a:gd name="T58" fmla="*/ 607 w 667"/>
                    <a:gd name="T59" fmla="*/ 483 h 523"/>
                    <a:gd name="T60" fmla="*/ 647 w 667"/>
                    <a:gd name="T61" fmla="*/ 483 h 523"/>
                    <a:gd name="T62" fmla="*/ 667 w 667"/>
                    <a:gd name="T63" fmla="*/ 503 h 523"/>
                    <a:gd name="T64" fmla="*/ 647 w 667"/>
                    <a:gd name="T65" fmla="*/ 523 h 523"/>
                    <a:gd name="T66" fmla="*/ 20 w 667"/>
                    <a:gd name="T67" fmla="*/ 523 h 523"/>
                    <a:gd name="T68" fmla="*/ 0 w 667"/>
                    <a:gd name="T69" fmla="*/ 503 h 523"/>
                    <a:gd name="T70" fmla="*/ 20 w 667"/>
                    <a:gd name="T71" fmla="*/ 483 h 523"/>
                    <a:gd name="T72" fmla="*/ 60 w 667"/>
                    <a:gd name="T73" fmla="*/ 483 h 523"/>
                    <a:gd name="T74" fmla="*/ 60 w 667"/>
                    <a:gd name="T75" fmla="*/ 105 h 523"/>
                    <a:gd name="T76" fmla="*/ 20 w 667"/>
                    <a:gd name="T77" fmla="*/ 105 h 523"/>
                    <a:gd name="T78" fmla="*/ 0 w 667"/>
                    <a:gd name="T79" fmla="*/ 85 h 523"/>
                    <a:gd name="T80" fmla="*/ 0 w 667"/>
                    <a:gd name="T81" fmla="*/ 20 h 523"/>
                    <a:gd name="T82" fmla="*/ 20 w 667"/>
                    <a:gd name="T83" fmla="*/ 0 h 523"/>
                    <a:gd name="T84" fmla="*/ 647 w 667"/>
                    <a:gd name="T85" fmla="*/ 0 h 523"/>
                    <a:gd name="T86" fmla="*/ 667 w 667"/>
                    <a:gd name="T87" fmla="*/ 20 h 523"/>
                    <a:gd name="T88" fmla="*/ 667 w 667"/>
                    <a:gd name="T89" fmla="*/ 85 h 523"/>
                    <a:gd name="T90" fmla="*/ 647 w 667"/>
                    <a:gd name="T91" fmla="*/ 105 h 523"/>
                    <a:gd name="T92" fmla="*/ 607 w 667"/>
                    <a:gd name="T93" fmla="*/ 105 h 523"/>
                    <a:gd name="T94" fmla="*/ 567 w 667"/>
                    <a:gd name="T95" fmla="*/ 105 h 523"/>
                    <a:gd name="T96" fmla="*/ 100 w 667"/>
                    <a:gd name="T97" fmla="*/ 105 h 523"/>
                    <a:gd name="T98" fmla="*/ 100 w 667"/>
                    <a:gd name="T99" fmla="*/ 483 h 523"/>
                    <a:gd name="T100" fmla="*/ 567 w 667"/>
                    <a:gd name="T101" fmla="*/ 483 h 523"/>
                    <a:gd name="T102" fmla="*/ 567 w 667"/>
                    <a:gd name="T103" fmla="*/ 10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7" h="523">
                      <a:moveTo>
                        <a:pt x="140" y="182"/>
                      </a:moveTo>
                      <a:cubicBezTo>
                        <a:pt x="140" y="171"/>
                        <a:pt x="149" y="162"/>
                        <a:pt x="160" y="162"/>
                      </a:cubicBezTo>
                      <a:lnTo>
                        <a:pt x="507" y="162"/>
                      </a:lnTo>
                      <a:cubicBezTo>
                        <a:pt x="518" y="162"/>
                        <a:pt x="527" y="171"/>
                        <a:pt x="527" y="182"/>
                      </a:cubicBezTo>
                      <a:cubicBezTo>
                        <a:pt x="527" y="193"/>
                        <a:pt x="518" y="202"/>
                        <a:pt x="507" y="202"/>
                      </a:cubicBezTo>
                      <a:lnTo>
                        <a:pt x="160" y="202"/>
                      </a:lnTo>
                      <a:cubicBezTo>
                        <a:pt x="149" y="202"/>
                        <a:pt x="140" y="193"/>
                        <a:pt x="140" y="182"/>
                      </a:cubicBezTo>
                      <a:close/>
                      <a:moveTo>
                        <a:pt x="160" y="426"/>
                      </a:moveTo>
                      <a:lnTo>
                        <a:pt x="507" y="426"/>
                      </a:lnTo>
                      <a:cubicBezTo>
                        <a:pt x="518" y="426"/>
                        <a:pt x="527" y="417"/>
                        <a:pt x="527" y="406"/>
                      </a:cubicBezTo>
                      <a:cubicBezTo>
                        <a:pt x="527" y="395"/>
                        <a:pt x="518" y="386"/>
                        <a:pt x="507" y="386"/>
                      </a:cubicBezTo>
                      <a:lnTo>
                        <a:pt x="160" y="386"/>
                      </a:lnTo>
                      <a:cubicBezTo>
                        <a:pt x="149" y="386"/>
                        <a:pt x="140" y="395"/>
                        <a:pt x="140" y="406"/>
                      </a:cubicBezTo>
                      <a:cubicBezTo>
                        <a:pt x="140" y="417"/>
                        <a:pt x="149" y="426"/>
                        <a:pt x="160" y="426"/>
                      </a:cubicBezTo>
                      <a:close/>
                      <a:moveTo>
                        <a:pt x="160" y="276"/>
                      </a:moveTo>
                      <a:lnTo>
                        <a:pt x="507" y="276"/>
                      </a:lnTo>
                      <a:cubicBezTo>
                        <a:pt x="518" y="276"/>
                        <a:pt x="527" y="267"/>
                        <a:pt x="527" y="256"/>
                      </a:cubicBezTo>
                      <a:cubicBezTo>
                        <a:pt x="527" y="245"/>
                        <a:pt x="518" y="236"/>
                        <a:pt x="507" y="236"/>
                      </a:cubicBezTo>
                      <a:lnTo>
                        <a:pt x="160" y="236"/>
                      </a:lnTo>
                      <a:cubicBezTo>
                        <a:pt x="149" y="236"/>
                        <a:pt x="140" y="245"/>
                        <a:pt x="140" y="256"/>
                      </a:cubicBezTo>
                      <a:cubicBezTo>
                        <a:pt x="140" y="267"/>
                        <a:pt x="149" y="276"/>
                        <a:pt x="160" y="276"/>
                      </a:cubicBezTo>
                      <a:close/>
                      <a:moveTo>
                        <a:pt x="160" y="352"/>
                      </a:moveTo>
                      <a:lnTo>
                        <a:pt x="507" y="352"/>
                      </a:lnTo>
                      <a:cubicBezTo>
                        <a:pt x="518" y="352"/>
                        <a:pt x="527" y="343"/>
                        <a:pt x="527" y="332"/>
                      </a:cubicBezTo>
                      <a:cubicBezTo>
                        <a:pt x="527" y="321"/>
                        <a:pt x="518" y="312"/>
                        <a:pt x="507" y="312"/>
                      </a:cubicBezTo>
                      <a:lnTo>
                        <a:pt x="160" y="312"/>
                      </a:lnTo>
                      <a:cubicBezTo>
                        <a:pt x="149" y="312"/>
                        <a:pt x="140" y="321"/>
                        <a:pt x="140" y="332"/>
                      </a:cubicBezTo>
                      <a:cubicBezTo>
                        <a:pt x="140" y="343"/>
                        <a:pt x="149" y="352"/>
                        <a:pt x="160" y="352"/>
                      </a:cubicBezTo>
                      <a:close/>
                      <a:moveTo>
                        <a:pt x="607" y="105"/>
                      </a:moveTo>
                      <a:lnTo>
                        <a:pt x="607" y="483"/>
                      </a:lnTo>
                      <a:lnTo>
                        <a:pt x="647" y="483"/>
                      </a:lnTo>
                      <a:cubicBezTo>
                        <a:pt x="658" y="483"/>
                        <a:pt x="667" y="492"/>
                        <a:pt x="667" y="503"/>
                      </a:cubicBezTo>
                      <a:cubicBezTo>
                        <a:pt x="667" y="514"/>
                        <a:pt x="658" y="523"/>
                        <a:pt x="647" y="523"/>
                      </a:cubicBezTo>
                      <a:lnTo>
                        <a:pt x="20" y="523"/>
                      </a:lnTo>
                      <a:cubicBezTo>
                        <a:pt x="9" y="523"/>
                        <a:pt x="0" y="514"/>
                        <a:pt x="0" y="503"/>
                      </a:cubicBezTo>
                      <a:cubicBezTo>
                        <a:pt x="0" y="492"/>
                        <a:pt x="9" y="483"/>
                        <a:pt x="20" y="483"/>
                      </a:cubicBezTo>
                      <a:lnTo>
                        <a:pt x="60" y="483"/>
                      </a:lnTo>
                      <a:lnTo>
                        <a:pt x="60" y="105"/>
                      </a:lnTo>
                      <a:lnTo>
                        <a:pt x="20" y="105"/>
                      </a:lnTo>
                      <a:cubicBezTo>
                        <a:pt x="9" y="105"/>
                        <a:pt x="0" y="96"/>
                        <a:pt x="0" y="85"/>
                      </a:cubicBezTo>
                      <a:lnTo>
                        <a:pt x="0" y="20"/>
                      </a:lnTo>
                      <a:cubicBezTo>
                        <a:pt x="0" y="9"/>
                        <a:pt x="9" y="0"/>
                        <a:pt x="20" y="0"/>
                      </a:cubicBezTo>
                      <a:lnTo>
                        <a:pt x="647" y="0"/>
                      </a:lnTo>
                      <a:cubicBezTo>
                        <a:pt x="658" y="0"/>
                        <a:pt x="667" y="9"/>
                        <a:pt x="667" y="20"/>
                      </a:cubicBezTo>
                      <a:lnTo>
                        <a:pt x="667" y="85"/>
                      </a:lnTo>
                      <a:cubicBezTo>
                        <a:pt x="667" y="96"/>
                        <a:pt x="658" y="105"/>
                        <a:pt x="647" y="105"/>
                      </a:cubicBezTo>
                      <a:lnTo>
                        <a:pt x="607" y="105"/>
                      </a:lnTo>
                      <a:close/>
                      <a:moveTo>
                        <a:pt x="567" y="105"/>
                      </a:moveTo>
                      <a:lnTo>
                        <a:pt x="100" y="105"/>
                      </a:lnTo>
                      <a:lnTo>
                        <a:pt x="100" y="483"/>
                      </a:lnTo>
                      <a:lnTo>
                        <a:pt x="567" y="483"/>
                      </a:lnTo>
                      <a:lnTo>
                        <a:pt x="567" y="105"/>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sp>
            <p:nvSpPr>
              <p:cNvPr id="26" name="îṣļíḋe"/>
              <p:cNvSpPr/>
              <p:nvPr/>
            </p:nvSpPr>
            <p:spPr>
              <a:xfrm>
                <a:off x="1393417" y="5119549"/>
                <a:ext cx="2834610" cy="422126"/>
              </a:xfrm>
              <a:prstGeom prst="rect">
                <a:avLst/>
              </a:prstGeom>
            </p:spPr>
            <p:txBody>
              <a:bodyPr wrap="square" lIns="91440" tIns="45720" rIns="91440" bIns="45720" anchor="ctr">
                <a:normAutofit/>
              </a:bodyPr>
              <a:lstStyle/>
              <a:p>
                <a:r>
                  <a:rPr lang="zh-CN" altLang="en-US" dirty="0"/>
                  <a:t>提供无还本续贷服务</a:t>
                </a:r>
                <a:endParaRPr lang="zh-CN" altLang="en-US" dirty="0"/>
              </a:p>
            </p:txBody>
          </p:sp>
        </p:grpSp>
        <p:grpSp>
          <p:nvGrpSpPr>
            <p:cNvPr id="11" name="íṣ1ïḑê"/>
            <p:cNvGrpSpPr/>
            <p:nvPr/>
          </p:nvGrpSpPr>
          <p:grpSpPr>
            <a:xfrm>
              <a:off x="10799524" y="3886200"/>
              <a:ext cx="719376" cy="719376"/>
              <a:chOff x="6356293" y="5213246"/>
              <a:chExt cx="626342" cy="626342"/>
            </a:xfrm>
          </p:grpSpPr>
          <p:sp>
            <p:nvSpPr>
              <p:cNvPr id="19" name="îşḷídé"/>
              <p:cNvSpPr/>
              <p:nvPr/>
            </p:nvSpPr>
            <p:spPr>
              <a:xfrm>
                <a:off x="6356293" y="5213246"/>
                <a:ext cx="626342" cy="626342"/>
              </a:xfrm>
              <a:prstGeom prst="ellipse">
                <a:avLst/>
              </a:prstGeom>
              <a:solidFill>
                <a:srgbClr val="C00000"/>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20" name="íṣľïḓe"/>
              <p:cNvSpPr/>
              <p:nvPr/>
            </p:nvSpPr>
            <p:spPr>
              <a:xfrm>
                <a:off x="6513894" y="5398735"/>
                <a:ext cx="311141" cy="255359"/>
              </a:xfrm>
              <a:custGeom>
                <a:avLst/>
                <a:gdLst>
                  <a:gd name="T0" fmla="*/ 318 w 753"/>
                  <a:gd name="T1" fmla="*/ 47 h 619"/>
                  <a:gd name="T2" fmla="*/ 369 w 753"/>
                  <a:gd name="T3" fmla="*/ 69 h 619"/>
                  <a:gd name="T4" fmla="*/ 458 w 753"/>
                  <a:gd name="T5" fmla="*/ 8 h 619"/>
                  <a:gd name="T6" fmla="*/ 383 w 753"/>
                  <a:gd name="T7" fmla="*/ 112 h 619"/>
                  <a:gd name="T8" fmla="*/ 355 w 753"/>
                  <a:gd name="T9" fmla="*/ 112 h 619"/>
                  <a:gd name="T10" fmla="*/ 650 w 753"/>
                  <a:gd name="T11" fmla="*/ 296 h 619"/>
                  <a:gd name="T12" fmla="*/ 690 w 753"/>
                  <a:gd name="T13" fmla="*/ 579 h 619"/>
                  <a:gd name="T14" fmla="*/ 690 w 753"/>
                  <a:gd name="T15" fmla="*/ 619 h 619"/>
                  <a:gd name="T16" fmla="*/ 43 w 753"/>
                  <a:gd name="T17" fmla="*/ 599 h 619"/>
                  <a:gd name="T18" fmla="*/ 103 w 753"/>
                  <a:gd name="T19" fmla="*/ 579 h 619"/>
                  <a:gd name="T20" fmla="*/ 0 w 753"/>
                  <a:gd name="T21" fmla="*/ 173 h 619"/>
                  <a:gd name="T22" fmla="*/ 115 w 753"/>
                  <a:gd name="T23" fmla="*/ 68 h 619"/>
                  <a:gd name="T24" fmla="*/ 267 w 753"/>
                  <a:gd name="T25" fmla="*/ 64 h 619"/>
                  <a:gd name="T26" fmla="*/ 377 w 753"/>
                  <a:gd name="T27" fmla="*/ 138 h 619"/>
                  <a:gd name="T28" fmla="*/ 486 w 753"/>
                  <a:gd name="T29" fmla="*/ 64 h 619"/>
                  <a:gd name="T30" fmla="*/ 638 w 753"/>
                  <a:gd name="T31" fmla="*/ 68 h 619"/>
                  <a:gd name="T32" fmla="*/ 753 w 753"/>
                  <a:gd name="T33" fmla="*/ 173 h 619"/>
                  <a:gd name="T34" fmla="*/ 610 w 753"/>
                  <a:gd name="T35" fmla="*/ 579 h 619"/>
                  <a:gd name="T36" fmla="*/ 544 w 753"/>
                  <a:gd name="T37" fmla="*/ 266 h 619"/>
                  <a:gd name="T38" fmla="*/ 377 w 753"/>
                  <a:gd name="T39" fmla="*/ 266 h 619"/>
                  <a:gd name="T40" fmla="*/ 209 w 753"/>
                  <a:gd name="T41" fmla="*/ 266 h 619"/>
                  <a:gd name="T42" fmla="*/ 143 w 753"/>
                  <a:gd name="T43" fmla="*/ 579 h 619"/>
                  <a:gd name="T44" fmla="*/ 412 w 753"/>
                  <a:gd name="T45" fmla="*/ 352 h 619"/>
                  <a:gd name="T46" fmla="*/ 567 w 753"/>
                  <a:gd name="T47" fmla="*/ 332 h 619"/>
                  <a:gd name="T48" fmla="*/ 587 w 753"/>
                  <a:gd name="T49" fmla="*/ 579 h 619"/>
                  <a:gd name="T50" fmla="*/ 389 w 753"/>
                  <a:gd name="T51" fmla="*/ 352 h 619"/>
                  <a:gd name="T52" fmla="*/ 369 w 753"/>
                  <a:gd name="T53" fmla="*/ 535 h 619"/>
                  <a:gd name="T54" fmla="*/ 166 w 753"/>
                  <a:gd name="T55" fmla="*/ 515 h 619"/>
                  <a:gd name="T56" fmla="*/ 186 w 753"/>
                  <a:gd name="T57" fmla="*/ 332 h 619"/>
                  <a:gd name="T58" fmla="*/ 389 w 753"/>
                  <a:gd name="T59" fmla="*/ 352 h 619"/>
                  <a:gd name="T60" fmla="*/ 206 w 753"/>
                  <a:gd name="T61" fmla="*/ 372 h 619"/>
                  <a:gd name="T62" fmla="*/ 349 w 753"/>
                  <a:gd name="T63" fmla="*/ 495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3" h="619">
                    <a:moveTo>
                      <a:pt x="318" y="75"/>
                    </a:moveTo>
                    <a:cubicBezTo>
                      <a:pt x="311" y="67"/>
                      <a:pt x="311" y="55"/>
                      <a:pt x="318" y="47"/>
                    </a:cubicBezTo>
                    <a:cubicBezTo>
                      <a:pt x="326" y="39"/>
                      <a:pt x="339" y="39"/>
                      <a:pt x="347" y="47"/>
                    </a:cubicBezTo>
                    <a:lnTo>
                      <a:pt x="369" y="69"/>
                    </a:lnTo>
                    <a:lnTo>
                      <a:pt x="430" y="8"/>
                    </a:lnTo>
                    <a:cubicBezTo>
                      <a:pt x="438" y="0"/>
                      <a:pt x="451" y="0"/>
                      <a:pt x="458" y="8"/>
                    </a:cubicBezTo>
                    <a:cubicBezTo>
                      <a:pt x="466" y="16"/>
                      <a:pt x="466" y="28"/>
                      <a:pt x="458" y="36"/>
                    </a:cubicBezTo>
                    <a:lnTo>
                      <a:pt x="383" y="112"/>
                    </a:lnTo>
                    <a:cubicBezTo>
                      <a:pt x="379" y="115"/>
                      <a:pt x="374" y="117"/>
                      <a:pt x="369" y="117"/>
                    </a:cubicBezTo>
                    <a:cubicBezTo>
                      <a:pt x="364" y="117"/>
                      <a:pt x="359" y="115"/>
                      <a:pt x="355" y="112"/>
                    </a:cubicBezTo>
                    <a:lnTo>
                      <a:pt x="318" y="75"/>
                    </a:lnTo>
                    <a:close/>
                    <a:moveTo>
                      <a:pt x="650" y="296"/>
                    </a:moveTo>
                    <a:lnTo>
                      <a:pt x="650" y="579"/>
                    </a:lnTo>
                    <a:lnTo>
                      <a:pt x="690" y="579"/>
                    </a:lnTo>
                    <a:cubicBezTo>
                      <a:pt x="701" y="579"/>
                      <a:pt x="710" y="588"/>
                      <a:pt x="710" y="599"/>
                    </a:cubicBezTo>
                    <a:cubicBezTo>
                      <a:pt x="710" y="610"/>
                      <a:pt x="701" y="619"/>
                      <a:pt x="690" y="619"/>
                    </a:cubicBezTo>
                    <a:lnTo>
                      <a:pt x="63" y="619"/>
                    </a:lnTo>
                    <a:cubicBezTo>
                      <a:pt x="52" y="619"/>
                      <a:pt x="43" y="610"/>
                      <a:pt x="43" y="599"/>
                    </a:cubicBezTo>
                    <a:cubicBezTo>
                      <a:pt x="43" y="588"/>
                      <a:pt x="52" y="579"/>
                      <a:pt x="63" y="579"/>
                    </a:cubicBezTo>
                    <a:lnTo>
                      <a:pt x="103" y="579"/>
                    </a:lnTo>
                    <a:lnTo>
                      <a:pt x="103" y="296"/>
                    </a:lnTo>
                    <a:cubicBezTo>
                      <a:pt x="45" y="286"/>
                      <a:pt x="0" y="234"/>
                      <a:pt x="0" y="173"/>
                    </a:cubicBezTo>
                    <a:cubicBezTo>
                      <a:pt x="0" y="167"/>
                      <a:pt x="3" y="161"/>
                      <a:pt x="7" y="157"/>
                    </a:cubicBezTo>
                    <a:lnTo>
                      <a:pt x="115" y="68"/>
                    </a:lnTo>
                    <a:cubicBezTo>
                      <a:pt x="119" y="65"/>
                      <a:pt x="123" y="64"/>
                      <a:pt x="128" y="64"/>
                    </a:cubicBezTo>
                    <a:lnTo>
                      <a:pt x="267" y="64"/>
                    </a:lnTo>
                    <a:cubicBezTo>
                      <a:pt x="275" y="64"/>
                      <a:pt x="283" y="69"/>
                      <a:pt x="286" y="76"/>
                    </a:cubicBezTo>
                    <a:cubicBezTo>
                      <a:pt x="301" y="114"/>
                      <a:pt x="336" y="138"/>
                      <a:pt x="377" y="138"/>
                    </a:cubicBezTo>
                    <a:cubicBezTo>
                      <a:pt x="417" y="138"/>
                      <a:pt x="453" y="114"/>
                      <a:pt x="468" y="76"/>
                    </a:cubicBezTo>
                    <a:cubicBezTo>
                      <a:pt x="471" y="69"/>
                      <a:pt x="478" y="64"/>
                      <a:pt x="486" y="64"/>
                    </a:cubicBezTo>
                    <a:lnTo>
                      <a:pt x="626" y="64"/>
                    </a:lnTo>
                    <a:cubicBezTo>
                      <a:pt x="630" y="64"/>
                      <a:pt x="635" y="65"/>
                      <a:pt x="638" y="68"/>
                    </a:cubicBezTo>
                    <a:lnTo>
                      <a:pt x="746" y="157"/>
                    </a:lnTo>
                    <a:cubicBezTo>
                      <a:pt x="751" y="161"/>
                      <a:pt x="753" y="167"/>
                      <a:pt x="753" y="173"/>
                    </a:cubicBezTo>
                    <a:cubicBezTo>
                      <a:pt x="753" y="234"/>
                      <a:pt x="709" y="286"/>
                      <a:pt x="650" y="296"/>
                    </a:cubicBezTo>
                    <a:close/>
                    <a:moveTo>
                      <a:pt x="610" y="579"/>
                    </a:moveTo>
                    <a:lnTo>
                      <a:pt x="610" y="297"/>
                    </a:lnTo>
                    <a:cubicBezTo>
                      <a:pt x="585" y="293"/>
                      <a:pt x="563" y="283"/>
                      <a:pt x="544" y="266"/>
                    </a:cubicBezTo>
                    <a:cubicBezTo>
                      <a:pt x="521" y="287"/>
                      <a:pt x="492" y="298"/>
                      <a:pt x="460" y="298"/>
                    </a:cubicBezTo>
                    <a:cubicBezTo>
                      <a:pt x="429" y="298"/>
                      <a:pt x="400" y="287"/>
                      <a:pt x="377" y="266"/>
                    </a:cubicBezTo>
                    <a:cubicBezTo>
                      <a:pt x="354" y="287"/>
                      <a:pt x="324" y="298"/>
                      <a:pt x="293" y="298"/>
                    </a:cubicBezTo>
                    <a:cubicBezTo>
                      <a:pt x="262" y="298"/>
                      <a:pt x="232" y="287"/>
                      <a:pt x="209" y="266"/>
                    </a:cubicBezTo>
                    <a:cubicBezTo>
                      <a:pt x="191" y="283"/>
                      <a:pt x="168" y="293"/>
                      <a:pt x="143" y="297"/>
                    </a:cubicBezTo>
                    <a:lnTo>
                      <a:pt x="143" y="579"/>
                    </a:lnTo>
                    <a:lnTo>
                      <a:pt x="412" y="579"/>
                    </a:lnTo>
                    <a:lnTo>
                      <a:pt x="412" y="352"/>
                    </a:lnTo>
                    <a:cubicBezTo>
                      <a:pt x="412" y="341"/>
                      <a:pt x="421" y="332"/>
                      <a:pt x="432" y="332"/>
                    </a:cubicBezTo>
                    <a:lnTo>
                      <a:pt x="567" y="332"/>
                    </a:lnTo>
                    <a:cubicBezTo>
                      <a:pt x="578" y="332"/>
                      <a:pt x="587" y="341"/>
                      <a:pt x="587" y="352"/>
                    </a:cubicBezTo>
                    <a:lnTo>
                      <a:pt x="587" y="579"/>
                    </a:lnTo>
                    <a:lnTo>
                      <a:pt x="610" y="579"/>
                    </a:lnTo>
                    <a:close/>
                    <a:moveTo>
                      <a:pt x="389" y="352"/>
                    </a:moveTo>
                    <a:lnTo>
                      <a:pt x="389" y="515"/>
                    </a:lnTo>
                    <a:cubicBezTo>
                      <a:pt x="389" y="527"/>
                      <a:pt x="380" y="535"/>
                      <a:pt x="369" y="535"/>
                    </a:cubicBezTo>
                    <a:lnTo>
                      <a:pt x="186" y="535"/>
                    </a:lnTo>
                    <a:cubicBezTo>
                      <a:pt x="175" y="535"/>
                      <a:pt x="166" y="527"/>
                      <a:pt x="166" y="515"/>
                    </a:cubicBezTo>
                    <a:lnTo>
                      <a:pt x="166" y="352"/>
                    </a:lnTo>
                    <a:cubicBezTo>
                      <a:pt x="166" y="341"/>
                      <a:pt x="175" y="332"/>
                      <a:pt x="186" y="332"/>
                    </a:cubicBezTo>
                    <a:lnTo>
                      <a:pt x="369" y="332"/>
                    </a:lnTo>
                    <a:cubicBezTo>
                      <a:pt x="380" y="332"/>
                      <a:pt x="389" y="341"/>
                      <a:pt x="389" y="352"/>
                    </a:cubicBezTo>
                    <a:close/>
                    <a:moveTo>
                      <a:pt x="349" y="372"/>
                    </a:moveTo>
                    <a:lnTo>
                      <a:pt x="206" y="372"/>
                    </a:lnTo>
                    <a:lnTo>
                      <a:pt x="206" y="495"/>
                    </a:lnTo>
                    <a:lnTo>
                      <a:pt x="349" y="495"/>
                    </a:lnTo>
                    <a:lnTo>
                      <a:pt x="349" y="372"/>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grpSp>
          <p:nvGrpSpPr>
            <p:cNvPr id="12" name="íSlîḓê"/>
            <p:cNvGrpSpPr/>
            <p:nvPr/>
          </p:nvGrpSpPr>
          <p:grpSpPr>
            <a:xfrm>
              <a:off x="10799524" y="4906712"/>
              <a:ext cx="719376" cy="719378"/>
              <a:chOff x="6356293" y="5021567"/>
              <a:chExt cx="626342" cy="626342"/>
            </a:xfrm>
          </p:grpSpPr>
          <p:sp>
            <p:nvSpPr>
              <p:cNvPr id="17" name="iṧļîdé"/>
              <p:cNvSpPr/>
              <p:nvPr/>
            </p:nvSpPr>
            <p:spPr>
              <a:xfrm>
                <a:off x="6356293" y="5021567"/>
                <a:ext cx="626342" cy="626342"/>
              </a:xfrm>
              <a:prstGeom prst="ellipse">
                <a:avLst/>
              </a:prstGeom>
              <a:solidFill>
                <a:srgbClr val="C00000"/>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p>
            </p:txBody>
          </p:sp>
          <p:sp>
            <p:nvSpPr>
              <p:cNvPr id="18" name="ïşlïḋè"/>
              <p:cNvSpPr/>
              <p:nvPr/>
            </p:nvSpPr>
            <p:spPr>
              <a:xfrm>
                <a:off x="6513894" y="5215366"/>
                <a:ext cx="311141" cy="243687"/>
              </a:xfrm>
              <a:custGeom>
                <a:avLst/>
                <a:gdLst>
                  <a:gd name="T0" fmla="*/ 140 w 667"/>
                  <a:gd name="T1" fmla="*/ 182 h 523"/>
                  <a:gd name="T2" fmla="*/ 160 w 667"/>
                  <a:gd name="T3" fmla="*/ 162 h 523"/>
                  <a:gd name="T4" fmla="*/ 507 w 667"/>
                  <a:gd name="T5" fmla="*/ 162 h 523"/>
                  <a:gd name="T6" fmla="*/ 527 w 667"/>
                  <a:gd name="T7" fmla="*/ 182 h 523"/>
                  <a:gd name="T8" fmla="*/ 507 w 667"/>
                  <a:gd name="T9" fmla="*/ 202 h 523"/>
                  <a:gd name="T10" fmla="*/ 160 w 667"/>
                  <a:gd name="T11" fmla="*/ 202 h 523"/>
                  <a:gd name="T12" fmla="*/ 140 w 667"/>
                  <a:gd name="T13" fmla="*/ 182 h 523"/>
                  <a:gd name="T14" fmla="*/ 160 w 667"/>
                  <a:gd name="T15" fmla="*/ 426 h 523"/>
                  <a:gd name="T16" fmla="*/ 507 w 667"/>
                  <a:gd name="T17" fmla="*/ 426 h 523"/>
                  <a:gd name="T18" fmla="*/ 527 w 667"/>
                  <a:gd name="T19" fmla="*/ 406 h 523"/>
                  <a:gd name="T20" fmla="*/ 507 w 667"/>
                  <a:gd name="T21" fmla="*/ 386 h 523"/>
                  <a:gd name="T22" fmla="*/ 160 w 667"/>
                  <a:gd name="T23" fmla="*/ 386 h 523"/>
                  <a:gd name="T24" fmla="*/ 140 w 667"/>
                  <a:gd name="T25" fmla="*/ 406 h 523"/>
                  <a:gd name="T26" fmla="*/ 160 w 667"/>
                  <a:gd name="T27" fmla="*/ 426 h 523"/>
                  <a:gd name="T28" fmla="*/ 160 w 667"/>
                  <a:gd name="T29" fmla="*/ 276 h 523"/>
                  <a:gd name="T30" fmla="*/ 507 w 667"/>
                  <a:gd name="T31" fmla="*/ 276 h 523"/>
                  <a:gd name="T32" fmla="*/ 527 w 667"/>
                  <a:gd name="T33" fmla="*/ 256 h 523"/>
                  <a:gd name="T34" fmla="*/ 507 w 667"/>
                  <a:gd name="T35" fmla="*/ 236 h 523"/>
                  <a:gd name="T36" fmla="*/ 160 w 667"/>
                  <a:gd name="T37" fmla="*/ 236 h 523"/>
                  <a:gd name="T38" fmla="*/ 140 w 667"/>
                  <a:gd name="T39" fmla="*/ 256 h 523"/>
                  <a:gd name="T40" fmla="*/ 160 w 667"/>
                  <a:gd name="T41" fmla="*/ 276 h 523"/>
                  <a:gd name="T42" fmla="*/ 160 w 667"/>
                  <a:gd name="T43" fmla="*/ 352 h 523"/>
                  <a:gd name="T44" fmla="*/ 507 w 667"/>
                  <a:gd name="T45" fmla="*/ 352 h 523"/>
                  <a:gd name="T46" fmla="*/ 527 w 667"/>
                  <a:gd name="T47" fmla="*/ 332 h 523"/>
                  <a:gd name="T48" fmla="*/ 507 w 667"/>
                  <a:gd name="T49" fmla="*/ 312 h 523"/>
                  <a:gd name="T50" fmla="*/ 160 w 667"/>
                  <a:gd name="T51" fmla="*/ 312 h 523"/>
                  <a:gd name="T52" fmla="*/ 140 w 667"/>
                  <a:gd name="T53" fmla="*/ 332 h 523"/>
                  <a:gd name="T54" fmla="*/ 160 w 667"/>
                  <a:gd name="T55" fmla="*/ 352 h 523"/>
                  <a:gd name="T56" fmla="*/ 607 w 667"/>
                  <a:gd name="T57" fmla="*/ 105 h 523"/>
                  <a:gd name="T58" fmla="*/ 607 w 667"/>
                  <a:gd name="T59" fmla="*/ 483 h 523"/>
                  <a:gd name="T60" fmla="*/ 647 w 667"/>
                  <a:gd name="T61" fmla="*/ 483 h 523"/>
                  <a:gd name="T62" fmla="*/ 667 w 667"/>
                  <a:gd name="T63" fmla="*/ 503 h 523"/>
                  <a:gd name="T64" fmla="*/ 647 w 667"/>
                  <a:gd name="T65" fmla="*/ 523 h 523"/>
                  <a:gd name="T66" fmla="*/ 20 w 667"/>
                  <a:gd name="T67" fmla="*/ 523 h 523"/>
                  <a:gd name="T68" fmla="*/ 0 w 667"/>
                  <a:gd name="T69" fmla="*/ 503 h 523"/>
                  <a:gd name="T70" fmla="*/ 20 w 667"/>
                  <a:gd name="T71" fmla="*/ 483 h 523"/>
                  <a:gd name="T72" fmla="*/ 60 w 667"/>
                  <a:gd name="T73" fmla="*/ 483 h 523"/>
                  <a:gd name="T74" fmla="*/ 60 w 667"/>
                  <a:gd name="T75" fmla="*/ 105 h 523"/>
                  <a:gd name="T76" fmla="*/ 20 w 667"/>
                  <a:gd name="T77" fmla="*/ 105 h 523"/>
                  <a:gd name="T78" fmla="*/ 0 w 667"/>
                  <a:gd name="T79" fmla="*/ 85 h 523"/>
                  <a:gd name="T80" fmla="*/ 0 w 667"/>
                  <a:gd name="T81" fmla="*/ 20 h 523"/>
                  <a:gd name="T82" fmla="*/ 20 w 667"/>
                  <a:gd name="T83" fmla="*/ 0 h 523"/>
                  <a:gd name="T84" fmla="*/ 647 w 667"/>
                  <a:gd name="T85" fmla="*/ 0 h 523"/>
                  <a:gd name="T86" fmla="*/ 667 w 667"/>
                  <a:gd name="T87" fmla="*/ 20 h 523"/>
                  <a:gd name="T88" fmla="*/ 667 w 667"/>
                  <a:gd name="T89" fmla="*/ 85 h 523"/>
                  <a:gd name="T90" fmla="*/ 647 w 667"/>
                  <a:gd name="T91" fmla="*/ 105 h 523"/>
                  <a:gd name="T92" fmla="*/ 607 w 667"/>
                  <a:gd name="T93" fmla="*/ 105 h 523"/>
                  <a:gd name="T94" fmla="*/ 567 w 667"/>
                  <a:gd name="T95" fmla="*/ 105 h 523"/>
                  <a:gd name="T96" fmla="*/ 100 w 667"/>
                  <a:gd name="T97" fmla="*/ 105 h 523"/>
                  <a:gd name="T98" fmla="*/ 100 w 667"/>
                  <a:gd name="T99" fmla="*/ 483 h 523"/>
                  <a:gd name="T100" fmla="*/ 567 w 667"/>
                  <a:gd name="T101" fmla="*/ 483 h 523"/>
                  <a:gd name="T102" fmla="*/ 567 w 667"/>
                  <a:gd name="T103" fmla="*/ 10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7" h="523">
                    <a:moveTo>
                      <a:pt x="140" y="182"/>
                    </a:moveTo>
                    <a:cubicBezTo>
                      <a:pt x="140" y="171"/>
                      <a:pt x="149" y="162"/>
                      <a:pt x="160" y="162"/>
                    </a:cubicBezTo>
                    <a:lnTo>
                      <a:pt x="507" y="162"/>
                    </a:lnTo>
                    <a:cubicBezTo>
                      <a:pt x="518" y="162"/>
                      <a:pt x="527" y="171"/>
                      <a:pt x="527" y="182"/>
                    </a:cubicBezTo>
                    <a:cubicBezTo>
                      <a:pt x="527" y="193"/>
                      <a:pt x="518" y="202"/>
                      <a:pt x="507" y="202"/>
                    </a:cubicBezTo>
                    <a:lnTo>
                      <a:pt x="160" y="202"/>
                    </a:lnTo>
                    <a:cubicBezTo>
                      <a:pt x="149" y="202"/>
                      <a:pt x="140" y="193"/>
                      <a:pt x="140" y="182"/>
                    </a:cubicBezTo>
                    <a:close/>
                    <a:moveTo>
                      <a:pt x="160" y="426"/>
                    </a:moveTo>
                    <a:lnTo>
                      <a:pt x="507" y="426"/>
                    </a:lnTo>
                    <a:cubicBezTo>
                      <a:pt x="518" y="426"/>
                      <a:pt x="527" y="417"/>
                      <a:pt x="527" y="406"/>
                    </a:cubicBezTo>
                    <a:cubicBezTo>
                      <a:pt x="527" y="395"/>
                      <a:pt x="518" y="386"/>
                      <a:pt x="507" y="386"/>
                    </a:cubicBezTo>
                    <a:lnTo>
                      <a:pt x="160" y="386"/>
                    </a:lnTo>
                    <a:cubicBezTo>
                      <a:pt x="149" y="386"/>
                      <a:pt x="140" y="395"/>
                      <a:pt x="140" y="406"/>
                    </a:cubicBezTo>
                    <a:cubicBezTo>
                      <a:pt x="140" y="417"/>
                      <a:pt x="149" y="426"/>
                      <a:pt x="160" y="426"/>
                    </a:cubicBezTo>
                    <a:close/>
                    <a:moveTo>
                      <a:pt x="160" y="276"/>
                    </a:moveTo>
                    <a:lnTo>
                      <a:pt x="507" y="276"/>
                    </a:lnTo>
                    <a:cubicBezTo>
                      <a:pt x="518" y="276"/>
                      <a:pt x="527" y="267"/>
                      <a:pt x="527" y="256"/>
                    </a:cubicBezTo>
                    <a:cubicBezTo>
                      <a:pt x="527" y="245"/>
                      <a:pt x="518" y="236"/>
                      <a:pt x="507" y="236"/>
                    </a:cubicBezTo>
                    <a:lnTo>
                      <a:pt x="160" y="236"/>
                    </a:lnTo>
                    <a:cubicBezTo>
                      <a:pt x="149" y="236"/>
                      <a:pt x="140" y="245"/>
                      <a:pt x="140" y="256"/>
                    </a:cubicBezTo>
                    <a:cubicBezTo>
                      <a:pt x="140" y="267"/>
                      <a:pt x="149" y="276"/>
                      <a:pt x="160" y="276"/>
                    </a:cubicBezTo>
                    <a:close/>
                    <a:moveTo>
                      <a:pt x="160" y="352"/>
                    </a:moveTo>
                    <a:lnTo>
                      <a:pt x="507" y="352"/>
                    </a:lnTo>
                    <a:cubicBezTo>
                      <a:pt x="518" y="352"/>
                      <a:pt x="527" y="343"/>
                      <a:pt x="527" y="332"/>
                    </a:cubicBezTo>
                    <a:cubicBezTo>
                      <a:pt x="527" y="321"/>
                      <a:pt x="518" y="312"/>
                      <a:pt x="507" y="312"/>
                    </a:cubicBezTo>
                    <a:lnTo>
                      <a:pt x="160" y="312"/>
                    </a:lnTo>
                    <a:cubicBezTo>
                      <a:pt x="149" y="312"/>
                      <a:pt x="140" y="321"/>
                      <a:pt x="140" y="332"/>
                    </a:cubicBezTo>
                    <a:cubicBezTo>
                      <a:pt x="140" y="343"/>
                      <a:pt x="149" y="352"/>
                      <a:pt x="160" y="352"/>
                    </a:cubicBezTo>
                    <a:close/>
                    <a:moveTo>
                      <a:pt x="607" y="105"/>
                    </a:moveTo>
                    <a:lnTo>
                      <a:pt x="607" y="483"/>
                    </a:lnTo>
                    <a:lnTo>
                      <a:pt x="647" y="483"/>
                    </a:lnTo>
                    <a:cubicBezTo>
                      <a:pt x="658" y="483"/>
                      <a:pt x="667" y="492"/>
                      <a:pt x="667" y="503"/>
                    </a:cubicBezTo>
                    <a:cubicBezTo>
                      <a:pt x="667" y="514"/>
                      <a:pt x="658" y="523"/>
                      <a:pt x="647" y="523"/>
                    </a:cubicBezTo>
                    <a:lnTo>
                      <a:pt x="20" y="523"/>
                    </a:lnTo>
                    <a:cubicBezTo>
                      <a:pt x="9" y="523"/>
                      <a:pt x="0" y="514"/>
                      <a:pt x="0" y="503"/>
                    </a:cubicBezTo>
                    <a:cubicBezTo>
                      <a:pt x="0" y="492"/>
                      <a:pt x="9" y="483"/>
                      <a:pt x="20" y="483"/>
                    </a:cubicBezTo>
                    <a:lnTo>
                      <a:pt x="60" y="483"/>
                    </a:lnTo>
                    <a:lnTo>
                      <a:pt x="60" y="105"/>
                    </a:lnTo>
                    <a:lnTo>
                      <a:pt x="20" y="105"/>
                    </a:lnTo>
                    <a:cubicBezTo>
                      <a:pt x="9" y="105"/>
                      <a:pt x="0" y="96"/>
                      <a:pt x="0" y="85"/>
                    </a:cubicBezTo>
                    <a:lnTo>
                      <a:pt x="0" y="20"/>
                    </a:lnTo>
                    <a:cubicBezTo>
                      <a:pt x="0" y="9"/>
                      <a:pt x="9" y="0"/>
                      <a:pt x="20" y="0"/>
                    </a:cubicBezTo>
                    <a:lnTo>
                      <a:pt x="647" y="0"/>
                    </a:lnTo>
                    <a:cubicBezTo>
                      <a:pt x="658" y="0"/>
                      <a:pt x="667" y="9"/>
                      <a:pt x="667" y="20"/>
                    </a:cubicBezTo>
                    <a:lnTo>
                      <a:pt x="667" y="85"/>
                    </a:lnTo>
                    <a:cubicBezTo>
                      <a:pt x="667" y="96"/>
                      <a:pt x="658" y="105"/>
                      <a:pt x="647" y="105"/>
                    </a:cubicBezTo>
                    <a:lnTo>
                      <a:pt x="607" y="105"/>
                    </a:lnTo>
                    <a:close/>
                    <a:moveTo>
                      <a:pt x="567" y="105"/>
                    </a:moveTo>
                    <a:lnTo>
                      <a:pt x="100" y="105"/>
                    </a:lnTo>
                    <a:lnTo>
                      <a:pt x="100" y="483"/>
                    </a:lnTo>
                    <a:lnTo>
                      <a:pt x="567" y="483"/>
                    </a:lnTo>
                    <a:lnTo>
                      <a:pt x="567" y="105"/>
                    </a:lnTo>
                    <a:close/>
                  </a:path>
                </a:pathLst>
              </a:custGeom>
              <a:solidFill>
                <a:schemeClr val="bg1"/>
              </a:solidFill>
              <a:ln>
                <a:noFill/>
              </a:ln>
              <a:effec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p>
            </p:txBody>
          </p:sp>
        </p:grpSp>
        <p:sp>
          <p:nvSpPr>
            <p:cNvPr id="14" name="îŝ1îḑe"/>
            <p:cNvSpPr/>
            <p:nvPr/>
          </p:nvSpPr>
          <p:spPr>
            <a:xfrm>
              <a:off x="7857529" y="4002391"/>
              <a:ext cx="2949984" cy="422126"/>
            </a:xfrm>
            <a:prstGeom prst="rect">
              <a:avLst/>
            </a:prstGeom>
          </p:spPr>
          <p:txBody>
            <a:bodyPr wrap="square" lIns="91440" tIns="45720" rIns="91440" bIns="45720" anchor="ctr">
              <a:normAutofit/>
            </a:bodyPr>
            <a:lstStyle/>
            <a:p>
              <a:pPr algn="r"/>
              <a:r>
                <a:rPr lang="zh-CN" altLang="en-US" dirty="0"/>
                <a:t>实施征信保护措施</a:t>
              </a:r>
              <a:endParaRPr lang="zh-CN" altLang="en-US" b="1" dirty="0"/>
            </a:p>
          </p:txBody>
        </p:sp>
        <p:sp>
          <p:nvSpPr>
            <p:cNvPr id="16" name="ïṥlíḓe"/>
            <p:cNvSpPr/>
            <p:nvPr/>
          </p:nvSpPr>
          <p:spPr>
            <a:xfrm>
              <a:off x="7505700" y="5119548"/>
              <a:ext cx="3235037" cy="422126"/>
            </a:xfrm>
            <a:prstGeom prst="rect">
              <a:avLst/>
            </a:prstGeom>
          </p:spPr>
          <p:txBody>
            <a:bodyPr wrap="square" lIns="91440" tIns="45720" rIns="91440" bIns="45720" anchor="ctr">
              <a:normAutofit/>
            </a:bodyPr>
            <a:lstStyle/>
            <a:p>
              <a:pPr algn="r"/>
              <a:r>
                <a:rPr lang="zh-CN" altLang="en-US" dirty="0"/>
                <a:t>协助申请财政贴息补贴等支持</a:t>
              </a:r>
              <a:endParaRPr lang="zh-CN" altLang="en-US" dirty="0"/>
            </a:p>
          </p:txBody>
        </p:sp>
      </p:grpSp>
      <p:sp>
        <p:nvSpPr>
          <p:cNvPr id="2" name="标题 1"/>
          <p:cNvSpPr>
            <a:spLocks noGrp="1"/>
          </p:cNvSpPr>
          <p:nvPr>
            <p:ph type="title"/>
          </p:nvPr>
        </p:nvSpPr>
        <p:spPr>
          <a:xfrm>
            <a:off x="618215" y="364158"/>
            <a:ext cx="10850563" cy="619666"/>
          </a:xfrm>
        </p:spPr>
        <p:txBody>
          <a:bodyPr>
            <a:normAutofit/>
          </a:bodyPr>
          <a:lstStyle/>
          <a:p>
            <a:r>
              <a:rPr lang="zh-CN" altLang="zh-CN" dirty="0"/>
              <a:t>全力做好受困企业金融服务</a:t>
            </a:r>
            <a:endParaRPr lang="zh-CN" altLang="zh-CN" dirty="0"/>
          </a:p>
        </p:txBody>
      </p:sp>
      <p:cxnSp>
        <p:nvCxnSpPr>
          <p:cNvPr id="4" name="直接连接符 3"/>
          <p:cNvCxnSpPr/>
          <p:nvPr/>
        </p:nvCxnSpPr>
        <p:spPr>
          <a:xfrm>
            <a:off x="643382" y="1028700"/>
            <a:ext cx="10872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普惠小微企业延期支持工具及信用贷款支持计划</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25985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custDataLst>
              <p:tags r:id="rId1"/>
            </p:custDataLst>
          </p:nvPr>
        </p:nvGrpSpPr>
        <p:grpSpPr bwMode="auto">
          <a:xfrm>
            <a:off x="335889" y="1618167"/>
            <a:ext cx="11631322" cy="4496202"/>
            <a:chOff x="336447" y="1586144"/>
            <a:chExt cx="11527156" cy="4496072"/>
          </a:xfrm>
        </p:grpSpPr>
        <p:sp>
          <p:nvSpPr>
            <p:cNvPr id="6" name="îṣḻïḋè"/>
            <p:cNvSpPr/>
            <p:nvPr/>
          </p:nvSpPr>
          <p:spPr bwMode="auto">
            <a:xfrm>
              <a:off x="1732367" y="1586144"/>
              <a:ext cx="8725504" cy="4140074"/>
            </a:xfrm>
            <a:custGeom>
              <a:avLst/>
              <a:gdLst>
                <a:gd name="connsiteX0" fmla="*/ 2095096 w 8387961"/>
                <a:gd name="connsiteY0" fmla="*/ 3909262 h 3980066"/>
                <a:gd name="connsiteX1" fmla="*/ 2120153 w 8387961"/>
                <a:gd name="connsiteY1" fmla="*/ 3912652 h 3980066"/>
                <a:gd name="connsiteX2" fmla="*/ 2123933 w 8387961"/>
                <a:gd name="connsiteY2" fmla="*/ 3923080 h 3980066"/>
                <a:gd name="connsiteX3" fmla="*/ 2126637 w 8387961"/>
                <a:gd name="connsiteY3" fmla="*/ 3927379 h 3980066"/>
                <a:gd name="connsiteX4" fmla="*/ 2162567 w 8387961"/>
                <a:gd name="connsiteY4" fmla="*/ 3954572 h 3980066"/>
                <a:gd name="connsiteX5" fmla="*/ 2215595 w 8387961"/>
                <a:gd name="connsiteY5" fmla="*/ 3971568 h 3980066"/>
                <a:gd name="connsiteX6" fmla="*/ 2219017 w 8387961"/>
                <a:gd name="connsiteY6" fmla="*/ 3980066 h 3980066"/>
                <a:gd name="connsiteX7" fmla="*/ 2181383 w 8387961"/>
                <a:gd name="connsiteY7" fmla="*/ 3978367 h 3980066"/>
                <a:gd name="connsiteX8" fmla="*/ 2143753 w 8387961"/>
                <a:gd name="connsiteY8" fmla="*/ 3978367 h 3980066"/>
                <a:gd name="connsiteX9" fmla="*/ 2142946 w 8387961"/>
                <a:gd name="connsiteY9" fmla="*/ 3976481 h 3980066"/>
                <a:gd name="connsiteX10" fmla="*/ 2138518 w 8387961"/>
                <a:gd name="connsiteY10" fmla="*/ 3975358 h 3980066"/>
                <a:gd name="connsiteX11" fmla="*/ 2125156 w 8387961"/>
                <a:gd name="connsiteY11" fmla="*/ 3977053 h 3980066"/>
                <a:gd name="connsiteX12" fmla="*/ 2100104 w 8387961"/>
                <a:gd name="connsiteY12" fmla="*/ 3973664 h 3980066"/>
                <a:gd name="connsiteX13" fmla="*/ 2090083 w 8387961"/>
                <a:gd name="connsiteY13" fmla="*/ 3973664 h 3980066"/>
                <a:gd name="connsiteX14" fmla="*/ 2068370 w 8387961"/>
                <a:gd name="connsiteY14" fmla="*/ 3970274 h 3980066"/>
                <a:gd name="connsiteX15" fmla="*/ 2073386 w 8387961"/>
                <a:gd name="connsiteY15" fmla="*/ 3966885 h 3980066"/>
                <a:gd name="connsiteX16" fmla="*/ 2088413 w 8387961"/>
                <a:gd name="connsiteY16" fmla="*/ 3963495 h 3980066"/>
                <a:gd name="connsiteX17" fmla="*/ 2095096 w 8387961"/>
                <a:gd name="connsiteY17" fmla="*/ 3966885 h 3980066"/>
                <a:gd name="connsiteX18" fmla="*/ 2101775 w 8387961"/>
                <a:gd name="connsiteY18" fmla="*/ 3966885 h 3980066"/>
                <a:gd name="connsiteX19" fmla="*/ 2090083 w 8387961"/>
                <a:gd name="connsiteY19" fmla="*/ 3960105 h 3980066"/>
                <a:gd name="connsiteX20" fmla="*/ 2105115 w 8387961"/>
                <a:gd name="connsiteY20" fmla="*/ 3963495 h 3980066"/>
                <a:gd name="connsiteX21" fmla="*/ 2113465 w 8387961"/>
                <a:gd name="connsiteY21" fmla="*/ 3965190 h 3980066"/>
                <a:gd name="connsiteX22" fmla="*/ 2125156 w 8387961"/>
                <a:gd name="connsiteY22" fmla="*/ 3966885 h 3980066"/>
                <a:gd name="connsiteX23" fmla="*/ 2130172 w 8387961"/>
                <a:gd name="connsiteY23" fmla="*/ 3968579 h 3980066"/>
                <a:gd name="connsiteX24" fmla="*/ 2100104 w 8387961"/>
                <a:gd name="connsiteY24" fmla="*/ 3949937 h 3980066"/>
                <a:gd name="connsiteX25" fmla="*/ 2111795 w 8387961"/>
                <a:gd name="connsiteY25" fmla="*/ 3936379 h 3980066"/>
                <a:gd name="connsiteX26" fmla="*/ 2093424 w 8387961"/>
                <a:gd name="connsiteY26" fmla="*/ 3936379 h 3980066"/>
                <a:gd name="connsiteX27" fmla="*/ 2085078 w 8387961"/>
                <a:gd name="connsiteY27" fmla="*/ 3914347 h 3980066"/>
                <a:gd name="connsiteX28" fmla="*/ 2319948 w 8387961"/>
                <a:gd name="connsiteY28" fmla="*/ 3876120 h 3980066"/>
                <a:gd name="connsiteX29" fmla="*/ 2304885 w 8387961"/>
                <a:gd name="connsiteY29" fmla="*/ 3894661 h 3980066"/>
                <a:gd name="connsiteX30" fmla="*/ 2289819 w 8387961"/>
                <a:gd name="connsiteY30" fmla="*/ 3900223 h 3980066"/>
                <a:gd name="connsiteX31" fmla="*/ 2296521 w 8387961"/>
                <a:gd name="connsiteY31" fmla="*/ 3890953 h 3980066"/>
                <a:gd name="connsiteX32" fmla="*/ 2293175 w 8387961"/>
                <a:gd name="connsiteY32" fmla="*/ 3887245 h 3980066"/>
                <a:gd name="connsiteX33" fmla="*/ 2296521 w 8387961"/>
                <a:gd name="connsiteY33" fmla="*/ 3887245 h 3980066"/>
                <a:gd name="connsiteX34" fmla="*/ 2291493 w 8387961"/>
                <a:gd name="connsiteY34" fmla="*/ 3877974 h 3980066"/>
                <a:gd name="connsiteX35" fmla="*/ 2325450 w 8387961"/>
                <a:gd name="connsiteY35" fmla="*/ 3873107 h 3980066"/>
                <a:gd name="connsiteX36" fmla="*/ 2335668 w 8387961"/>
                <a:gd name="connsiteY36" fmla="*/ 3876652 h 3980066"/>
                <a:gd name="connsiteX37" fmla="*/ 2340777 w 8387961"/>
                <a:gd name="connsiteY37" fmla="*/ 3878424 h 3980066"/>
                <a:gd name="connsiteX38" fmla="*/ 2347588 w 8387961"/>
                <a:gd name="connsiteY38" fmla="*/ 3878424 h 3980066"/>
                <a:gd name="connsiteX39" fmla="*/ 2356104 w 8387961"/>
                <a:gd name="connsiteY39" fmla="*/ 3885513 h 3980066"/>
                <a:gd name="connsiteX40" fmla="*/ 2333971 w 8387961"/>
                <a:gd name="connsiteY40" fmla="*/ 3892602 h 3980066"/>
                <a:gd name="connsiteX41" fmla="*/ 2333971 w 8387961"/>
                <a:gd name="connsiteY41" fmla="*/ 3896147 h 3980066"/>
                <a:gd name="connsiteX42" fmla="*/ 2330559 w 8387961"/>
                <a:gd name="connsiteY42" fmla="*/ 3897919 h 3980066"/>
                <a:gd name="connsiteX43" fmla="*/ 2325450 w 8387961"/>
                <a:gd name="connsiteY43" fmla="*/ 3903236 h 3980066"/>
                <a:gd name="connsiteX44" fmla="*/ 2316936 w 8387961"/>
                <a:gd name="connsiteY44" fmla="*/ 3894375 h 3980066"/>
                <a:gd name="connsiteX45" fmla="*/ 2325450 w 8387961"/>
                <a:gd name="connsiteY45" fmla="*/ 3883741 h 3980066"/>
                <a:gd name="connsiteX46" fmla="*/ 1935801 w 8387961"/>
                <a:gd name="connsiteY46" fmla="*/ 3802304 h 3980066"/>
                <a:gd name="connsiteX47" fmla="*/ 1947853 w 8387961"/>
                <a:gd name="connsiteY47" fmla="*/ 3827412 h 3980066"/>
                <a:gd name="connsiteX48" fmla="*/ 1944847 w 8387961"/>
                <a:gd name="connsiteY48" fmla="*/ 3839965 h 3980066"/>
                <a:gd name="connsiteX49" fmla="*/ 1938821 w 8387961"/>
                <a:gd name="connsiteY49" fmla="*/ 3834585 h 3980066"/>
                <a:gd name="connsiteX50" fmla="*/ 1925258 w 8387961"/>
                <a:gd name="connsiteY50" fmla="*/ 3816651 h 3980066"/>
                <a:gd name="connsiteX51" fmla="*/ 7613641 w 8387961"/>
                <a:gd name="connsiteY51" fmla="*/ 3742045 h 3980066"/>
                <a:gd name="connsiteX52" fmla="*/ 7621173 w 8387961"/>
                <a:gd name="connsiteY52" fmla="*/ 3743803 h 3980066"/>
                <a:gd name="connsiteX53" fmla="*/ 7621173 w 8387961"/>
                <a:gd name="connsiteY53" fmla="*/ 3747318 h 3980066"/>
                <a:gd name="connsiteX54" fmla="*/ 7604602 w 8387961"/>
                <a:gd name="connsiteY54" fmla="*/ 3752590 h 3980066"/>
                <a:gd name="connsiteX55" fmla="*/ 7198217 w 8387961"/>
                <a:gd name="connsiteY55" fmla="*/ 3564283 h 3980066"/>
                <a:gd name="connsiteX56" fmla="*/ 7221316 w 8387961"/>
                <a:gd name="connsiteY56" fmla="*/ 3572719 h 3980066"/>
                <a:gd name="connsiteX57" fmla="*/ 7242765 w 8387961"/>
                <a:gd name="connsiteY57" fmla="*/ 3582843 h 3980066"/>
                <a:gd name="connsiteX58" fmla="*/ 7247715 w 8387961"/>
                <a:gd name="connsiteY58" fmla="*/ 3571032 h 3980066"/>
                <a:gd name="connsiteX59" fmla="*/ 7280714 w 8387961"/>
                <a:gd name="connsiteY59" fmla="*/ 3567658 h 3980066"/>
                <a:gd name="connsiteX60" fmla="*/ 7255965 w 8387961"/>
                <a:gd name="connsiteY60" fmla="*/ 3606464 h 3980066"/>
                <a:gd name="connsiteX61" fmla="*/ 7252665 w 8387961"/>
                <a:gd name="connsiteY61" fmla="*/ 3604777 h 3980066"/>
                <a:gd name="connsiteX62" fmla="*/ 7222966 w 8387961"/>
                <a:gd name="connsiteY62" fmla="*/ 3636835 h 3980066"/>
                <a:gd name="connsiteX63" fmla="*/ 7226266 w 8387961"/>
                <a:gd name="connsiteY63" fmla="*/ 3631773 h 3980066"/>
                <a:gd name="connsiteX64" fmla="*/ 7221316 w 8387961"/>
                <a:gd name="connsiteY64" fmla="*/ 3631773 h 3980066"/>
                <a:gd name="connsiteX65" fmla="*/ 7218016 w 8387961"/>
                <a:gd name="connsiteY65" fmla="*/ 3628398 h 3980066"/>
                <a:gd name="connsiteX66" fmla="*/ 7188318 w 8387961"/>
                <a:gd name="connsiteY66" fmla="*/ 3648645 h 3980066"/>
                <a:gd name="connsiteX67" fmla="*/ 7176768 w 8387961"/>
                <a:gd name="connsiteY67" fmla="*/ 3641896 h 3980066"/>
                <a:gd name="connsiteX68" fmla="*/ 7178418 w 8387961"/>
                <a:gd name="connsiteY68" fmla="*/ 3638522 h 3980066"/>
                <a:gd name="connsiteX69" fmla="*/ 7178418 w 8387961"/>
                <a:gd name="connsiteY69" fmla="*/ 3613213 h 3980066"/>
                <a:gd name="connsiteX70" fmla="*/ 7183368 w 8387961"/>
                <a:gd name="connsiteY70" fmla="*/ 3608151 h 3980066"/>
                <a:gd name="connsiteX71" fmla="*/ 7185018 w 8387961"/>
                <a:gd name="connsiteY71" fmla="*/ 3611526 h 3980066"/>
                <a:gd name="connsiteX72" fmla="*/ 7188318 w 8387961"/>
                <a:gd name="connsiteY72" fmla="*/ 3591279 h 3980066"/>
                <a:gd name="connsiteX73" fmla="*/ 7191617 w 8387961"/>
                <a:gd name="connsiteY73" fmla="*/ 3567658 h 3980066"/>
                <a:gd name="connsiteX74" fmla="*/ 7889230 w 8387961"/>
                <a:gd name="connsiteY74" fmla="*/ 3558257 h 3980066"/>
                <a:gd name="connsiteX75" fmla="*/ 7877566 w 8387961"/>
                <a:gd name="connsiteY75" fmla="*/ 3564891 h 3980066"/>
                <a:gd name="connsiteX76" fmla="*/ 7875899 w 8387961"/>
                <a:gd name="connsiteY76" fmla="*/ 3578159 h 3980066"/>
                <a:gd name="connsiteX77" fmla="*/ 7899229 w 8387961"/>
                <a:gd name="connsiteY77" fmla="*/ 3569867 h 3980066"/>
                <a:gd name="connsiteX78" fmla="*/ 7895896 w 8387961"/>
                <a:gd name="connsiteY78" fmla="*/ 3576501 h 3980066"/>
                <a:gd name="connsiteX79" fmla="*/ 7899229 w 8387961"/>
                <a:gd name="connsiteY79" fmla="*/ 3578159 h 3980066"/>
                <a:gd name="connsiteX80" fmla="*/ 7897562 w 8387961"/>
                <a:gd name="connsiteY80" fmla="*/ 3579818 h 3980066"/>
                <a:gd name="connsiteX81" fmla="*/ 7905894 w 8387961"/>
                <a:gd name="connsiteY81" fmla="*/ 3578159 h 3980066"/>
                <a:gd name="connsiteX82" fmla="*/ 7892563 w 8387961"/>
                <a:gd name="connsiteY82" fmla="*/ 3593085 h 3980066"/>
                <a:gd name="connsiteX83" fmla="*/ 7859236 w 8387961"/>
                <a:gd name="connsiteY83" fmla="*/ 3614646 h 3980066"/>
                <a:gd name="connsiteX84" fmla="*/ 7827575 w 8387961"/>
                <a:gd name="connsiteY84" fmla="*/ 3634548 h 3980066"/>
                <a:gd name="connsiteX85" fmla="*/ 7814244 w 8387961"/>
                <a:gd name="connsiteY85" fmla="*/ 3639523 h 3980066"/>
                <a:gd name="connsiteX86" fmla="*/ 7812578 w 8387961"/>
                <a:gd name="connsiteY86" fmla="*/ 3644499 h 3980066"/>
                <a:gd name="connsiteX87" fmla="*/ 7802579 w 8387961"/>
                <a:gd name="connsiteY87" fmla="*/ 3644499 h 3980066"/>
                <a:gd name="connsiteX88" fmla="*/ 7812578 w 8387961"/>
                <a:gd name="connsiteY88" fmla="*/ 3649474 h 3980066"/>
                <a:gd name="connsiteX89" fmla="*/ 7814244 w 8387961"/>
                <a:gd name="connsiteY89" fmla="*/ 3657766 h 3980066"/>
                <a:gd name="connsiteX90" fmla="*/ 7802579 w 8387961"/>
                <a:gd name="connsiteY90" fmla="*/ 3656108 h 3980066"/>
                <a:gd name="connsiteX91" fmla="*/ 7792581 w 8387961"/>
                <a:gd name="connsiteY91" fmla="*/ 3637865 h 3980066"/>
                <a:gd name="connsiteX92" fmla="*/ 7789249 w 8387961"/>
                <a:gd name="connsiteY92" fmla="*/ 3637865 h 3980066"/>
                <a:gd name="connsiteX93" fmla="*/ 7782583 w 8387961"/>
                <a:gd name="connsiteY93" fmla="*/ 3642840 h 3980066"/>
                <a:gd name="connsiteX94" fmla="*/ 7792581 w 8387961"/>
                <a:gd name="connsiteY94" fmla="*/ 3657766 h 3980066"/>
                <a:gd name="connsiteX95" fmla="*/ 7772585 w 8387961"/>
                <a:gd name="connsiteY95" fmla="*/ 3664400 h 3980066"/>
                <a:gd name="connsiteX96" fmla="*/ 7757588 w 8387961"/>
                <a:gd name="connsiteY96" fmla="*/ 3666059 h 3980066"/>
                <a:gd name="connsiteX97" fmla="*/ 7754255 w 8387961"/>
                <a:gd name="connsiteY97" fmla="*/ 3677668 h 3980066"/>
                <a:gd name="connsiteX98" fmla="*/ 7744257 w 8387961"/>
                <a:gd name="connsiteY98" fmla="*/ 3687619 h 3980066"/>
                <a:gd name="connsiteX99" fmla="*/ 7744257 w 8387961"/>
                <a:gd name="connsiteY99" fmla="*/ 3689278 h 3980066"/>
                <a:gd name="connsiteX100" fmla="*/ 7709263 w 8387961"/>
                <a:gd name="connsiteY100" fmla="*/ 3715813 h 3980066"/>
                <a:gd name="connsiteX101" fmla="*/ 7652607 w 8387961"/>
                <a:gd name="connsiteY101" fmla="*/ 3739032 h 3980066"/>
                <a:gd name="connsiteX102" fmla="*/ 7639276 w 8387961"/>
                <a:gd name="connsiteY102" fmla="*/ 3734057 h 3980066"/>
                <a:gd name="connsiteX103" fmla="*/ 7617613 w 8387961"/>
                <a:gd name="connsiteY103" fmla="*/ 3727423 h 3980066"/>
                <a:gd name="connsiteX104" fmla="*/ 7609281 w 8387961"/>
                <a:gd name="connsiteY104" fmla="*/ 3724106 h 3980066"/>
                <a:gd name="connsiteX105" fmla="*/ 7612614 w 8387961"/>
                <a:gd name="connsiteY105" fmla="*/ 3722447 h 3980066"/>
                <a:gd name="connsiteX106" fmla="*/ 7607615 w 8387961"/>
                <a:gd name="connsiteY106" fmla="*/ 3719130 h 3980066"/>
                <a:gd name="connsiteX107" fmla="*/ 7622612 w 8387961"/>
                <a:gd name="connsiteY107" fmla="*/ 3709179 h 3980066"/>
                <a:gd name="connsiteX108" fmla="*/ 7627611 w 8387961"/>
                <a:gd name="connsiteY108" fmla="*/ 3705863 h 3980066"/>
                <a:gd name="connsiteX109" fmla="*/ 7635943 w 8387961"/>
                <a:gd name="connsiteY109" fmla="*/ 3699229 h 3980066"/>
                <a:gd name="connsiteX110" fmla="*/ 7637610 w 8387961"/>
                <a:gd name="connsiteY110" fmla="*/ 3702546 h 3980066"/>
                <a:gd name="connsiteX111" fmla="*/ 7647608 w 8387961"/>
                <a:gd name="connsiteY111" fmla="*/ 3689278 h 3980066"/>
                <a:gd name="connsiteX112" fmla="*/ 7657606 w 8387961"/>
                <a:gd name="connsiteY112" fmla="*/ 3685961 h 3980066"/>
                <a:gd name="connsiteX113" fmla="*/ 7674270 w 8387961"/>
                <a:gd name="connsiteY113" fmla="*/ 3679327 h 3980066"/>
                <a:gd name="connsiteX114" fmla="*/ 7705930 w 8387961"/>
                <a:gd name="connsiteY114" fmla="*/ 3662742 h 3980066"/>
                <a:gd name="connsiteX115" fmla="*/ 7719261 w 8387961"/>
                <a:gd name="connsiteY115" fmla="*/ 3657766 h 3980066"/>
                <a:gd name="connsiteX116" fmla="*/ 7765919 w 8387961"/>
                <a:gd name="connsiteY116" fmla="*/ 3636206 h 3980066"/>
                <a:gd name="connsiteX117" fmla="*/ 7787582 w 8387961"/>
                <a:gd name="connsiteY117" fmla="*/ 3626255 h 3980066"/>
                <a:gd name="connsiteX118" fmla="*/ 7815910 w 8387961"/>
                <a:gd name="connsiteY118" fmla="*/ 3609670 h 3980066"/>
                <a:gd name="connsiteX119" fmla="*/ 7807579 w 8387961"/>
                <a:gd name="connsiteY119" fmla="*/ 3609670 h 3980066"/>
                <a:gd name="connsiteX120" fmla="*/ 7827575 w 8387961"/>
                <a:gd name="connsiteY120" fmla="*/ 3596402 h 3980066"/>
                <a:gd name="connsiteX121" fmla="*/ 7877566 w 8387961"/>
                <a:gd name="connsiteY121" fmla="*/ 3563233 h 3980066"/>
                <a:gd name="connsiteX122" fmla="*/ 8002839 w 8387961"/>
                <a:gd name="connsiteY122" fmla="*/ 3377482 h 3980066"/>
                <a:gd name="connsiteX123" fmla="*/ 8002839 w 8387961"/>
                <a:gd name="connsiteY123" fmla="*/ 3379143 h 3980066"/>
                <a:gd name="connsiteX124" fmla="*/ 8007890 w 8387961"/>
                <a:gd name="connsiteY124" fmla="*/ 3389107 h 3980066"/>
                <a:gd name="connsiteX125" fmla="*/ 8021360 w 8387961"/>
                <a:gd name="connsiteY125" fmla="*/ 3404053 h 3980066"/>
                <a:gd name="connsiteX126" fmla="*/ 8024727 w 8387961"/>
                <a:gd name="connsiteY126" fmla="*/ 3404053 h 3980066"/>
                <a:gd name="connsiteX127" fmla="*/ 8017992 w 8387961"/>
                <a:gd name="connsiteY127" fmla="*/ 3415677 h 3980066"/>
                <a:gd name="connsiteX128" fmla="*/ 8011257 w 8387961"/>
                <a:gd name="connsiteY128" fmla="*/ 3437266 h 3980066"/>
                <a:gd name="connsiteX129" fmla="*/ 8006206 w 8387961"/>
                <a:gd name="connsiteY129" fmla="*/ 3447230 h 3980066"/>
                <a:gd name="connsiteX130" fmla="*/ 8021360 w 8387961"/>
                <a:gd name="connsiteY130" fmla="*/ 3455533 h 3980066"/>
                <a:gd name="connsiteX131" fmla="*/ 8031462 w 8387961"/>
                <a:gd name="connsiteY131" fmla="*/ 3437266 h 3980066"/>
                <a:gd name="connsiteX132" fmla="*/ 8023043 w 8387961"/>
                <a:gd name="connsiteY132" fmla="*/ 3467158 h 3980066"/>
                <a:gd name="connsiteX133" fmla="*/ 8051666 w 8387961"/>
                <a:gd name="connsiteY133" fmla="*/ 3482104 h 3980066"/>
                <a:gd name="connsiteX134" fmla="*/ 8078605 w 8387961"/>
                <a:gd name="connsiteY134" fmla="*/ 3472140 h 3980066"/>
                <a:gd name="connsiteX135" fmla="*/ 8083656 w 8387961"/>
                <a:gd name="connsiteY135" fmla="*/ 3473801 h 3980066"/>
                <a:gd name="connsiteX136" fmla="*/ 8048299 w 8387961"/>
                <a:gd name="connsiteY136" fmla="*/ 3503693 h 3980066"/>
                <a:gd name="connsiteX137" fmla="*/ 8036513 w 8387961"/>
                <a:gd name="connsiteY137" fmla="*/ 3515317 h 3980066"/>
                <a:gd name="connsiteX138" fmla="*/ 8011257 w 8387961"/>
                <a:gd name="connsiteY138" fmla="*/ 3523620 h 3980066"/>
                <a:gd name="connsiteX139" fmla="*/ 7992737 w 8387961"/>
                <a:gd name="connsiteY139" fmla="*/ 3545209 h 3980066"/>
                <a:gd name="connsiteX140" fmla="*/ 7954012 w 8387961"/>
                <a:gd name="connsiteY140" fmla="*/ 3566798 h 3980066"/>
                <a:gd name="connsiteX141" fmla="*/ 7916971 w 8387961"/>
                <a:gd name="connsiteY141" fmla="*/ 3588386 h 3980066"/>
                <a:gd name="connsiteX142" fmla="*/ 7911920 w 8387961"/>
                <a:gd name="connsiteY142" fmla="*/ 3581744 h 3980066"/>
                <a:gd name="connsiteX143" fmla="*/ 7950645 w 8387961"/>
                <a:gd name="connsiteY143" fmla="*/ 3546870 h 3980066"/>
                <a:gd name="connsiteX144" fmla="*/ 7942226 w 8387961"/>
                <a:gd name="connsiteY144" fmla="*/ 3533584 h 3980066"/>
                <a:gd name="connsiteX145" fmla="*/ 7932124 w 8387961"/>
                <a:gd name="connsiteY145" fmla="*/ 3518638 h 3980066"/>
                <a:gd name="connsiteX146" fmla="*/ 7965798 w 8387961"/>
                <a:gd name="connsiteY146" fmla="*/ 3503693 h 3980066"/>
                <a:gd name="connsiteX147" fmla="*/ 7991053 w 8387961"/>
                <a:gd name="connsiteY147" fmla="*/ 3472140 h 3980066"/>
                <a:gd name="connsiteX148" fmla="*/ 7997788 w 8387961"/>
                <a:gd name="connsiteY148" fmla="*/ 3457194 h 3980066"/>
                <a:gd name="connsiteX149" fmla="*/ 8004523 w 8387961"/>
                <a:gd name="connsiteY149" fmla="*/ 3452212 h 3980066"/>
                <a:gd name="connsiteX150" fmla="*/ 7994421 w 8387961"/>
                <a:gd name="connsiteY150" fmla="*/ 3453873 h 3980066"/>
                <a:gd name="connsiteX151" fmla="*/ 8001155 w 8387961"/>
                <a:gd name="connsiteY151" fmla="*/ 3438927 h 3980066"/>
                <a:gd name="connsiteX152" fmla="*/ 8004523 w 8387961"/>
                <a:gd name="connsiteY152" fmla="*/ 3432284 h 3980066"/>
                <a:gd name="connsiteX153" fmla="*/ 8004523 w 8387961"/>
                <a:gd name="connsiteY153" fmla="*/ 3427302 h 3980066"/>
                <a:gd name="connsiteX154" fmla="*/ 8001155 w 8387961"/>
                <a:gd name="connsiteY154" fmla="*/ 3422320 h 3980066"/>
                <a:gd name="connsiteX155" fmla="*/ 7996104 w 8387961"/>
                <a:gd name="connsiteY155" fmla="*/ 3433945 h 3980066"/>
                <a:gd name="connsiteX156" fmla="*/ 8002839 w 8387961"/>
                <a:gd name="connsiteY156" fmla="*/ 3405713 h 3980066"/>
                <a:gd name="connsiteX157" fmla="*/ 7997788 w 8387961"/>
                <a:gd name="connsiteY157" fmla="*/ 3397410 h 3980066"/>
                <a:gd name="connsiteX158" fmla="*/ 2199486 w 8387961"/>
                <a:gd name="connsiteY158" fmla="*/ 3316552 h 3980066"/>
                <a:gd name="connsiteX159" fmla="*/ 2199469 w 8387961"/>
                <a:gd name="connsiteY159" fmla="*/ 3316901 h 3980066"/>
                <a:gd name="connsiteX160" fmla="*/ 2200869 w 8387961"/>
                <a:gd name="connsiteY160" fmla="*/ 3324586 h 3980066"/>
                <a:gd name="connsiteX161" fmla="*/ 2201097 w 8387961"/>
                <a:gd name="connsiteY161" fmla="*/ 3321389 h 3980066"/>
                <a:gd name="connsiteX162" fmla="*/ 2361186 w 8387961"/>
                <a:gd name="connsiteY162" fmla="*/ 3295110 h 3980066"/>
                <a:gd name="connsiteX163" fmla="*/ 2354818 w 8387961"/>
                <a:gd name="connsiteY163" fmla="*/ 3303214 h 3980066"/>
                <a:gd name="connsiteX164" fmla="*/ 2353145 w 8387961"/>
                <a:gd name="connsiteY164" fmla="*/ 3301542 h 3980066"/>
                <a:gd name="connsiteX165" fmla="*/ 2361761 w 8387961"/>
                <a:gd name="connsiteY165" fmla="*/ 3294371 h 3980066"/>
                <a:gd name="connsiteX166" fmla="*/ 2361509 w 8387961"/>
                <a:gd name="connsiteY166" fmla="*/ 3294853 h 3980066"/>
                <a:gd name="connsiteX167" fmla="*/ 2361186 w 8387961"/>
                <a:gd name="connsiteY167" fmla="*/ 3295110 h 3980066"/>
                <a:gd name="connsiteX168" fmla="*/ 4418280 w 8387961"/>
                <a:gd name="connsiteY168" fmla="*/ 3212421 h 3980066"/>
                <a:gd name="connsiteX169" fmla="*/ 4413277 w 8387961"/>
                <a:gd name="connsiteY169" fmla="*/ 3232432 h 3980066"/>
                <a:gd name="connsiteX170" fmla="*/ 4387452 w 8387961"/>
                <a:gd name="connsiteY170" fmla="*/ 3251370 h 3980066"/>
                <a:gd name="connsiteX171" fmla="*/ 4378338 w 8387961"/>
                <a:gd name="connsiteY171" fmla="*/ 3258965 h 3980066"/>
                <a:gd name="connsiteX172" fmla="*/ 4378845 w 8387961"/>
                <a:gd name="connsiteY172" fmla="*/ 3259699 h 3980066"/>
                <a:gd name="connsiteX173" fmla="*/ 4388920 w 8387961"/>
                <a:gd name="connsiteY173" fmla="*/ 3251333 h 3980066"/>
                <a:gd name="connsiteX174" fmla="*/ 4414107 w 8387961"/>
                <a:gd name="connsiteY174" fmla="*/ 3232929 h 3980066"/>
                <a:gd name="connsiteX175" fmla="*/ 4419144 w 8387961"/>
                <a:gd name="connsiteY175" fmla="*/ 3212852 h 3980066"/>
                <a:gd name="connsiteX176" fmla="*/ 4476344 w 8387961"/>
                <a:gd name="connsiteY176" fmla="*/ 3116512 h 3980066"/>
                <a:gd name="connsiteX177" fmla="*/ 4466160 w 8387961"/>
                <a:gd name="connsiteY177" fmla="*/ 3129197 h 3980066"/>
                <a:gd name="connsiteX178" fmla="*/ 4464481 w 8387961"/>
                <a:gd name="connsiteY178" fmla="*/ 3150947 h 3980066"/>
                <a:gd name="connsiteX179" fmla="*/ 4465198 w 8387961"/>
                <a:gd name="connsiteY179" fmla="*/ 3151170 h 3980066"/>
                <a:gd name="connsiteX180" fmla="*/ 4466728 w 8387961"/>
                <a:gd name="connsiteY180" fmla="*/ 3129562 h 3980066"/>
                <a:gd name="connsiteX181" fmla="*/ 4493026 w 8387961"/>
                <a:gd name="connsiteY181" fmla="*/ 3055871 h 3980066"/>
                <a:gd name="connsiteX182" fmla="*/ 4493026 w 8387961"/>
                <a:gd name="connsiteY182" fmla="*/ 3089042 h 3980066"/>
                <a:gd name="connsiteX183" fmla="*/ 4493026 w 8387961"/>
                <a:gd name="connsiteY183" fmla="*/ 3119158 h 3980066"/>
                <a:gd name="connsiteX184" fmla="*/ 4480121 w 8387961"/>
                <a:gd name="connsiteY184" fmla="*/ 3112729 h 3980066"/>
                <a:gd name="connsiteX185" fmla="*/ 4492100 w 8387961"/>
                <a:gd name="connsiteY185" fmla="*/ 3119232 h 3980066"/>
                <a:gd name="connsiteX186" fmla="*/ 4495272 w 8387961"/>
                <a:gd name="connsiteY186" fmla="*/ 3146779 h 3980066"/>
                <a:gd name="connsiteX187" fmla="*/ 4490982 w 8387961"/>
                <a:gd name="connsiteY187" fmla="*/ 3159199 h 3980066"/>
                <a:gd name="connsiteX188" fmla="*/ 4491347 w 8387961"/>
                <a:gd name="connsiteY188" fmla="*/ 3159313 h 3980066"/>
                <a:gd name="connsiteX189" fmla="*/ 4496384 w 8387961"/>
                <a:gd name="connsiteY189" fmla="*/ 3145928 h 3980066"/>
                <a:gd name="connsiteX190" fmla="*/ 4496393 w 8387961"/>
                <a:gd name="connsiteY190" fmla="*/ 3145928 h 3980066"/>
                <a:gd name="connsiteX191" fmla="*/ 4493221 w 8387961"/>
                <a:gd name="connsiteY191" fmla="*/ 3120185 h 3980066"/>
                <a:gd name="connsiteX192" fmla="*/ 4493221 w 8387961"/>
                <a:gd name="connsiteY192" fmla="*/ 3090025 h 3980066"/>
                <a:gd name="connsiteX193" fmla="*/ 4493221 w 8387961"/>
                <a:gd name="connsiteY193" fmla="*/ 3056514 h 3980066"/>
                <a:gd name="connsiteX194" fmla="*/ 4367320 w 8387961"/>
                <a:gd name="connsiteY194" fmla="*/ 3054804 h 3980066"/>
                <a:gd name="connsiteX195" fmla="*/ 4367182 w 8387961"/>
                <a:gd name="connsiteY195" fmla="*/ 3054933 h 3980066"/>
                <a:gd name="connsiteX196" fmla="*/ 4355772 w 8387961"/>
                <a:gd name="connsiteY196" fmla="*/ 3075259 h 3980066"/>
                <a:gd name="connsiteX197" fmla="*/ 1930277 w 8387961"/>
                <a:gd name="connsiteY197" fmla="*/ 3031587 h 3980066"/>
                <a:gd name="connsiteX198" fmla="*/ 1923697 w 8387961"/>
                <a:gd name="connsiteY198" fmla="*/ 3061429 h 3980066"/>
                <a:gd name="connsiteX199" fmla="*/ 1902100 w 8387961"/>
                <a:gd name="connsiteY199" fmla="*/ 3073164 h 3980066"/>
                <a:gd name="connsiteX200" fmla="*/ 1898781 w 8387961"/>
                <a:gd name="connsiteY200" fmla="*/ 3089928 h 3980066"/>
                <a:gd name="connsiteX201" fmla="*/ 1902100 w 8387961"/>
                <a:gd name="connsiteY201" fmla="*/ 3131839 h 3980066"/>
                <a:gd name="connsiteX202" fmla="*/ 1912074 w 8387961"/>
                <a:gd name="connsiteY202" fmla="*/ 3146927 h 3980066"/>
                <a:gd name="connsiteX203" fmla="*/ 1903763 w 8387961"/>
                <a:gd name="connsiteY203" fmla="*/ 3155309 h 3980066"/>
                <a:gd name="connsiteX204" fmla="*/ 1893798 w 8387961"/>
                <a:gd name="connsiteY204" fmla="*/ 3183808 h 3980066"/>
                <a:gd name="connsiteX205" fmla="*/ 1883833 w 8387961"/>
                <a:gd name="connsiteY205" fmla="*/ 3210631 h 3980066"/>
                <a:gd name="connsiteX206" fmla="*/ 1883833 w 8387961"/>
                <a:gd name="connsiteY206" fmla="*/ 3232425 h 3980066"/>
                <a:gd name="connsiteX207" fmla="*/ 1887147 w 8387961"/>
                <a:gd name="connsiteY207" fmla="*/ 3254218 h 3980066"/>
                <a:gd name="connsiteX208" fmla="*/ 1882162 w 8387961"/>
                <a:gd name="connsiteY208" fmla="*/ 3272659 h 3980066"/>
                <a:gd name="connsiteX209" fmla="*/ 1880505 w 8387961"/>
                <a:gd name="connsiteY209" fmla="*/ 3292776 h 3980066"/>
                <a:gd name="connsiteX210" fmla="*/ 1892131 w 8387961"/>
                <a:gd name="connsiteY210" fmla="*/ 3316246 h 3980066"/>
                <a:gd name="connsiteX211" fmla="*/ 1903763 w 8387961"/>
                <a:gd name="connsiteY211" fmla="*/ 3341393 h 3980066"/>
                <a:gd name="connsiteX212" fmla="*/ 1912074 w 8387961"/>
                <a:gd name="connsiteY212" fmla="*/ 3358157 h 3980066"/>
                <a:gd name="connsiteX213" fmla="*/ 1908746 w 8387961"/>
                <a:gd name="connsiteY213" fmla="*/ 3396715 h 3980066"/>
                <a:gd name="connsiteX214" fmla="*/ 1913730 w 8387961"/>
                <a:gd name="connsiteY214" fmla="*/ 3416832 h 3980066"/>
                <a:gd name="connsiteX215" fmla="*/ 1902100 w 8387961"/>
                <a:gd name="connsiteY215" fmla="*/ 3436949 h 3980066"/>
                <a:gd name="connsiteX216" fmla="*/ 1908746 w 8387961"/>
                <a:gd name="connsiteY216" fmla="*/ 3463772 h 3980066"/>
                <a:gd name="connsiteX217" fmla="*/ 1917056 w 8387961"/>
                <a:gd name="connsiteY217" fmla="*/ 3487242 h 3980066"/>
                <a:gd name="connsiteX218" fmla="*/ 1918713 w 8387961"/>
                <a:gd name="connsiteY218" fmla="*/ 3505683 h 3980066"/>
                <a:gd name="connsiteX219" fmla="*/ 1913730 w 8387961"/>
                <a:gd name="connsiteY219" fmla="*/ 3524124 h 3980066"/>
                <a:gd name="connsiteX220" fmla="*/ 1917056 w 8387961"/>
                <a:gd name="connsiteY220" fmla="*/ 3555976 h 3980066"/>
                <a:gd name="connsiteX221" fmla="*/ 1927021 w 8387961"/>
                <a:gd name="connsiteY221" fmla="*/ 3596210 h 3980066"/>
                <a:gd name="connsiteX222" fmla="*/ 1928682 w 8387961"/>
                <a:gd name="connsiteY222" fmla="*/ 3619680 h 3980066"/>
                <a:gd name="connsiteX223" fmla="*/ 1940314 w 8387961"/>
                <a:gd name="connsiteY223" fmla="*/ 3636445 h 3980066"/>
                <a:gd name="connsiteX224" fmla="*/ 1950281 w 8387961"/>
                <a:gd name="connsiteY224" fmla="*/ 3668297 h 3980066"/>
                <a:gd name="connsiteX225" fmla="*/ 1970048 w 8387961"/>
                <a:gd name="connsiteY225" fmla="*/ 3678270 h 3980066"/>
                <a:gd name="connsiteX226" fmla="*/ 1971919 w 8387961"/>
                <a:gd name="connsiteY226" fmla="*/ 3677523 h 3980066"/>
                <a:gd name="connsiteX227" fmla="*/ 1951844 w 8387961"/>
                <a:gd name="connsiteY227" fmla="*/ 3667505 h 3980066"/>
                <a:gd name="connsiteX228" fmla="*/ 1941807 w 8387961"/>
                <a:gd name="connsiteY228" fmla="*/ 3635784 h 3980066"/>
                <a:gd name="connsiteX229" fmla="*/ 1930097 w 8387961"/>
                <a:gd name="connsiteY229" fmla="*/ 3619088 h 3980066"/>
                <a:gd name="connsiteX230" fmla="*/ 1928424 w 8387961"/>
                <a:gd name="connsiteY230" fmla="*/ 3595715 h 3980066"/>
                <a:gd name="connsiteX231" fmla="*/ 1918387 w 8387961"/>
                <a:gd name="connsiteY231" fmla="*/ 3555646 h 3980066"/>
                <a:gd name="connsiteX232" fmla="*/ 1915032 w 8387961"/>
                <a:gd name="connsiteY232" fmla="*/ 3523924 h 3980066"/>
                <a:gd name="connsiteX233" fmla="*/ 1920060 w 8387961"/>
                <a:gd name="connsiteY233" fmla="*/ 3505559 h 3980066"/>
                <a:gd name="connsiteX234" fmla="*/ 1918387 w 8387961"/>
                <a:gd name="connsiteY234" fmla="*/ 3487194 h 3980066"/>
                <a:gd name="connsiteX235" fmla="*/ 1910013 w 8387961"/>
                <a:gd name="connsiteY235" fmla="*/ 3463821 h 3980066"/>
                <a:gd name="connsiteX236" fmla="*/ 1903320 w 8387961"/>
                <a:gd name="connsiteY236" fmla="*/ 3437108 h 3980066"/>
                <a:gd name="connsiteX237" fmla="*/ 1915032 w 8387961"/>
                <a:gd name="connsiteY237" fmla="*/ 3417074 h 3980066"/>
                <a:gd name="connsiteX238" fmla="*/ 1910013 w 8387961"/>
                <a:gd name="connsiteY238" fmla="*/ 3397039 h 3980066"/>
                <a:gd name="connsiteX239" fmla="*/ 1913359 w 8387961"/>
                <a:gd name="connsiteY239" fmla="*/ 3358639 h 3980066"/>
                <a:gd name="connsiteX240" fmla="*/ 1904993 w 8387961"/>
                <a:gd name="connsiteY240" fmla="*/ 3341944 h 3980066"/>
                <a:gd name="connsiteX241" fmla="*/ 1893281 w 8387961"/>
                <a:gd name="connsiteY241" fmla="*/ 3316901 h 3980066"/>
                <a:gd name="connsiteX242" fmla="*/ 1881569 w 8387961"/>
                <a:gd name="connsiteY242" fmla="*/ 3293527 h 3980066"/>
                <a:gd name="connsiteX243" fmla="*/ 1883242 w 8387961"/>
                <a:gd name="connsiteY243" fmla="*/ 3273493 h 3980066"/>
                <a:gd name="connsiteX244" fmla="*/ 1888261 w 8387961"/>
                <a:gd name="connsiteY244" fmla="*/ 3255128 h 3980066"/>
                <a:gd name="connsiteX245" fmla="*/ 1884915 w 8387961"/>
                <a:gd name="connsiteY245" fmla="*/ 3233424 h 3980066"/>
                <a:gd name="connsiteX246" fmla="*/ 1884915 w 8387961"/>
                <a:gd name="connsiteY246" fmla="*/ 3211720 h 3980066"/>
                <a:gd name="connsiteX247" fmla="*/ 1894954 w 8387961"/>
                <a:gd name="connsiteY247" fmla="*/ 3185007 h 3980066"/>
                <a:gd name="connsiteX248" fmla="*/ 1904993 w 8387961"/>
                <a:gd name="connsiteY248" fmla="*/ 3156625 h 3980066"/>
                <a:gd name="connsiteX249" fmla="*/ 1913359 w 8387961"/>
                <a:gd name="connsiteY249" fmla="*/ 3148277 h 3980066"/>
                <a:gd name="connsiteX250" fmla="*/ 1903320 w 8387961"/>
                <a:gd name="connsiteY250" fmla="*/ 3133251 h 3980066"/>
                <a:gd name="connsiteX251" fmla="*/ 1899974 w 8387961"/>
                <a:gd name="connsiteY251" fmla="*/ 3091512 h 3980066"/>
                <a:gd name="connsiteX252" fmla="*/ 1903320 w 8387961"/>
                <a:gd name="connsiteY252" fmla="*/ 3074817 h 3980066"/>
                <a:gd name="connsiteX253" fmla="*/ 1925079 w 8387961"/>
                <a:gd name="connsiteY253" fmla="*/ 3063130 h 3980066"/>
                <a:gd name="connsiteX254" fmla="*/ 1931770 w 8387961"/>
                <a:gd name="connsiteY254" fmla="*/ 3033078 h 3980066"/>
                <a:gd name="connsiteX255" fmla="*/ 2536245 w 8387961"/>
                <a:gd name="connsiteY255" fmla="*/ 3030650 h 3980066"/>
                <a:gd name="connsiteX256" fmla="*/ 2538752 w 8387961"/>
                <a:gd name="connsiteY256" fmla="*/ 3030650 h 3980066"/>
                <a:gd name="connsiteX257" fmla="*/ 2532064 w 8387961"/>
                <a:gd name="connsiteY257" fmla="*/ 3032323 h 3980066"/>
                <a:gd name="connsiteX258" fmla="*/ 2037411 w 8387961"/>
                <a:gd name="connsiteY258" fmla="*/ 3003043 h 3980066"/>
                <a:gd name="connsiteX259" fmla="*/ 2035738 w 8387961"/>
                <a:gd name="connsiteY259" fmla="*/ 3003321 h 3980066"/>
                <a:gd name="connsiteX260" fmla="*/ 2042195 w 8387961"/>
                <a:gd name="connsiteY260" fmla="*/ 3011374 h 3980066"/>
                <a:gd name="connsiteX261" fmla="*/ 2068963 w 8387961"/>
                <a:gd name="connsiteY261" fmla="*/ 3034748 h 3980066"/>
                <a:gd name="connsiteX262" fmla="*/ 2094060 w 8387961"/>
                <a:gd name="connsiteY262" fmla="*/ 3058121 h 3980066"/>
                <a:gd name="connsiteX263" fmla="*/ 2114145 w 8387961"/>
                <a:gd name="connsiteY263" fmla="*/ 3068139 h 3980066"/>
                <a:gd name="connsiteX264" fmla="*/ 2135892 w 8387961"/>
                <a:gd name="connsiteY264" fmla="*/ 3078156 h 3980066"/>
                <a:gd name="connsiteX265" fmla="*/ 2160986 w 8387961"/>
                <a:gd name="connsiteY265" fmla="*/ 3093182 h 3980066"/>
                <a:gd name="connsiteX266" fmla="*/ 2183793 w 8387961"/>
                <a:gd name="connsiteY266" fmla="*/ 3106182 h 3980066"/>
                <a:gd name="connsiteX267" fmla="*/ 2183854 w 8387961"/>
                <a:gd name="connsiteY267" fmla="*/ 3105987 h 3980066"/>
                <a:gd name="connsiteX268" fmla="*/ 2160373 w 8387961"/>
                <a:gd name="connsiteY268" fmla="*/ 3092522 h 3980066"/>
                <a:gd name="connsiteX269" fmla="*/ 2135209 w 8387961"/>
                <a:gd name="connsiteY269" fmla="*/ 3077374 h 3980066"/>
                <a:gd name="connsiteX270" fmla="*/ 2113393 w 8387961"/>
                <a:gd name="connsiteY270" fmla="*/ 3067276 h 3980066"/>
                <a:gd name="connsiteX271" fmla="*/ 2093262 w 8387961"/>
                <a:gd name="connsiteY271" fmla="*/ 3057177 h 3980066"/>
                <a:gd name="connsiteX272" fmla="*/ 2068097 w 8387961"/>
                <a:gd name="connsiteY272" fmla="*/ 3033614 h 3980066"/>
                <a:gd name="connsiteX273" fmla="*/ 2041260 w 8387961"/>
                <a:gd name="connsiteY273" fmla="*/ 3010051 h 3980066"/>
                <a:gd name="connsiteX274" fmla="*/ 2041604 w 8387961"/>
                <a:gd name="connsiteY274" fmla="*/ 3008294 h 3980066"/>
                <a:gd name="connsiteX275" fmla="*/ 1950369 w 8387961"/>
                <a:gd name="connsiteY275" fmla="*/ 2996348 h 3980066"/>
                <a:gd name="connsiteX276" fmla="*/ 1949548 w 8387961"/>
                <a:gd name="connsiteY276" fmla="*/ 2997398 h 3980066"/>
                <a:gd name="connsiteX277" fmla="*/ 1953517 w 8387961"/>
                <a:gd name="connsiteY277" fmla="*/ 3001357 h 3980066"/>
                <a:gd name="connsiteX278" fmla="*/ 1985305 w 8387961"/>
                <a:gd name="connsiteY278" fmla="*/ 3006366 h 3980066"/>
                <a:gd name="connsiteX279" fmla="*/ 1998690 w 8387961"/>
                <a:gd name="connsiteY279" fmla="*/ 3024731 h 3980066"/>
                <a:gd name="connsiteX280" fmla="*/ 1999349 w 8387961"/>
                <a:gd name="connsiteY280" fmla="*/ 3023102 h 3980066"/>
                <a:gd name="connsiteX281" fmla="*/ 1987189 w 8387961"/>
                <a:gd name="connsiteY281" fmla="*/ 3006391 h 3980066"/>
                <a:gd name="connsiteX282" fmla="*/ 1955388 w 8387961"/>
                <a:gd name="connsiteY282" fmla="*/ 3001370 h 3980066"/>
                <a:gd name="connsiteX283" fmla="*/ 7949582 w 8387961"/>
                <a:gd name="connsiteY283" fmla="*/ 2945128 h 3980066"/>
                <a:gd name="connsiteX284" fmla="*/ 7964302 w 8387961"/>
                <a:gd name="connsiteY284" fmla="*/ 2962175 h 3980066"/>
                <a:gd name="connsiteX285" fmla="*/ 7979022 w 8387961"/>
                <a:gd name="connsiteY285" fmla="*/ 2975813 h 3980066"/>
                <a:gd name="connsiteX286" fmla="*/ 7993742 w 8387961"/>
                <a:gd name="connsiteY286" fmla="*/ 2992859 h 3980066"/>
                <a:gd name="connsiteX287" fmla="*/ 8006827 w 8387961"/>
                <a:gd name="connsiteY287" fmla="*/ 3009906 h 3980066"/>
                <a:gd name="connsiteX288" fmla="*/ 7993742 w 8387961"/>
                <a:gd name="connsiteY288" fmla="*/ 3006497 h 3980066"/>
                <a:gd name="connsiteX289" fmla="*/ 7970844 w 8387961"/>
                <a:gd name="connsiteY289" fmla="*/ 2986041 h 3980066"/>
                <a:gd name="connsiteX290" fmla="*/ 7951218 w 8387961"/>
                <a:gd name="connsiteY290" fmla="*/ 2963880 h 3980066"/>
                <a:gd name="connsiteX291" fmla="*/ 2154761 w 8387961"/>
                <a:gd name="connsiteY291" fmla="*/ 2933822 h 3980066"/>
                <a:gd name="connsiteX292" fmla="*/ 2154581 w 8387961"/>
                <a:gd name="connsiteY292" fmla="*/ 2934416 h 3980066"/>
                <a:gd name="connsiteX293" fmla="*/ 2157207 w 8387961"/>
                <a:gd name="connsiteY293" fmla="*/ 2942311 h 3980066"/>
                <a:gd name="connsiteX294" fmla="*/ 2157495 w 8387961"/>
                <a:gd name="connsiteY294" fmla="*/ 2942025 h 3980066"/>
                <a:gd name="connsiteX295" fmla="*/ 2132265 w 8387961"/>
                <a:gd name="connsiteY295" fmla="*/ 2927448 h 3980066"/>
                <a:gd name="connsiteX296" fmla="*/ 2151979 w 8387961"/>
                <a:gd name="connsiteY296" fmla="*/ 2941045 h 3980066"/>
                <a:gd name="connsiteX297" fmla="*/ 2151979 w 8387961"/>
                <a:gd name="connsiteY297" fmla="*/ 2946094 h 3980066"/>
                <a:gd name="connsiteX298" fmla="*/ 2158689 w 8387961"/>
                <a:gd name="connsiteY298" fmla="*/ 2961242 h 3980066"/>
                <a:gd name="connsiteX299" fmla="*/ 2162046 w 8387961"/>
                <a:gd name="connsiteY299" fmla="*/ 3003319 h 3980066"/>
                <a:gd name="connsiteX300" fmla="*/ 2198957 w 8387961"/>
                <a:gd name="connsiteY300" fmla="*/ 3006685 h 3980066"/>
                <a:gd name="connsiteX301" fmla="*/ 2219084 w 8387961"/>
                <a:gd name="connsiteY301" fmla="*/ 3011734 h 3980066"/>
                <a:gd name="connsiteX302" fmla="*/ 2225794 w 8387961"/>
                <a:gd name="connsiteY302" fmla="*/ 3035297 h 3980066"/>
                <a:gd name="connsiteX303" fmla="*/ 2234183 w 8387961"/>
                <a:gd name="connsiteY303" fmla="*/ 3060543 h 3980066"/>
                <a:gd name="connsiteX304" fmla="*/ 2249285 w 8387961"/>
                <a:gd name="connsiteY304" fmla="*/ 3060543 h 3980066"/>
                <a:gd name="connsiteX305" fmla="*/ 2262704 w 8387961"/>
                <a:gd name="connsiteY305" fmla="*/ 3062227 h 3980066"/>
                <a:gd name="connsiteX306" fmla="*/ 2261031 w 8387961"/>
                <a:gd name="connsiteY306" fmla="*/ 3085790 h 3980066"/>
                <a:gd name="connsiteX307" fmla="*/ 2261031 w 8387961"/>
                <a:gd name="connsiteY307" fmla="*/ 3111036 h 3980066"/>
                <a:gd name="connsiteX308" fmla="*/ 2262704 w 8387961"/>
                <a:gd name="connsiteY308" fmla="*/ 3127866 h 3980066"/>
                <a:gd name="connsiteX309" fmla="*/ 2242576 w 8387961"/>
                <a:gd name="connsiteY309" fmla="*/ 3161528 h 3980066"/>
                <a:gd name="connsiteX310" fmla="*/ 2224121 w 8387961"/>
                <a:gd name="connsiteY310" fmla="*/ 3166577 h 3980066"/>
                <a:gd name="connsiteX311" fmla="*/ 2193920 w 8387961"/>
                <a:gd name="connsiteY311" fmla="*/ 3164894 h 3980066"/>
                <a:gd name="connsiteX312" fmla="*/ 2164352 w 8387961"/>
                <a:gd name="connsiteY312" fmla="*/ 3163246 h 3980066"/>
                <a:gd name="connsiteX313" fmla="*/ 2164332 w 8387961"/>
                <a:gd name="connsiteY313" fmla="*/ 3163303 h 3980066"/>
                <a:gd name="connsiteX314" fmla="*/ 2194449 w 8387961"/>
                <a:gd name="connsiteY314" fmla="*/ 3164972 h 3980066"/>
                <a:gd name="connsiteX315" fmla="*/ 2224571 w 8387961"/>
                <a:gd name="connsiteY315" fmla="*/ 3166642 h 3980066"/>
                <a:gd name="connsiteX316" fmla="*/ 2242972 w 8387961"/>
                <a:gd name="connsiteY316" fmla="*/ 3161633 h 3980066"/>
                <a:gd name="connsiteX317" fmla="*/ 2263049 w 8387961"/>
                <a:gd name="connsiteY317" fmla="*/ 3128242 h 3980066"/>
                <a:gd name="connsiteX318" fmla="*/ 2261376 w 8387961"/>
                <a:gd name="connsiteY318" fmla="*/ 3111547 h 3980066"/>
                <a:gd name="connsiteX319" fmla="*/ 2276434 w 8387961"/>
                <a:gd name="connsiteY319" fmla="*/ 3111547 h 3980066"/>
                <a:gd name="connsiteX320" fmla="*/ 2289613 w 8387961"/>
                <a:gd name="connsiteY320" fmla="*/ 3147692 h 3980066"/>
                <a:gd name="connsiteX321" fmla="*/ 2291268 w 8387961"/>
                <a:gd name="connsiteY321" fmla="*/ 3146030 h 3980066"/>
                <a:gd name="connsiteX322" fmla="*/ 2277890 w 8387961"/>
                <a:gd name="connsiteY322" fmla="*/ 3109242 h 3980066"/>
                <a:gd name="connsiteX323" fmla="*/ 2262848 w 8387961"/>
                <a:gd name="connsiteY323" fmla="*/ 3109242 h 3980066"/>
                <a:gd name="connsiteX324" fmla="*/ 2262848 w 8387961"/>
                <a:gd name="connsiteY324" fmla="*/ 3084160 h 3980066"/>
                <a:gd name="connsiteX325" fmla="*/ 2264521 w 8387961"/>
                <a:gd name="connsiteY325" fmla="*/ 3060749 h 3980066"/>
                <a:gd name="connsiteX326" fmla="*/ 2251138 w 8387961"/>
                <a:gd name="connsiteY326" fmla="*/ 3059077 h 3980066"/>
                <a:gd name="connsiteX327" fmla="*/ 2236084 w 8387961"/>
                <a:gd name="connsiteY327" fmla="*/ 3059077 h 3980066"/>
                <a:gd name="connsiteX328" fmla="*/ 2227723 w 8387961"/>
                <a:gd name="connsiteY328" fmla="*/ 3033995 h 3980066"/>
                <a:gd name="connsiteX329" fmla="*/ 2221034 w 8387961"/>
                <a:gd name="connsiteY329" fmla="*/ 3010584 h 3980066"/>
                <a:gd name="connsiteX330" fmla="*/ 2200971 w 8387961"/>
                <a:gd name="connsiteY330" fmla="*/ 3005568 h 3980066"/>
                <a:gd name="connsiteX331" fmla="*/ 2164186 w 8387961"/>
                <a:gd name="connsiteY331" fmla="*/ 3002224 h 3980066"/>
                <a:gd name="connsiteX332" fmla="*/ 2160841 w 8387961"/>
                <a:gd name="connsiteY332" fmla="*/ 2960419 h 3980066"/>
                <a:gd name="connsiteX333" fmla="*/ 2155031 w 8387961"/>
                <a:gd name="connsiteY333" fmla="*/ 2947353 h 3980066"/>
                <a:gd name="connsiteX334" fmla="*/ 2154581 w 8387961"/>
                <a:gd name="connsiteY334" fmla="*/ 2947807 h 3980066"/>
                <a:gd name="connsiteX335" fmla="*/ 2154581 w 8387961"/>
                <a:gd name="connsiteY335" fmla="*/ 2946332 h 3980066"/>
                <a:gd name="connsiteX336" fmla="*/ 2154149 w 8387961"/>
                <a:gd name="connsiteY336" fmla="*/ 2945370 h 3980066"/>
                <a:gd name="connsiteX337" fmla="*/ 2154581 w 8387961"/>
                <a:gd name="connsiteY337" fmla="*/ 2944942 h 3980066"/>
                <a:gd name="connsiteX338" fmla="*/ 2154581 w 8387961"/>
                <a:gd name="connsiteY338" fmla="*/ 2942785 h 3980066"/>
                <a:gd name="connsiteX339" fmla="*/ 8089682 w 8387961"/>
                <a:gd name="connsiteY339" fmla="*/ 2902947 h 3980066"/>
                <a:gd name="connsiteX340" fmla="*/ 8089682 w 8387961"/>
                <a:gd name="connsiteY340" fmla="*/ 2904152 h 3980066"/>
                <a:gd name="connsiteX341" fmla="*/ 8086669 w 8387961"/>
                <a:gd name="connsiteY341" fmla="*/ 2908973 h 3980066"/>
                <a:gd name="connsiteX342" fmla="*/ 1834933 w 8387961"/>
                <a:gd name="connsiteY342" fmla="*/ 2887356 h 3980066"/>
                <a:gd name="connsiteX343" fmla="*/ 1832283 w 8387961"/>
                <a:gd name="connsiteY343" fmla="*/ 2890445 h 3980066"/>
                <a:gd name="connsiteX344" fmla="*/ 1832320 w 8387961"/>
                <a:gd name="connsiteY344" fmla="*/ 2890433 h 3980066"/>
                <a:gd name="connsiteX345" fmla="*/ 4325378 w 8387961"/>
                <a:gd name="connsiteY345" fmla="*/ 2873410 h 3980066"/>
                <a:gd name="connsiteX346" fmla="*/ 4308092 w 8387961"/>
                <a:gd name="connsiteY346" fmla="*/ 2880697 h 3980066"/>
                <a:gd name="connsiteX347" fmla="*/ 4288130 w 8387961"/>
                <a:gd name="connsiteY347" fmla="*/ 2892480 h 3980066"/>
                <a:gd name="connsiteX348" fmla="*/ 4278149 w 8387961"/>
                <a:gd name="connsiteY348" fmla="*/ 2882381 h 3980066"/>
                <a:gd name="connsiteX349" fmla="*/ 4248205 w 8387961"/>
                <a:gd name="connsiteY349" fmla="*/ 2884064 h 3980066"/>
                <a:gd name="connsiteX350" fmla="*/ 4218262 w 8387961"/>
                <a:gd name="connsiteY350" fmla="*/ 2889114 h 3980066"/>
                <a:gd name="connsiteX351" fmla="*/ 4216598 w 8387961"/>
                <a:gd name="connsiteY351" fmla="*/ 2917729 h 3980066"/>
                <a:gd name="connsiteX352" fmla="*/ 4216598 w 8387961"/>
                <a:gd name="connsiteY352" fmla="*/ 2944662 h 3980066"/>
                <a:gd name="connsiteX353" fmla="*/ 4213271 w 8387961"/>
                <a:gd name="connsiteY353" fmla="*/ 2971594 h 3980066"/>
                <a:gd name="connsiteX354" fmla="*/ 4213271 w 8387961"/>
                <a:gd name="connsiteY354" fmla="*/ 3000210 h 3980066"/>
                <a:gd name="connsiteX355" fmla="*/ 4188318 w 8387961"/>
                <a:gd name="connsiteY355" fmla="*/ 3000210 h 3980066"/>
                <a:gd name="connsiteX356" fmla="*/ 4186655 w 8387961"/>
                <a:gd name="connsiteY356" fmla="*/ 3042292 h 3980066"/>
                <a:gd name="connsiteX357" fmla="*/ 4183328 w 8387961"/>
                <a:gd name="connsiteY357" fmla="*/ 3084373 h 3980066"/>
                <a:gd name="connsiteX358" fmla="*/ 4181664 w 8387961"/>
                <a:gd name="connsiteY358" fmla="*/ 3112989 h 3980066"/>
                <a:gd name="connsiteX359" fmla="*/ 4180001 w 8387961"/>
                <a:gd name="connsiteY359" fmla="*/ 3141605 h 3980066"/>
                <a:gd name="connsiteX360" fmla="*/ 4178337 w 8387961"/>
                <a:gd name="connsiteY360" fmla="*/ 3170220 h 3980066"/>
                <a:gd name="connsiteX361" fmla="*/ 4173495 w 8387961"/>
                <a:gd name="connsiteY361" fmla="*/ 3196348 h 3980066"/>
                <a:gd name="connsiteX362" fmla="*/ 4173990 w 8387961"/>
                <a:gd name="connsiteY362" fmla="*/ 3196121 h 3980066"/>
                <a:gd name="connsiteX363" fmla="*/ 4179028 w 8387961"/>
                <a:gd name="connsiteY363" fmla="*/ 3169351 h 3980066"/>
                <a:gd name="connsiteX364" fmla="*/ 4180707 w 8387961"/>
                <a:gd name="connsiteY364" fmla="*/ 3140908 h 3980066"/>
                <a:gd name="connsiteX365" fmla="*/ 4182386 w 8387961"/>
                <a:gd name="connsiteY365" fmla="*/ 3112466 h 3980066"/>
                <a:gd name="connsiteX366" fmla="*/ 4183866 w 8387961"/>
                <a:gd name="connsiteY366" fmla="*/ 3087403 h 3980066"/>
                <a:gd name="connsiteX367" fmla="*/ 4183435 w 8387961"/>
                <a:gd name="connsiteY367" fmla="*/ 3086736 h 3980066"/>
                <a:gd name="connsiteX368" fmla="*/ 4186776 w 8387961"/>
                <a:gd name="connsiteY368" fmla="*/ 3044890 h 3980066"/>
                <a:gd name="connsiteX369" fmla="*/ 4188446 w 8387961"/>
                <a:gd name="connsiteY369" fmla="*/ 3003044 h 3980066"/>
                <a:gd name="connsiteX370" fmla="*/ 4213502 w 8387961"/>
                <a:gd name="connsiteY370" fmla="*/ 3003044 h 3980066"/>
                <a:gd name="connsiteX371" fmla="*/ 4213502 w 8387961"/>
                <a:gd name="connsiteY371" fmla="*/ 2974588 h 3980066"/>
                <a:gd name="connsiteX372" fmla="*/ 4216843 w 8387961"/>
                <a:gd name="connsiteY372" fmla="*/ 2947807 h 3980066"/>
                <a:gd name="connsiteX373" fmla="*/ 4216843 w 8387961"/>
                <a:gd name="connsiteY373" fmla="*/ 2921025 h 3980066"/>
                <a:gd name="connsiteX374" fmla="*/ 4218514 w 8387961"/>
                <a:gd name="connsiteY374" fmla="*/ 2892570 h 3980066"/>
                <a:gd name="connsiteX375" fmla="*/ 4248581 w 8387961"/>
                <a:gd name="connsiteY375" fmla="*/ 2887548 h 3980066"/>
                <a:gd name="connsiteX376" fmla="*/ 4278649 w 8387961"/>
                <a:gd name="connsiteY376" fmla="*/ 2885874 h 3980066"/>
                <a:gd name="connsiteX377" fmla="*/ 4288672 w 8387961"/>
                <a:gd name="connsiteY377" fmla="*/ 2895917 h 3980066"/>
                <a:gd name="connsiteX378" fmla="*/ 4308717 w 8387961"/>
                <a:gd name="connsiteY378" fmla="*/ 2884200 h 3980066"/>
                <a:gd name="connsiteX379" fmla="*/ 4328762 w 8387961"/>
                <a:gd name="connsiteY379" fmla="*/ 2875831 h 3980066"/>
                <a:gd name="connsiteX380" fmla="*/ 4343796 w 8387961"/>
                <a:gd name="connsiteY380" fmla="*/ 2905960 h 3980066"/>
                <a:gd name="connsiteX381" fmla="*/ 4360500 w 8387961"/>
                <a:gd name="connsiteY381" fmla="*/ 2936090 h 3980066"/>
                <a:gd name="connsiteX382" fmla="*/ 4378875 w 8387961"/>
                <a:gd name="connsiteY382" fmla="*/ 2951154 h 3980066"/>
                <a:gd name="connsiteX383" fmla="*/ 4383886 w 8387961"/>
                <a:gd name="connsiteY383" fmla="*/ 2956176 h 3980066"/>
                <a:gd name="connsiteX384" fmla="*/ 4390568 w 8387961"/>
                <a:gd name="connsiteY384" fmla="*/ 2966219 h 3980066"/>
                <a:gd name="connsiteX385" fmla="*/ 4398920 w 8387961"/>
                <a:gd name="connsiteY385" fmla="*/ 2991327 h 3980066"/>
                <a:gd name="connsiteX386" fmla="*/ 4422306 w 8387961"/>
                <a:gd name="connsiteY386" fmla="*/ 3001370 h 3980066"/>
                <a:gd name="connsiteX387" fmla="*/ 4428387 w 8387961"/>
                <a:gd name="connsiteY387" fmla="*/ 3005940 h 3980066"/>
                <a:gd name="connsiteX388" fmla="*/ 4428824 w 8387961"/>
                <a:gd name="connsiteY388" fmla="*/ 3005650 h 3980066"/>
                <a:gd name="connsiteX389" fmla="*/ 4422177 w 8387961"/>
                <a:gd name="connsiteY389" fmla="*/ 3000596 h 3980066"/>
                <a:gd name="connsiteX390" fmla="*/ 4398647 w 8387961"/>
                <a:gd name="connsiteY390" fmla="*/ 2990372 h 3980066"/>
                <a:gd name="connsiteX391" fmla="*/ 4390243 w 8387961"/>
                <a:gd name="connsiteY391" fmla="*/ 2964812 h 3980066"/>
                <a:gd name="connsiteX392" fmla="*/ 4383520 w 8387961"/>
                <a:gd name="connsiteY392" fmla="*/ 2954587 h 3980066"/>
                <a:gd name="connsiteX393" fmla="*/ 4378478 w 8387961"/>
                <a:gd name="connsiteY393" fmla="*/ 2949475 h 3980066"/>
                <a:gd name="connsiteX394" fmla="*/ 4359989 w 8387961"/>
                <a:gd name="connsiteY394" fmla="*/ 2934139 h 3980066"/>
                <a:gd name="connsiteX395" fmla="*/ 4343182 w 8387961"/>
                <a:gd name="connsiteY395" fmla="*/ 2903467 h 3980066"/>
                <a:gd name="connsiteX396" fmla="*/ 4328869 w 8387961"/>
                <a:gd name="connsiteY396" fmla="*/ 2874446 h 3980066"/>
                <a:gd name="connsiteX397" fmla="*/ 4271677 w 8387961"/>
                <a:gd name="connsiteY397" fmla="*/ 2869741 h 3980066"/>
                <a:gd name="connsiteX398" fmla="*/ 4242202 w 8387961"/>
                <a:gd name="connsiteY398" fmla="*/ 2872180 h 3980066"/>
                <a:gd name="connsiteX399" fmla="*/ 4241675 w 8387961"/>
                <a:gd name="connsiteY399" fmla="*/ 2872271 h 3980066"/>
                <a:gd name="connsiteX400" fmla="*/ 1846833 w 8387961"/>
                <a:gd name="connsiteY400" fmla="*/ 2869544 h 3980066"/>
                <a:gd name="connsiteX401" fmla="*/ 1842178 w 8387961"/>
                <a:gd name="connsiteY401" fmla="*/ 2878828 h 3980066"/>
                <a:gd name="connsiteX402" fmla="*/ 1842289 w 8387961"/>
                <a:gd name="connsiteY402" fmla="*/ 2878698 h 3980066"/>
                <a:gd name="connsiteX403" fmla="*/ 4153371 w 8387961"/>
                <a:gd name="connsiteY403" fmla="*/ 2867203 h 3980066"/>
                <a:gd name="connsiteX404" fmla="*/ 4153384 w 8387961"/>
                <a:gd name="connsiteY404" fmla="*/ 2867231 h 3980066"/>
                <a:gd name="connsiteX405" fmla="*/ 4178337 w 8387961"/>
                <a:gd name="connsiteY405" fmla="*/ 2872281 h 3980066"/>
                <a:gd name="connsiteX406" fmla="*/ 4203290 w 8387961"/>
                <a:gd name="connsiteY406" fmla="*/ 2879014 h 3980066"/>
                <a:gd name="connsiteX407" fmla="*/ 4238253 w 8387961"/>
                <a:gd name="connsiteY407" fmla="*/ 2872862 h 3980066"/>
                <a:gd name="connsiteX408" fmla="*/ 4203604 w 8387961"/>
                <a:gd name="connsiteY408" fmla="*/ 2878844 h 3980066"/>
                <a:gd name="connsiteX409" fmla="*/ 4178432 w 8387961"/>
                <a:gd name="connsiteY409" fmla="*/ 2872180 h 3980066"/>
                <a:gd name="connsiteX410" fmla="*/ 8336383 w 8387961"/>
                <a:gd name="connsiteY410" fmla="*/ 2862273 h 3980066"/>
                <a:gd name="connsiteX411" fmla="*/ 8344274 w 8387961"/>
                <a:gd name="connsiteY411" fmla="*/ 2881642 h 3980066"/>
                <a:gd name="connsiteX412" fmla="*/ 8344274 w 8387961"/>
                <a:gd name="connsiteY412" fmla="*/ 2883256 h 3980066"/>
                <a:gd name="connsiteX413" fmla="*/ 8311132 w 8387961"/>
                <a:gd name="connsiteY413" fmla="*/ 2884870 h 3980066"/>
                <a:gd name="connsiteX414" fmla="*/ 8312710 w 8387961"/>
                <a:gd name="connsiteY414" fmla="*/ 2873572 h 3980066"/>
                <a:gd name="connsiteX415" fmla="*/ 2144256 w 8387961"/>
                <a:gd name="connsiteY415" fmla="*/ 2860215 h 3980066"/>
                <a:gd name="connsiteX416" fmla="*/ 2144530 w 8387961"/>
                <a:gd name="connsiteY416" fmla="*/ 2862441 h 3980066"/>
                <a:gd name="connsiteX417" fmla="*/ 2161273 w 8387961"/>
                <a:gd name="connsiteY417" fmla="*/ 2877505 h 3980066"/>
                <a:gd name="connsiteX418" fmla="*/ 2165680 w 8387961"/>
                <a:gd name="connsiteY418" fmla="*/ 2889265 h 3980066"/>
                <a:gd name="connsiteX419" fmla="*/ 2165859 w 8387961"/>
                <a:gd name="connsiteY419" fmla="*/ 2888516 h 3980066"/>
                <a:gd name="connsiteX420" fmla="*/ 2160841 w 8387961"/>
                <a:gd name="connsiteY420" fmla="*/ 2875139 h 3980066"/>
                <a:gd name="connsiteX421" fmla="*/ 4531427 w 8387961"/>
                <a:gd name="connsiteY421" fmla="*/ 2841498 h 3980066"/>
                <a:gd name="connsiteX422" fmla="*/ 4531427 w 8387961"/>
                <a:gd name="connsiteY422" fmla="*/ 2877906 h 3980066"/>
                <a:gd name="connsiteX423" fmla="*/ 4524704 w 8387961"/>
                <a:gd name="connsiteY423" fmla="*/ 2903467 h 3980066"/>
                <a:gd name="connsiteX424" fmla="*/ 4529746 w 8387961"/>
                <a:gd name="connsiteY424" fmla="*/ 2932435 h 3980066"/>
                <a:gd name="connsiteX425" fmla="*/ 4519661 w 8387961"/>
                <a:gd name="connsiteY425" fmla="*/ 2959699 h 3980066"/>
                <a:gd name="connsiteX426" fmla="*/ 4512938 w 8387961"/>
                <a:gd name="connsiteY426" fmla="*/ 2983556 h 3980066"/>
                <a:gd name="connsiteX427" fmla="*/ 4497812 w 8387961"/>
                <a:gd name="connsiteY427" fmla="*/ 3000596 h 3980066"/>
                <a:gd name="connsiteX428" fmla="*/ 4483010 w 8387961"/>
                <a:gd name="connsiteY428" fmla="*/ 3014102 h 3980066"/>
                <a:gd name="connsiteX429" fmla="*/ 4486309 w 8387961"/>
                <a:gd name="connsiteY429" fmla="*/ 3033830 h 3980066"/>
                <a:gd name="connsiteX430" fmla="*/ 4488064 w 8387961"/>
                <a:gd name="connsiteY430" fmla="*/ 3039511 h 3980066"/>
                <a:gd name="connsiteX431" fmla="*/ 4486614 w 8387961"/>
                <a:gd name="connsiteY431" fmla="*/ 3034732 h 3980066"/>
                <a:gd name="connsiteX432" fmla="*/ 4483311 w 8387961"/>
                <a:gd name="connsiteY432" fmla="*/ 3014626 h 3980066"/>
                <a:gd name="connsiteX433" fmla="*/ 4499828 w 8387961"/>
                <a:gd name="connsiteY433" fmla="*/ 2999546 h 3980066"/>
                <a:gd name="connsiteX434" fmla="*/ 4514692 w 8387961"/>
                <a:gd name="connsiteY434" fmla="*/ 2982790 h 3980066"/>
                <a:gd name="connsiteX435" fmla="*/ 4521299 w 8387961"/>
                <a:gd name="connsiteY435" fmla="*/ 2959333 h 3980066"/>
                <a:gd name="connsiteX436" fmla="*/ 4531209 w 8387961"/>
                <a:gd name="connsiteY436" fmla="*/ 2932524 h 3980066"/>
                <a:gd name="connsiteX437" fmla="*/ 4526254 w 8387961"/>
                <a:gd name="connsiteY437" fmla="*/ 2904039 h 3980066"/>
                <a:gd name="connsiteX438" fmla="*/ 4532861 w 8387961"/>
                <a:gd name="connsiteY438" fmla="*/ 2878906 h 3980066"/>
                <a:gd name="connsiteX439" fmla="*/ 4532861 w 8387961"/>
                <a:gd name="connsiteY439" fmla="*/ 2842044 h 3980066"/>
                <a:gd name="connsiteX440" fmla="*/ 4590739 w 8387961"/>
                <a:gd name="connsiteY440" fmla="*/ 2839332 h 3980066"/>
                <a:gd name="connsiteX441" fmla="*/ 4590394 w 8387961"/>
                <a:gd name="connsiteY441" fmla="*/ 2839708 h 3980066"/>
                <a:gd name="connsiteX442" fmla="*/ 4591934 w 8387961"/>
                <a:gd name="connsiteY442" fmla="*/ 2853158 h 3980066"/>
                <a:gd name="connsiteX443" fmla="*/ 4592320 w 8387961"/>
                <a:gd name="connsiteY443" fmla="*/ 2853773 h 3980066"/>
                <a:gd name="connsiteX444" fmla="*/ 1860242 w 8387961"/>
                <a:gd name="connsiteY444" fmla="*/ 2829404 h 3980066"/>
                <a:gd name="connsiteX445" fmla="*/ 1848775 w 8387961"/>
                <a:gd name="connsiteY445" fmla="*/ 2853963 h 3980066"/>
                <a:gd name="connsiteX446" fmla="*/ 1848775 w 8387961"/>
                <a:gd name="connsiteY446" fmla="*/ 2865623 h 3980066"/>
                <a:gd name="connsiteX447" fmla="*/ 1848938 w 8387961"/>
                <a:gd name="connsiteY447" fmla="*/ 2865286 h 3980066"/>
                <a:gd name="connsiteX448" fmla="*/ 1857248 w 8387961"/>
                <a:gd name="connsiteY448" fmla="*/ 2880374 h 3980066"/>
                <a:gd name="connsiteX449" fmla="*/ 1863887 w 8387961"/>
                <a:gd name="connsiteY449" fmla="*/ 2900491 h 3980066"/>
                <a:gd name="connsiteX450" fmla="*/ 1878840 w 8387961"/>
                <a:gd name="connsiteY450" fmla="*/ 2920608 h 3980066"/>
                <a:gd name="connsiteX451" fmla="*/ 1877178 w 8387961"/>
                <a:gd name="connsiteY451" fmla="*/ 2942402 h 3980066"/>
                <a:gd name="connsiteX452" fmla="*/ 1883833 w 8387961"/>
                <a:gd name="connsiteY452" fmla="*/ 2969225 h 3980066"/>
                <a:gd name="connsiteX453" fmla="*/ 1897115 w 8387961"/>
                <a:gd name="connsiteY453" fmla="*/ 2996048 h 3980066"/>
                <a:gd name="connsiteX454" fmla="*/ 1907091 w 8387961"/>
                <a:gd name="connsiteY454" fmla="*/ 3022871 h 3980066"/>
                <a:gd name="connsiteX455" fmla="*/ 1909561 w 8387961"/>
                <a:gd name="connsiteY455" fmla="*/ 3023121 h 3980066"/>
                <a:gd name="connsiteX456" fmla="*/ 1900149 w 8387961"/>
                <a:gd name="connsiteY456" fmla="*/ 2998022 h 3980066"/>
                <a:gd name="connsiteX457" fmla="*/ 1886765 w 8387961"/>
                <a:gd name="connsiteY457" fmla="*/ 2971240 h 3980066"/>
                <a:gd name="connsiteX458" fmla="*/ 1880063 w 8387961"/>
                <a:gd name="connsiteY458" fmla="*/ 2944459 h 3980066"/>
                <a:gd name="connsiteX459" fmla="*/ 1881736 w 8387961"/>
                <a:gd name="connsiteY459" fmla="*/ 2922699 h 3980066"/>
                <a:gd name="connsiteX460" fmla="*/ 1866673 w 8387961"/>
                <a:gd name="connsiteY460" fmla="*/ 2902613 h 3980066"/>
                <a:gd name="connsiteX461" fmla="*/ 1859982 w 8387961"/>
                <a:gd name="connsiteY461" fmla="*/ 2882527 h 3980066"/>
                <a:gd name="connsiteX462" fmla="*/ 1851608 w 8387961"/>
                <a:gd name="connsiteY462" fmla="*/ 2867462 h 3980066"/>
                <a:gd name="connsiteX463" fmla="*/ 1851608 w 8387961"/>
                <a:gd name="connsiteY463" fmla="*/ 2855745 h 3980066"/>
                <a:gd name="connsiteX464" fmla="*/ 1863328 w 8387961"/>
                <a:gd name="connsiteY464" fmla="*/ 2830638 h 3980066"/>
                <a:gd name="connsiteX465" fmla="*/ 8387961 w 8387961"/>
                <a:gd name="connsiteY465" fmla="*/ 2829131 h 3980066"/>
                <a:gd name="connsiteX466" fmla="*/ 8378101 w 8387961"/>
                <a:gd name="connsiteY466" fmla="*/ 2842187 h 3980066"/>
                <a:gd name="connsiteX467" fmla="*/ 8351806 w 8387961"/>
                <a:gd name="connsiteY467" fmla="*/ 2848715 h 3980066"/>
                <a:gd name="connsiteX468" fmla="*/ 8351806 w 8387961"/>
                <a:gd name="connsiteY468" fmla="*/ 2840555 h 3980066"/>
                <a:gd name="connsiteX469" fmla="*/ 8083656 w 8387961"/>
                <a:gd name="connsiteY469" fmla="*/ 2824612 h 3980066"/>
                <a:gd name="connsiteX470" fmla="*/ 8078007 w 8387961"/>
                <a:gd name="connsiteY470" fmla="*/ 2832144 h 3980066"/>
                <a:gd name="connsiteX471" fmla="*/ 8076124 w 8387961"/>
                <a:gd name="connsiteY471" fmla="*/ 2830638 h 3980066"/>
                <a:gd name="connsiteX472" fmla="*/ 8059553 w 8387961"/>
                <a:gd name="connsiteY472" fmla="*/ 2815573 h 3980066"/>
                <a:gd name="connsiteX473" fmla="*/ 8070098 w 8387961"/>
                <a:gd name="connsiteY473" fmla="*/ 2835157 h 3980066"/>
                <a:gd name="connsiteX474" fmla="*/ 8059553 w 8387961"/>
                <a:gd name="connsiteY474" fmla="*/ 2833525 h 3980066"/>
                <a:gd name="connsiteX475" fmla="*/ 2077577 w 8387961"/>
                <a:gd name="connsiteY475" fmla="*/ 2795487 h 3980066"/>
                <a:gd name="connsiteX476" fmla="*/ 2087619 w 8387961"/>
                <a:gd name="connsiteY476" fmla="*/ 2807204 h 3980066"/>
                <a:gd name="connsiteX477" fmla="*/ 2092641 w 8387961"/>
                <a:gd name="connsiteY477" fmla="*/ 2830638 h 3980066"/>
                <a:gd name="connsiteX478" fmla="*/ 2116074 w 8387961"/>
                <a:gd name="connsiteY478" fmla="*/ 2833985 h 3980066"/>
                <a:gd name="connsiteX479" fmla="*/ 2141058 w 8387961"/>
                <a:gd name="connsiteY479" fmla="*/ 2835651 h 3980066"/>
                <a:gd name="connsiteX480" fmla="*/ 2140768 w 8387961"/>
                <a:gd name="connsiteY480" fmla="*/ 2833334 h 3980066"/>
                <a:gd name="connsiteX481" fmla="*/ 2115692 w 8387961"/>
                <a:gd name="connsiteY481" fmla="*/ 2831662 h 3980066"/>
                <a:gd name="connsiteX482" fmla="*/ 2092273 w 8387961"/>
                <a:gd name="connsiteY482" fmla="*/ 2828318 h 3980066"/>
                <a:gd name="connsiteX483" fmla="*/ 2087257 w 8387961"/>
                <a:gd name="connsiteY483" fmla="*/ 2804907 h 3980066"/>
                <a:gd name="connsiteX484" fmla="*/ 2079182 w 8387961"/>
                <a:gd name="connsiteY484" fmla="*/ 2795487 h 3980066"/>
                <a:gd name="connsiteX485" fmla="*/ 8049385 w 8387961"/>
                <a:gd name="connsiteY485" fmla="*/ 2785444 h 3980066"/>
                <a:gd name="connsiteX486" fmla="*/ 8056163 w 8387961"/>
                <a:gd name="connsiteY486" fmla="*/ 2794483 h 3980066"/>
                <a:gd name="connsiteX487" fmla="*/ 8059553 w 8387961"/>
                <a:gd name="connsiteY487" fmla="*/ 2792976 h 3980066"/>
                <a:gd name="connsiteX488" fmla="*/ 8057858 w 8387961"/>
                <a:gd name="connsiteY488" fmla="*/ 2805028 h 3980066"/>
                <a:gd name="connsiteX489" fmla="*/ 8045995 w 8387961"/>
                <a:gd name="connsiteY489" fmla="*/ 2805028 h 3980066"/>
                <a:gd name="connsiteX490" fmla="*/ 4540271 w 8387961"/>
                <a:gd name="connsiteY490" fmla="*/ 2762664 h 3980066"/>
                <a:gd name="connsiteX491" fmla="*/ 4521837 w 8387961"/>
                <a:gd name="connsiteY491" fmla="*/ 2770413 h 3980066"/>
                <a:gd name="connsiteX492" fmla="*/ 4501816 w 8387961"/>
                <a:gd name="connsiteY492" fmla="*/ 2778829 h 3980066"/>
                <a:gd name="connsiteX493" fmla="*/ 4483463 w 8387961"/>
                <a:gd name="connsiteY493" fmla="*/ 2785562 h 3980066"/>
                <a:gd name="connsiteX494" fmla="*/ 4463442 w 8387961"/>
                <a:gd name="connsiteY494" fmla="*/ 2793978 h 3980066"/>
                <a:gd name="connsiteX495" fmla="*/ 4468447 w 8387961"/>
                <a:gd name="connsiteY495" fmla="*/ 2810810 h 3980066"/>
                <a:gd name="connsiteX496" fmla="*/ 4467558 w 8387961"/>
                <a:gd name="connsiteY496" fmla="*/ 2810959 h 3980066"/>
                <a:gd name="connsiteX497" fmla="*/ 4467558 w 8387961"/>
                <a:gd name="connsiteY497" fmla="*/ 2819969 h 3980066"/>
                <a:gd name="connsiteX498" fmla="*/ 4470098 w 8387961"/>
                <a:gd name="connsiteY498" fmla="*/ 2819602 h 3980066"/>
                <a:gd name="connsiteX499" fmla="*/ 4470098 w 8387961"/>
                <a:gd name="connsiteY499" fmla="*/ 2810208 h 3980066"/>
                <a:gd name="connsiteX500" fmla="*/ 4465143 w 8387961"/>
                <a:gd name="connsiteY500" fmla="*/ 2793453 h 3980066"/>
                <a:gd name="connsiteX501" fmla="*/ 4484963 w 8387961"/>
                <a:gd name="connsiteY501" fmla="*/ 2785075 h 3980066"/>
                <a:gd name="connsiteX502" fmla="*/ 4503131 w 8387961"/>
                <a:gd name="connsiteY502" fmla="*/ 2778373 h 3980066"/>
                <a:gd name="connsiteX503" fmla="*/ 4522951 w 8387961"/>
                <a:gd name="connsiteY503" fmla="*/ 2769995 h 3980066"/>
                <a:gd name="connsiteX504" fmla="*/ 4540278 w 8387961"/>
                <a:gd name="connsiteY504" fmla="*/ 2762671 h 3980066"/>
                <a:gd name="connsiteX505" fmla="*/ 4453431 w 8387961"/>
                <a:gd name="connsiteY505" fmla="*/ 2704768 h 3980066"/>
                <a:gd name="connsiteX506" fmla="*/ 4451761 w 8387961"/>
                <a:gd name="connsiteY506" fmla="*/ 2706790 h 3980066"/>
                <a:gd name="connsiteX507" fmla="*/ 4448619 w 8387961"/>
                <a:gd name="connsiteY507" fmla="*/ 2743184 h 3980066"/>
                <a:gd name="connsiteX508" fmla="*/ 4450094 w 8387961"/>
                <a:gd name="connsiteY508" fmla="*/ 2743482 h 3980066"/>
                <a:gd name="connsiteX509" fmla="*/ 4964988 w 8387961"/>
                <a:gd name="connsiteY509" fmla="*/ 2704095 h 3980066"/>
                <a:gd name="connsiteX510" fmla="*/ 4971711 w 8387961"/>
                <a:gd name="connsiteY510" fmla="*/ 2704095 h 3980066"/>
                <a:gd name="connsiteX511" fmla="*/ 4978434 w 8387961"/>
                <a:gd name="connsiteY511" fmla="*/ 2725792 h 3980066"/>
                <a:gd name="connsiteX512" fmla="*/ 4988519 w 8387961"/>
                <a:gd name="connsiteY512" fmla="*/ 2762510 h 3980066"/>
                <a:gd name="connsiteX513" fmla="*/ 4996923 w 8387961"/>
                <a:gd name="connsiteY513" fmla="*/ 2800896 h 3980066"/>
                <a:gd name="connsiteX514" fmla="*/ 4991880 w 8387961"/>
                <a:gd name="connsiteY514" fmla="*/ 2815917 h 3980066"/>
                <a:gd name="connsiteX515" fmla="*/ 4975073 w 8387961"/>
                <a:gd name="connsiteY515" fmla="*/ 2804234 h 3980066"/>
                <a:gd name="connsiteX516" fmla="*/ 4976754 w 8387961"/>
                <a:gd name="connsiteY516" fmla="*/ 2845959 h 3980066"/>
                <a:gd name="connsiteX517" fmla="*/ 4964988 w 8387961"/>
                <a:gd name="connsiteY517" fmla="*/ 2865987 h 3980066"/>
                <a:gd name="connsiteX518" fmla="*/ 4956585 w 8387961"/>
                <a:gd name="connsiteY518" fmla="*/ 2892690 h 3980066"/>
                <a:gd name="connsiteX519" fmla="*/ 4946500 w 8387961"/>
                <a:gd name="connsiteY519" fmla="*/ 2921063 h 3980066"/>
                <a:gd name="connsiteX520" fmla="*/ 4936415 w 8387961"/>
                <a:gd name="connsiteY520" fmla="*/ 2949436 h 3980066"/>
                <a:gd name="connsiteX521" fmla="*/ 4928012 w 8387961"/>
                <a:gd name="connsiteY521" fmla="*/ 2974471 h 3980066"/>
                <a:gd name="connsiteX522" fmla="*/ 4917927 w 8387961"/>
                <a:gd name="connsiteY522" fmla="*/ 3002843 h 3980066"/>
                <a:gd name="connsiteX523" fmla="*/ 4907842 w 8387961"/>
                <a:gd name="connsiteY523" fmla="*/ 3029547 h 3980066"/>
                <a:gd name="connsiteX524" fmla="*/ 4897758 w 8387961"/>
                <a:gd name="connsiteY524" fmla="*/ 3056251 h 3980066"/>
                <a:gd name="connsiteX525" fmla="*/ 4891035 w 8387961"/>
                <a:gd name="connsiteY525" fmla="*/ 3084623 h 3980066"/>
                <a:gd name="connsiteX526" fmla="*/ 4865823 w 8387961"/>
                <a:gd name="connsiteY526" fmla="*/ 3096306 h 3980066"/>
                <a:gd name="connsiteX527" fmla="*/ 4843974 w 8387961"/>
                <a:gd name="connsiteY527" fmla="*/ 3106320 h 3980066"/>
                <a:gd name="connsiteX528" fmla="*/ 4810358 w 8387961"/>
                <a:gd name="connsiteY528" fmla="*/ 3092968 h 3980066"/>
                <a:gd name="connsiteX529" fmla="*/ 4800274 w 8387961"/>
                <a:gd name="connsiteY529" fmla="*/ 3054582 h 3980066"/>
                <a:gd name="connsiteX530" fmla="*/ 4793551 w 8387961"/>
                <a:gd name="connsiteY530" fmla="*/ 3021202 h 3980066"/>
                <a:gd name="connsiteX531" fmla="*/ 4801955 w 8387961"/>
                <a:gd name="connsiteY531" fmla="*/ 2981146 h 3980066"/>
                <a:gd name="connsiteX532" fmla="*/ 4815401 w 8387961"/>
                <a:gd name="connsiteY532" fmla="*/ 2961119 h 3980066"/>
                <a:gd name="connsiteX533" fmla="*/ 4830527 w 8387961"/>
                <a:gd name="connsiteY533" fmla="*/ 2941091 h 3980066"/>
                <a:gd name="connsiteX534" fmla="*/ 4825485 w 8387961"/>
                <a:gd name="connsiteY534" fmla="*/ 2911049 h 3980066"/>
                <a:gd name="connsiteX535" fmla="*/ 4822124 w 8387961"/>
                <a:gd name="connsiteY535" fmla="*/ 2881007 h 3980066"/>
                <a:gd name="connsiteX536" fmla="*/ 4827166 w 8387961"/>
                <a:gd name="connsiteY536" fmla="*/ 2855973 h 3980066"/>
                <a:gd name="connsiteX537" fmla="*/ 4833889 w 8387961"/>
                <a:gd name="connsiteY537" fmla="*/ 2832607 h 3980066"/>
                <a:gd name="connsiteX538" fmla="*/ 4857420 w 8387961"/>
                <a:gd name="connsiteY538" fmla="*/ 2820924 h 3980066"/>
                <a:gd name="connsiteX539" fmla="*/ 4867504 w 8387961"/>
                <a:gd name="connsiteY539" fmla="*/ 2819255 h 3980066"/>
                <a:gd name="connsiteX540" fmla="*/ 4887673 w 8387961"/>
                <a:gd name="connsiteY540" fmla="*/ 2815917 h 3980066"/>
                <a:gd name="connsiteX541" fmla="*/ 4897758 w 8387961"/>
                <a:gd name="connsiteY541" fmla="*/ 2800896 h 3980066"/>
                <a:gd name="connsiteX542" fmla="*/ 4904481 w 8387961"/>
                <a:gd name="connsiteY542" fmla="*/ 2802565 h 3980066"/>
                <a:gd name="connsiteX543" fmla="*/ 4907842 w 8387961"/>
                <a:gd name="connsiteY543" fmla="*/ 2802565 h 3980066"/>
                <a:gd name="connsiteX544" fmla="*/ 4916246 w 8387961"/>
                <a:gd name="connsiteY544" fmla="*/ 2782537 h 3980066"/>
                <a:gd name="connsiteX545" fmla="*/ 4916246 w 8387961"/>
                <a:gd name="connsiteY545" fmla="*/ 2790882 h 3980066"/>
                <a:gd name="connsiteX546" fmla="*/ 4931373 w 8387961"/>
                <a:gd name="connsiteY546" fmla="*/ 2782537 h 3980066"/>
                <a:gd name="connsiteX547" fmla="*/ 4926331 w 8387961"/>
                <a:gd name="connsiteY547" fmla="*/ 2779199 h 3980066"/>
                <a:gd name="connsiteX548" fmla="*/ 4933054 w 8387961"/>
                <a:gd name="connsiteY548" fmla="*/ 2765848 h 3980066"/>
                <a:gd name="connsiteX549" fmla="*/ 4931373 w 8387961"/>
                <a:gd name="connsiteY549" fmla="*/ 2750827 h 3980066"/>
                <a:gd name="connsiteX550" fmla="*/ 4938096 w 8387961"/>
                <a:gd name="connsiteY550" fmla="*/ 2754165 h 3980066"/>
                <a:gd name="connsiteX551" fmla="*/ 4943138 w 8387961"/>
                <a:gd name="connsiteY551" fmla="*/ 2750827 h 3980066"/>
                <a:gd name="connsiteX552" fmla="*/ 4953223 w 8387961"/>
                <a:gd name="connsiteY552" fmla="*/ 2744151 h 3980066"/>
                <a:gd name="connsiteX553" fmla="*/ 4958265 w 8387961"/>
                <a:gd name="connsiteY553" fmla="*/ 2714109 h 3980066"/>
                <a:gd name="connsiteX554" fmla="*/ 4581999 w 8387961"/>
                <a:gd name="connsiteY554" fmla="*/ 2694277 h 3980066"/>
                <a:gd name="connsiteX555" fmla="*/ 4581786 w 8387961"/>
                <a:gd name="connsiteY555" fmla="*/ 2694401 h 3980066"/>
                <a:gd name="connsiteX556" fmla="*/ 4574899 w 8387961"/>
                <a:gd name="connsiteY556" fmla="*/ 2716113 h 3980066"/>
                <a:gd name="connsiteX557" fmla="*/ 4580064 w 8387961"/>
                <a:gd name="connsiteY557" fmla="*/ 2746177 h 3980066"/>
                <a:gd name="connsiteX558" fmla="*/ 4595559 w 8387961"/>
                <a:gd name="connsiteY558" fmla="*/ 2764549 h 3980066"/>
                <a:gd name="connsiteX559" fmla="*/ 4612063 w 8387961"/>
                <a:gd name="connsiteY559" fmla="*/ 2780559 h 3980066"/>
                <a:gd name="connsiteX560" fmla="*/ 4612140 w 8387961"/>
                <a:gd name="connsiteY560" fmla="*/ 2780048 h 3980066"/>
                <a:gd name="connsiteX561" fmla="*/ 4595624 w 8387961"/>
                <a:gd name="connsiteY561" fmla="*/ 2763293 h 3980066"/>
                <a:gd name="connsiteX562" fmla="*/ 4580759 w 8387961"/>
                <a:gd name="connsiteY562" fmla="*/ 2744862 h 3980066"/>
                <a:gd name="connsiteX563" fmla="*/ 4575804 w 8387961"/>
                <a:gd name="connsiteY563" fmla="*/ 2714702 h 3980066"/>
                <a:gd name="connsiteX564" fmla="*/ 4810122 w 8387961"/>
                <a:gd name="connsiteY564" fmla="*/ 2684511 h 3980066"/>
                <a:gd name="connsiteX565" fmla="*/ 4816148 w 8387961"/>
                <a:gd name="connsiteY565" fmla="*/ 2695056 h 3980066"/>
                <a:gd name="connsiteX566" fmla="*/ 4816148 w 8387961"/>
                <a:gd name="connsiteY566" fmla="*/ 2698069 h 3980066"/>
                <a:gd name="connsiteX567" fmla="*/ 4300939 w 8387961"/>
                <a:gd name="connsiteY567" fmla="*/ 2669787 h 3980066"/>
                <a:gd name="connsiteX568" fmla="*/ 4300939 w 8387961"/>
                <a:gd name="connsiteY568" fmla="*/ 2697236 h 3980066"/>
                <a:gd name="connsiteX569" fmla="*/ 4300939 w 8387961"/>
                <a:gd name="connsiteY569" fmla="*/ 2728893 h 3980066"/>
                <a:gd name="connsiteX570" fmla="*/ 4274088 w 8387961"/>
                <a:gd name="connsiteY570" fmla="*/ 2728893 h 3980066"/>
                <a:gd name="connsiteX571" fmla="*/ 4248915 w 8387961"/>
                <a:gd name="connsiteY571" fmla="*/ 2730559 h 3980066"/>
                <a:gd name="connsiteX572" fmla="*/ 4247237 w 8387961"/>
                <a:gd name="connsiteY572" fmla="*/ 2752218 h 3980066"/>
                <a:gd name="connsiteX573" fmla="*/ 4247237 w 8387961"/>
                <a:gd name="connsiteY573" fmla="*/ 2777210 h 3980066"/>
                <a:gd name="connsiteX574" fmla="*/ 4247237 w 8387961"/>
                <a:gd name="connsiteY574" fmla="*/ 2800536 h 3980066"/>
                <a:gd name="connsiteX575" fmla="*/ 4247237 w 8387961"/>
                <a:gd name="connsiteY575" fmla="*/ 2823862 h 3980066"/>
                <a:gd name="connsiteX576" fmla="*/ 4248213 w 8387961"/>
                <a:gd name="connsiteY576" fmla="*/ 2825218 h 3980066"/>
                <a:gd name="connsiteX577" fmla="*/ 4248213 w 8387961"/>
                <a:gd name="connsiteY577" fmla="*/ 2802394 h 3980066"/>
                <a:gd name="connsiteX578" fmla="*/ 4248213 w 8387961"/>
                <a:gd name="connsiteY578" fmla="*/ 2778829 h 3980066"/>
                <a:gd name="connsiteX579" fmla="*/ 4248213 w 8387961"/>
                <a:gd name="connsiteY579" fmla="*/ 2753581 h 3980066"/>
                <a:gd name="connsiteX580" fmla="*/ 4249881 w 8387961"/>
                <a:gd name="connsiteY580" fmla="*/ 2731699 h 3980066"/>
                <a:gd name="connsiteX581" fmla="*/ 4274908 w 8387961"/>
                <a:gd name="connsiteY581" fmla="*/ 2730016 h 3980066"/>
                <a:gd name="connsiteX582" fmla="*/ 4301603 w 8387961"/>
                <a:gd name="connsiteY582" fmla="*/ 2730016 h 3980066"/>
                <a:gd name="connsiteX583" fmla="*/ 4301603 w 8387961"/>
                <a:gd name="connsiteY583" fmla="*/ 2698035 h 3980066"/>
                <a:gd name="connsiteX584" fmla="*/ 4301603 w 8387961"/>
                <a:gd name="connsiteY584" fmla="*/ 2670679 h 3980066"/>
                <a:gd name="connsiteX585" fmla="*/ 7429686 w 8387961"/>
                <a:gd name="connsiteY585" fmla="*/ 2664927 h 3980066"/>
                <a:gd name="connsiteX586" fmla="*/ 7431360 w 8387961"/>
                <a:gd name="connsiteY586" fmla="*/ 2673260 h 3980066"/>
                <a:gd name="connsiteX587" fmla="*/ 7436381 w 8387961"/>
                <a:gd name="connsiteY587" fmla="*/ 2686593 h 3980066"/>
                <a:gd name="connsiteX588" fmla="*/ 7443077 w 8387961"/>
                <a:gd name="connsiteY588" fmla="*/ 2704925 h 3980066"/>
                <a:gd name="connsiteX589" fmla="*/ 7444751 w 8387961"/>
                <a:gd name="connsiteY589" fmla="*/ 2731591 h 3980066"/>
                <a:gd name="connsiteX590" fmla="*/ 7446425 w 8387961"/>
                <a:gd name="connsiteY590" fmla="*/ 2753257 h 3980066"/>
                <a:gd name="connsiteX591" fmla="*/ 7449772 w 8387961"/>
                <a:gd name="connsiteY591" fmla="*/ 2773256 h 3980066"/>
                <a:gd name="connsiteX592" fmla="*/ 7466511 w 8387961"/>
                <a:gd name="connsiteY592" fmla="*/ 2771589 h 3980066"/>
                <a:gd name="connsiteX593" fmla="*/ 7481575 w 8387961"/>
                <a:gd name="connsiteY593" fmla="*/ 2786589 h 3980066"/>
                <a:gd name="connsiteX594" fmla="*/ 7486597 w 8387961"/>
                <a:gd name="connsiteY594" fmla="*/ 2799921 h 3980066"/>
                <a:gd name="connsiteX595" fmla="*/ 7483249 w 8387961"/>
                <a:gd name="connsiteY595" fmla="*/ 2826587 h 3980066"/>
                <a:gd name="connsiteX596" fmla="*/ 7489945 w 8387961"/>
                <a:gd name="connsiteY596" fmla="*/ 2849919 h 3980066"/>
                <a:gd name="connsiteX597" fmla="*/ 7489945 w 8387961"/>
                <a:gd name="connsiteY597" fmla="*/ 2876585 h 3980066"/>
                <a:gd name="connsiteX598" fmla="*/ 7489945 w 8387961"/>
                <a:gd name="connsiteY598" fmla="*/ 2904917 h 3980066"/>
                <a:gd name="connsiteX599" fmla="*/ 7520074 w 8387961"/>
                <a:gd name="connsiteY599" fmla="*/ 2926583 h 3980066"/>
                <a:gd name="connsiteX600" fmla="*/ 7536812 w 8387961"/>
                <a:gd name="connsiteY600" fmla="*/ 2946582 h 3980066"/>
                <a:gd name="connsiteX601" fmla="*/ 7545181 w 8387961"/>
                <a:gd name="connsiteY601" fmla="*/ 2954915 h 3980066"/>
                <a:gd name="connsiteX602" fmla="*/ 7541834 w 8387961"/>
                <a:gd name="connsiteY602" fmla="*/ 2963248 h 3980066"/>
                <a:gd name="connsiteX603" fmla="*/ 7551877 w 8387961"/>
                <a:gd name="connsiteY603" fmla="*/ 2986580 h 3980066"/>
                <a:gd name="connsiteX604" fmla="*/ 7551877 w 8387961"/>
                <a:gd name="connsiteY604" fmla="*/ 3011579 h 3980066"/>
                <a:gd name="connsiteX605" fmla="*/ 7560246 w 8387961"/>
                <a:gd name="connsiteY605" fmla="*/ 3019912 h 3980066"/>
                <a:gd name="connsiteX606" fmla="*/ 7563594 w 8387961"/>
                <a:gd name="connsiteY606" fmla="*/ 3006579 h 3980066"/>
                <a:gd name="connsiteX607" fmla="*/ 7575310 w 8387961"/>
                <a:gd name="connsiteY607" fmla="*/ 3019912 h 3980066"/>
                <a:gd name="connsiteX608" fmla="*/ 7580332 w 8387961"/>
                <a:gd name="connsiteY608" fmla="*/ 3011579 h 3980066"/>
                <a:gd name="connsiteX609" fmla="*/ 7573637 w 8387961"/>
                <a:gd name="connsiteY609" fmla="*/ 3046577 h 3980066"/>
                <a:gd name="connsiteX610" fmla="*/ 7590375 w 8387961"/>
                <a:gd name="connsiteY610" fmla="*/ 3064910 h 3980066"/>
                <a:gd name="connsiteX611" fmla="*/ 7600418 w 8387961"/>
                <a:gd name="connsiteY611" fmla="*/ 3081576 h 3980066"/>
                <a:gd name="connsiteX612" fmla="*/ 7610461 w 8387961"/>
                <a:gd name="connsiteY612" fmla="*/ 3096575 h 3980066"/>
                <a:gd name="connsiteX613" fmla="*/ 7612135 w 8387961"/>
                <a:gd name="connsiteY613" fmla="*/ 3114908 h 3980066"/>
                <a:gd name="connsiteX614" fmla="*/ 7605440 w 8387961"/>
                <a:gd name="connsiteY614" fmla="*/ 3139907 h 3980066"/>
                <a:gd name="connsiteX615" fmla="*/ 7597070 w 8387961"/>
                <a:gd name="connsiteY615" fmla="*/ 3163239 h 3980066"/>
                <a:gd name="connsiteX616" fmla="*/ 7597070 w 8387961"/>
                <a:gd name="connsiteY616" fmla="*/ 3183238 h 3980066"/>
                <a:gd name="connsiteX617" fmla="*/ 7595397 w 8387961"/>
                <a:gd name="connsiteY617" fmla="*/ 3204904 h 3980066"/>
                <a:gd name="connsiteX618" fmla="*/ 7580332 w 8387961"/>
                <a:gd name="connsiteY618" fmla="*/ 3233236 h 3980066"/>
                <a:gd name="connsiteX619" fmla="*/ 7560246 w 8387961"/>
                <a:gd name="connsiteY619" fmla="*/ 3261568 h 3980066"/>
                <a:gd name="connsiteX620" fmla="*/ 7540160 w 8387961"/>
                <a:gd name="connsiteY620" fmla="*/ 3289900 h 3980066"/>
                <a:gd name="connsiteX621" fmla="*/ 7516726 w 8387961"/>
                <a:gd name="connsiteY621" fmla="*/ 3314899 h 3980066"/>
                <a:gd name="connsiteX622" fmla="*/ 7506683 w 8387961"/>
                <a:gd name="connsiteY622" fmla="*/ 3323232 h 3980066"/>
                <a:gd name="connsiteX623" fmla="*/ 7476554 w 8387961"/>
                <a:gd name="connsiteY623" fmla="*/ 3346564 h 3980066"/>
                <a:gd name="connsiteX624" fmla="*/ 7466511 w 8387961"/>
                <a:gd name="connsiteY624" fmla="*/ 3356564 h 3980066"/>
                <a:gd name="connsiteX625" fmla="*/ 7443077 w 8387961"/>
                <a:gd name="connsiteY625" fmla="*/ 3389896 h 3980066"/>
                <a:gd name="connsiteX626" fmla="*/ 7414622 w 8387961"/>
                <a:gd name="connsiteY626" fmla="*/ 3419895 h 3980066"/>
                <a:gd name="connsiteX627" fmla="*/ 7386166 w 8387961"/>
                <a:gd name="connsiteY627" fmla="*/ 3449893 h 3980066"/>
                <a:gd name="connsiteX628" fmla="*/ 7374449 w 8387961"/>
                <a:gd name="connsiteY628" fmla="*/ 3464893 h 3980066"/>
                <a:gd name="connsiteX629" fmla="*/ 7342646 w 8387961"/>
                <a:gd name="connsiteY629" fmla="*/ 3474892 h 3980066"/>
                <a:gd name="connsiteX630" fmla="*/ 7319213 w 8387961"/>
                <a:gd name="connsiteY630" fmla="*/ 3476559 h 3980066"/>
                <a:gd name="connsiteX631" fmla="*/ 7270671 w 8387961"/>
                <a:gd name="connsiteY631" fmla="*/ 3501558 h 3980066"/>
                <a:gd name="connsiteX632" fmla="*/ 7263976 w 8387961"/>
                <a:gd name="connsiteY632" fmla="*/ 3511557 h 3980066"/>
                <a:gd name="connsiteX633" fmla="*/ 7258954 w 8387961"/>
                <a:gd name="connsiteY633" fmla="*/ 3506557 h 3980066"/>
                <a:gd name="connsiteX634" fmla="*/ 7253933 w 8387961"/>
                <a:gd name="connsiteY634" fmla="*/ 3493225 h 3980066"/>
                <a:gd name="connsiteX635" fmla="*/ 7243890 w 8387961"/>
                <a:gd name="connsiteY635" fmla="*/ 3493225 h 3980066"/>
                <a:gd name="connsiteX636" fmla="*/ 7238868 w 8387961"/>
                <a:gd name="connsiteY636" fmla="*/ 3491558 h 3980066"/>
                <a:gd name="connsiteX637" fmla="*/ 7248911 w 8387961"/>
                <a:gd name="connsiteY637" fmla="*/ 3479892 h 3980066"/>
                <a:gd name="connsiteX638" fmla="*/ 7232173 w 8387961"/>
                <a:gd name="connsiteY638" fmla="*/ 3484892 h 3980066"/>
                <a:gd name="connsiteX639" fmla="*/ 7232173 w 8387961"/>
                <a:gd name="connsiteY639" fmla="*/ 3489891 h 3980066"/>
                <a:gd name="connsiteX640" fmla="*/ 7195348 w 8387961"/>
                <a:gd name="connsiteY640" fmla="*/ 3503224 h 3980066"/>
                <a:gd name="connsiteX641" fmla="*/ 7178610 w 8387961"/>
                <a:gd name="connsiteY641" fmla="*/ 3496558 h 3980066"/>
                <a:gd name="connsiteX642" fmla="*/ 7160197 w 8387961"/>
                <a:gd name="connsiteY642" fmla="*/ 3489891 h 3980066"/>
                <a:gd name="connsiteX643" fmla="*/ 7135090 w 8387961"/>
                <a:gd name="connsiteY643" fmla="*/ 3479892 h 3980066"/>
                <a:gd name="connsiteX644" fmla="*/ 7133416 w 8387961"/>
                <a:gd name="connsiteY644" fmla="*/ 3449893 h 3980066"/>
                <a:gd name="connsiteX645" fmla="*/ 7143459 w 8387961"/>
                <a:gd name="connsiteY645" fmla="*/ 3421561 h 3980066"/>
                <a:gd name="connsiteX646" fmla="*/ 7138437 w 8387961"/>
                <a:gd name="connsiteY646" fmla="*/ 3409895 h 3980066"/>
                <a:gd name="connsiteX647" fmla="*/ 7131742 w 8387961"/>
                <a:gd name="connsiteY647" fmla="*/ 3406562 h 3980066"/>
                <a:gd name="connsiteX648" fmla="*/ 7118351 w 8387961"/>
                <a:gd name="connsiteY648" fmla="*/ 3406562 h 3980066"/>
                <a:gd name="connsiteX649" fmla="*/ 7138437 w 8387961"/>
                <a:gd name="connsiteY649" fmla="*/ 3383229 h 3980066"/>
                <a:gd name="connsiteX650" fmla="*/ 7131742 w 8387961"/>
                <a:gd name="connsiteY650" fmla="*/ 3369897 h 3980066"/>
                <a:gd name="connsiteX651" fmla="*/ 7109982 w 8387961"/>
                <a:gd name="connsiteY651" fmla="*/ 3396562 h 3980066"/>
                <a:gd name="connsiteX652" fmla="*/ 7091570 w 8387961"/>
                <a:gd name="connsiteY652" fmla="*/ 3396562 h 3980066"/>
                <a:gd name="connsiteX653" fmla="*/ 7103287 w 8387961"/>
                <a:gd name="connsiteY653" fmla="*/ 3389896 h 3980066"/>
                <a:gd name="connsiteX654" fmla="*/ 7121699 w 8387961"/>
                <a:gd name="connsiteY654" fmla="*/ 3364897 h 3980066"/>
                <a:gd name="connsiteX655" fmla="*/ 7140111 w 8387961"/>
                <a:gd name="connsiteY655" fmla="*/ 3341565 h 3980066"/>
                <a:gd name="connsiteX656" fmla="*/ 7145133 w 8387961"/>
                <a:gd name="connsiteY656" fmla="*/ 3319899 h 3980066"/>
                <a:gd name="connsiteX657" fmla="*/ 7133416 w 8387961"/>
                <a:gd name="connsiteY657" fmla="*/ 3333232 h 3980066"/>
                <a:gd name="connsiteX658" fmla="*/ 7103287 w 8387961"/>
                <a:gd name="connsiteY658" fmla="*/ 3356564 h 3980066"/>
                <a:gd name="connsiteX659" fmla="*/ 7073158 w 8387961"/>
                <a:gd name="connsiteY659" fmla="*/ 3383229 h 3980066"/>
                <a:gd name="connsiteX660" fmla="*/ 7069810 w 8387961"/>
                <a:gd name="connsiteY660" fmla="*/ 3386563 h 3980066"/>
                <a:gd name="connsiteX661" fmla="*/ 7058093 w 8387961"/>
                <a:gd name="connsiteY661" fmla="*/ 3374896 h 3980066"/>
                <a:gd name="connsiteX662" fmla="*/ 7061441 w 8387961"/>
                <a:gd name="connsiteY662" fmla="*/ 3374896 h 3980066"/>
                <a:gd name="connsiteX663" fmla="*/ 7059767 w 8387961"/>
                <a:gd name="connsiteY663" fmla="*/ 3354897 h 3980066"/>
                <a:gd name="connsiteX664" fmla="*/ 7058093 w 8387961"/>
                <a:gd name="connsiteY664" fmla="*/ 3334898 h 3980066"/>
                <a:gd name="connsiteX665" fmla="*/ 7053071 w 8387961"/>
                <a:gd name="connsiteY665" fmla="*/ 3323232 h 3980066"/>
                <a:gd name="connsiteX666" fmla="*/ 7049724 w 8387961"/>
                <a:gd name="connsiteY666" fmla="*/ 3314899 h 3980066"/>
                <a:gd name="connsiteX667" fmla="*/ 7043028 w 8387961"/>
                <a:gd name="connsiteY667" fmla="*/ 3306566 h 3980066"/>
                <a:gd name="connsiteX668" fmla="*/ 7007878 w 8387961"/>
                <a:gd name="connsiteY668" fmla="*/ 3293233 h 3980066"/>
                <a:gd name="connsiteX669" fmla="*/ 6989465 w 8387961"/>
                <a:gd name="connsiteY669" fmla="*/ 3286567 h 3980066"/>
                <a:gd name="connsiteX670" fmla="*/ 6957662 w 8387961"/>
                <a:gd name="connsiteY670" fmla="*/ 3293233 h 3980066"/>
                <a:gd name="connsiteX671" fmla="*/ 6924186 w 8387961"/>
                <a:gd name="connsiteY671" fmla="*/ 3296567 h 3980066"/>
                <a:gd name="connsiteX672" fmla="*/ 6892383 w 8387961"/>
                <a:gd name="connsiteY672" fmla="*/ 3303233 h 3980066"/>
                <a:gd name="connsiteX673" fmla="*/ 6860580 w 8387961"/>
                <a:gd name="connsiteY673" fmla="*/ 3309899 h 3980066"/>
                <a:gd name="connsiteX674" fmla="*/ 6828777 w 8387961"/>
                <a:gd name="connsiteY674" fmla="*/ 3323232 h 3980066"/>
                <a:gd name="connsiteX675" fmla="*/ 6793626 w 8387961"/>
                <a:gd name="connsiteY675" fmla="*/ 3334898 h 3980066"/>
                <a:gd name="connsiteX676" fmla="*/ 6770192 w 8387961"/>
                <a:gd name="connsiteY676" fmla="*/ 3359897 h 3980066"/>
                <a:gd name="connsiteX677" fmla="*/ 6733367 w 8387961"/>
                <a:gd name="connsiteY677" fmla="*/ 3361564 h 3980066"/>
                <a:gd name="connsiteX678" fmla="*/ 6706586 w 8387961"/>
                <a:gd name="connsiteY678" fmla="*/ 3361564 h 3980066"/>
                <a:gd name="connsiteX679" fmla="*/ 6678131 w 8387961"/>
                <a:gd name="connsiteY679" fmla="*/ 3361564 h 3980066"/>
                <a:gd name="connsiteX680" fmla="*/ 6661392 w 8387961"/>
                <a:gd name="connsiteY680" fmla="*/ 3373230 h 3980066"/>
                <a:gd name="connsiteX681" fmla="*/ 6658045 w 8387961"/>
                <a:gd name="connsiteY681" fmla="*/ 3376563 h 3980066"/>
                <a:gd name="connsiteX682" fmla="*/ 6626242 w 8387961"/>
                <a:gd name="connsiteY682" fmla="*/ 3389896 h 3980066"/>
                <a:gd name="connsiteX683" fmla="*/ 6592765 w 8387961"/>
                <a:gd name="connsiteY683" fmla="*/ 3393229 h 3980066"/>
                <a:gd name="connsiteX684" fmla="*/ 6576027 w 8387961"/>
                <a:gd name="connsiteY684" fmla="*/ 3381563 h 3980066"/>
                <a:gd name="connsiteX685" fmla="*/ 6557614 w 8387961"/>
                <a:gd name="connsiteY685" fmla="*/ 3371563 h 3980066"/>
                <a:gd name="connsiteX686" fmla="*/ 6559288 w 8387961"/>
                <a:gd name="connsiteY686" fmla="*/ 3353231 h 3980066"/>
                <a:gd name="connsiteX687" fmla="*/ 6571005 w 8387961"/>
                <a:gd name="connsiteY687" fmla="*/ 3349898 h 3980066"/>
                <a:gd name="connsiteX688" fmla="*/ 6589417 w 8387961"/>
                <a:gd name="connsiteY688" fmla="*/ 3319899 h 3980066"/>
                <a:gd name="connsiteX689" fmla="*/ 6591091 w 8387961"/>
                <a:gd name="connsiteY689" fmla="*/ 3299900 h 3980066"/>
                <a:gd name="connsiteX690" fmla="*/ 6596113 w 8387961"/>
                <a:gd name="connsiteY690" fmla="*/ 3276567 h 3980066"/>
                <a:gd name="connsiteX691" fmla="*/ 6597786 w 8387961"/>
                <a:gd name="connsiteY691" fmla="*/ 3254902 h 3980066"/>
                <a:gd name="connsiteX692" fmla="*/ 6599460 w 8387961"/>
                <a:gd name="connsiteY692" fmla="*/ 3233236 h 3980066"/>
                <a:gd name="connsiteX693" fmla="*/ 6596113 w 8387961"/>
                <a:gd name="connsiteY693" fmla="*/ 3206570 h 3980066"/>
                <a:gd name="connsiteX694" fmla="*/ 6592765 w 8387961"/>
                <a:gd name="connsiteY694" fmla="*/ 3181572 h 3980066"/>
                <a:gd name="connsiteX695" fmla="*/ 6589417 w 8387961"/>
                <a:gd name="connsiteY695" fmla="*/ 3153239 h 3980066"/>
                <a:gd name="connsiteX696" fmla="*/ 6586070 w 8387961"/>
                <a:gd name="connsiteY696" fmla="*/ 3124907 h 3980066"/>
                <a:gd name="connsiteX697" fmla="*/ 6587743 w 8387961"/>
                <a:gd name="connsiteY697" fmla="*/ 3126574 h 3980066"/>
                <a:gd name="connsiteX698" fmla="*/ 6592765 w 8387961"/>
                <a:gd name="connsiteY698" fmla="*/ 3139907 h 3980066"/>
                <a:gd name="connsiteX699" fmla="*/ 6592765 w 8387961"/>
                <a:gd name="connsiteY699" fmla="*/ 3109908 h 3980066"/>
                <a:gd name="connsiteX700" fmla="*/ 6601134 w 8387961"/>
                <a:gd name="connsiteY700" fmla="*/ 3123241 h 3980066"/>
                <a:gd name="connsiteX701" fmla="*/ 6601134 w 8387961"/>
                <a:gd name="connsiteY701" fmla="*/ 3131574 h 3980066"/>
                <a:gd name="connsiteX702" fmla="*/ 6607830 w 8387961"/>
                <a:gd name="connsiteY702" fmla="*/ 3124907 h 3980066"/>
                <a:gd name="connsiteX703" fmla="*/ 6606156 w 8387961"/>
                <a:gd name="connsiteY703" fmla="*/ 3104908 h 3980066"/>
                <a:gd name="connsiteX704" fmla="*/ 6602808 w 8387961"/>
                <a:gd name="connsiteY704" fmla="*/ 3083242 h 3980066"/>
                <a:gd name="connsiteX705" fmla="*/ 6606156 w 8387961"/>
                <a:gd name="connsiteY705" fmla="*/ 3056577 h 3980066"/>
                <a:gd name="connsiteX706" fmla="*/ 6619546 w 8387961"/>
                <a:gd name="connsiteY706" fmla="*/ 3024912 h 3980066"/>
                <a:gd name="connsiteX707" fmla="*/ 6631263 w 8387961"/>
                <a:gd name="connsiteY707" fmla="*/ 2996580 h 3980066"/>
                <a:gd name="connsiteX708" fmla="*/ 6629589 w 8387961"/>
                <a:gd name="connsiteY708" fmla="*/ 3014912 h 3980066"/>
                <a:gd name="connsiteX709" fmla="*/ 6641306 w 8387961"/>
                <a:gd name="connsiteY709" fmla="*/ 3004913 h 3980066"/>
                <a:gd name="connsiteX710" fmla="*/ 6676457 w 8387961"/>
                <a:gd name="connsiteY710" fmla="*/ 2981580 h 3980066"/>
                <a:gd name="connsiteX711" fmla="*/ 6711608 w 8387961"/>
                <a:gd name="connsiteY711" fmla="*/ 2956581 h 3980066"/>
                <a:gd name="connsiteX712" fmla="*/ 6719977 w 8387961"/>
                <a:gd name="connsiteY712" fmla="*/ 2961581 h 3980066"/>
                <a:gd name="connsiteX713" fmla="*/ 6743411 w 8387961"/>
                <a:gd name="connsiteY713" fmla="*/ 2953248 h 3980066"/>
                <a:gd name="connsiteX714" fmla="*/ 6768518 w 8387961"/>
                <a:gd name="connsiteY714" fmla="*/ 2944915 h 3980066"/>
                <a:gd name="connsiteX715" fmla="*/ 6798647 w 8387961"/>
                <a:gd name="connsiteY715" fmla="*/ 2939915 h 3980066"/>
                <a:gd name="connsiteX716" fmla="*/ 6818733 w 8387961"/>
                <a:gd name="connsiteY716" fmla="*/ 2926583 h 3980066"/>
                <a:gd name="connsiteX717" fmla="*/ 6838820 w 8387961"/>
                <a:gd name="connsiteY717" fmla="*/ 2914916 h 3980066"/>
                <a:gd name="connsiteX718" fmla="*/ 6863927 w 8387961"/>
                <a:gd name="connsiteY718" fmla="*/ 2886584 h 3980066"/>
                <a:gd name="connsiteX719" fmla="*/ 6863927 w 8387961"/>
                <a:gd name="connsiteY719" fmla="*/ 2866585 h 3980066"/>
                <a:gd name="connsiteX720" fmla="*/ 6882339 w 8387961"/>
                <a:gd name="connsiteY720" fmla="*/ 2843253 h 3980066"/>
                <a:gd name="connsiteX721" fmla="*/ 6890709 w 8387961"/>
                <a:gd name="connsiteY721" fmla="*/ 2834920 h 3980066"/>
                <a:gd name="connsiteX722" fmla="*/ 6899078 w 8387961"/>
                <a:gd name="connsiteY722" fmla="*/ 2856586 h 3980066"/>
                <a:gd name="connsiteX723" fmla="*/ 6907447 w 8387961"/>
                <a:gd name="connsiteY723" fmla="*/ 2879918 h 3980066"/>
                <a:gd name="connsiteX724" fmla="*/ 6907447 w 8387961"/>
                <a:gd name="connsiteY724" fmla="*/ 2854919 h 3980066"/>
                <a:gd name="connsiteX725" fmla="*/ 6912469 w 8387961"/>
                <a:gd name="connsiteY725" fmla="*/ 2851586 h 3980066"/>
                <a:gd name="connsiteX726" fmla="*/ 6909121 w 8387961"/>
                <a:gd name="connsiteY726" fmla="*/ 2836586 h 3980066"/>
                <a:gd name="connsiteX727" fmla="*/ 6912469 w 8387961"/>
                <a:gd name="connsiteY727" fmla="*/ 2831587 h 3980066"/>
                <a:gd name="connsiteX728" fmla="*/ 6919164 w 8387961"/>
                <a:gd name="connsiteY728" fmla="*/ 2833253 h 3980066"/>
                <a:gd name="connsiteX729" fmla="*/ 6924186 w 8387961"/>
                <a:gd name="connsiteY729" fmla="*/ 2833253 h 3980066"/>
                <a:gd name="connsiteX730" fmla="*/ 6939250 w 8387961"/>
                <a:gd name="connsiteY730" fmla="*/ 2833253 h 3980066"/>
                <a:gd name="connsiteX731" fmla="*/ 6932555 w 8387961"/>
                <a:gd name="connsiteY731" fmla="*/ 2831587 h 3980066"/>
                <a:gd name="connsiteX732" fmla="*/ 6932555 w 8387961"/>
                <a:gd name="connsiteY732" fmla="*/ 2823254 h 3980066"/>
                <a:gd name="connsiteX733" fmla="*/ 6940924 w 8387961"/>
                <a:gd name="connsiteY733" fmla="*/ 2816587 h 3980066"/>
                <a:gd name="connsiteX734" fmla="*/ 6937576 w 8387961"/>
                <a:gd name="connsiteY734" fmla="*/ 2816587 h 3980066"/>
                <a:gd name="connsiteX735" fmla="*/ 6934229 w 8387961"/>
                <a:gd name="connsiteY735" fmla="*/ 2814921 h 3980066"/>
                <a:gd name="connsiteX736" fmla="*/ 6942598 w 8387961"/>
                <a:gd name="connsiteY736" fmla="*/ 2803254 h 3980066"/>
                <a:gd name="connsiteX737" fmla="*/ 6954315 w 8387961"/>
                <a:gd name="connsiteY737" fmla="*/ 2809921 h 3980066"/>
                <a:gd name="connsiteX738" fmla="*/ 6950967 w 8387961"/>
                <a:gd name="connsiteY738" fmla="*/ 2794921 h 3980066"/>
                <a:gd name="connsiteX739" fmla="*/ 6961010 w 8387961"/>
                <a:gd name="connsiteY739" fmla="*/ 2796588 h 3980066"/>
                <a:gd name="connsiteX740" fmla="*/ 6959336 w 8387961"/>
                <a:gd name="connsiteY740" fmla="*/ 2786589 h 3980066"/>
                <a:gd name="connsiteX741" fmla="*/ 6972727 w 8387961"/>
                <a:gd name="connsiteY741" fmla="*/ 2773256 h 3980066"/>
                <a:gd name="connsiteX742" fmla="*/ 6977749 w 8387961"/>
                <a:gd name="connsiteY742" fmla="*/ 2781589 h 3980066"/>
                <a:gd name="connsiteX743" fmla="*/ 6982770 w 8387961"/>
                <a:gd name="connsiteY743" fmla="*/ 2764923 h 3980066"/>
                <a:gd name="connsiteX744" fmla="*/ 6989465 w 8387961"/>
                <a:gd name="connsiteY744" fmla="*/ 2764923 h 3980066"/>
                <a:gd name="connsiteX745" fmla="*/ 6992813 w 8387961"/>
                <a:gd name="connsiteY745" fmla="*/ 2761590 h 3980066"/>
                <a:gd name="connsiteX746" fmla="*/ 6994487 w 8387961"/>
                <a:gd name="connsiteY746" fmla="*/ 2764923 h 3980066"/>
                <a:gd name="connsiteX747" fmla="*/ 7007878 w 8387961"/>
                <a:gd name="connsiteY747" fmla="*/ 2761590 h 3980066"/>
                <a:gd name="connsiteX748" fmla="*/ 7009552 w 8387961"/>
                <a:gd name="connsiteY748" fmla="*/ 2754923 h 3980066"/>
                <a:gd name="connsiteX749" fmla="*/ 7034659 w 8387961"/>
                <a:gd name="connsiteY749" fmla="*/ 2781589 h 3980066"/>
                <a:gd name="connsiteX750" fmla="*/ 7029638 w 8387961"/>
                <a:gd name="connsiteY750" fmla="*/ 2799921 h 3980066"/>
                <a:gd name="connsiteX751" fmla="*/ 7029638 w 8387961"/>
                <a:gd name="connsiteY751" fmla="*/ 2806588 h 3980066"/>
                <a:gd name="connsiteX752" fmla="*/ 7032985 w 8387961"/>
                <a:gd name="connsiteY752" fmla="*/ 2801588 h 3980066"/>
                <a:gd name="connsiteX753" fmla="*/ 7039681 w 8387961"/>
                <a:gd name="connsiteY753" fmla="*/ 2801588 h 3980066"/>
                <a:gd name="connsiteX754" fmla="*/ 7043028 w 8387961"/>
                <a:gd name="connsiteY754" fmla="*/ 2786589 h 3980066"/>
                <a:gd name="connsiteX755" fmla="*/ 7061441 w 8387961"/>
                <a:gd name="connsiteY755" fmla="*/ 2794921 h 3980066"/>
                <a:gd name="connsiteX756" fmla="*/ 7064788 w 8387961"/>
                <a:gd name="connsiteY756" fmla="*/ 2789922 h 3980066"/>
                <a:gd name="connsiteX757" fmla="*/ 7084875 w 8387961"/>
                <a:gd name="connsiteY757" fmla="*/ 2804921 h 3980066"/>
                <a:gd name="connsiteX758" fmla="*/ 7074831 w 8387961"/>
                <a:gd name="connsiteY758" fmla="*/ 2794921 h 3980066"/>
                <a:gd name="connsiteX759" fmla="*/ 7083201 w 8387961"/>
                <a:gd name="connsiteY759" fmla="*/ 2784922 h 3980066"/>
                <a:gd name="connsiteX760" fmla="*/ 7079853 w 8387961"/>
                <a:gd name="connsiteY760" fmla="*/ 2781589 h 3980066"/>
                <a:gd name="connsiteX761" fmla="*/ 7071484 w 8387961"/>
                <a:gd name="connsiteY761" fmla="*/ 2776589 h 3980066"/>
                <a:gd name="connsiteX762" fmla="*/ 7083201 w 8387961"/>
                <a:gd name="connsiteY762" fmla="*/ 2754923 h 3980066"/>
                <a:gd name="connsiteX763" fmla="*/ 7093244 w 8387961"/>
                <a:gd name="connsiteY763" fmla="*/ 2744924 h 3980066"/>
                <a:gd name="connsiteX764" fmla="*/ 7094918 w 8387961"/>
                <a:gd name="connsiteY764" fmla="*/ 2739924 h 3980066"/>
                <a:gd name="connsiteX765" fmla="*/ 7104961 w 8387961"/>
                <a:gd name="connsiteY765" fmla="*/ 2723258 h 3980066"/>
                <a:gd name="connsiteX766" fmla="*/ 7109982 w 8387961"/>
                <a:gd name="connsiteY766" fmla="*/ 2716592 h 3980066"/>
                <a:gd name="connsiteX767" fmla="*/ 7115004 w 8387961"/>
                <a:gd name="connsiteY767" fmla="*/ 2721591 h 3980066"/>
                <a:gd name="connsiteX768" fmla="*/ 7121699 w 8387961"/>
                <a:gd name="connsiteY768" fmla="*/ 2711592 h 3980066"/>
                <a:gd name="connsiteX769" fmla="*/ 7131742 w 8387961"/>
                <a:gd name="connsiteY769" fmla="*/ 2706592 h 3980066"/>
                <a:gd name="connsiteX770" fmla="*/ 7153502 w 8387961"/>
                <a:gd name="connsiteY770" fmla="*/ 2711592 h 3980066"/>
                <a:gd name="connsiteX771" fmla="*/ 7161871 w 8387961"/>
                <a:gd name="connsiteY771" fmla="*/ 2706592 h 3980066"/>
                <a:gd name="connsiteX772" fmla="*/ 7168567 w 8387961"/>
                <a:gd name="connsiteY772" fmla="*/ 2694926 h 3980066"/>
                <a:gd name="connsiteX773" fmla="*/ 7155176 w 8387961"/>
                <a:gd name="connsiteY773" fmla="*/ 2686593 h 3980066"/>
                <a:gd name="connsiteX774" fmla="*/ 7145133 w 8387961"/>
                <a:gd name="connsiteY774" fmla="*/ 2681593 h 3980066"/>
                <a:gd name="connsiteX775" fmla="*/ 7153502 w 8387961"/>
                <a:gd name="connsiteY775" fmla="*/ 2684926 h 3980066"/>
                <a:gd name="connsiteX776" fmla="*/ 7155176 w 8387961"/>
                <a:gd name="connsiteY776" fmla="*/ 2681593 h 3980066"/>
                <a:gd name="connsiteX777" fmla="*/ 7163545 w 8387961"/>
                <a:gd name="connsiteY777" fmla="*/ 2683260 h 3980066"/>
                <a:gd name="connsiteX778" fmla="*/ 7175262 w 8387961"/>
                <a:gd name="connsiteY778" fmla="*/ 2684926 h 3980066"/>
                <a:gd name="connsiteX779" fmla="*/ 7193674 w 8387961"/>
                <a:gd name="connsiteY779" fmla="*/ 2696592 h 3980066"/>
                <a:gd name="connsiteX780" fmla="*/ 7205391 w 8387961"/>
                <a:gd name="connsiteY780" fmla="*/ 2704925 h 3980066"/>
                <a:gd name="connsiteX781" fmla="*/ 7223803 w 8387961"/>
                <a:gd name="connsiteY781" fmla="*/ 2709925 h 3980066"/>
                <a:gd name="connsiteX782" fmla="*/ 7248911 w 8387961"/>
                <a:gd name="connsiteY782" fmla="*/ 2703259 h 3980066"/>
                <a:gd name="connsiteX783" fmla="*/ 7243890 w 8387961"/>
                <a:gd name="connsiteY783" fmla="*/ 2709925 h 3980066"/>
                <a:gd name="connsiteX784" fmla="*/ 7252259 w 8387961"/>
                <a:gd name="connsiteY784" fmla="*/ 2709925 h 3980066"/>
                <a:gd name="connsiteX785" fmla="*/ 7253933 w 8387961"/>
                <a:gd name="connsiteY785" fmla="*/ 2716592 h 3980066"/>
                <a:gd name="connsiteX786" fmla="*/ 7263976 w 8387961"/>
                <a:gd name="connsiteY786" fmla="*/ 2703259 h 3980066"/>
                <a:gd name="connsiteX787" fmla="*/ 7275693 w 8387961"/>
                <a:gd name="connsiteY787" fmla="*/ 2713258 h 3980066"/>
                <a:gd name="connsiteX788" fmla="*/ 7263976 w 8387961"/>
                <a:gd name="connsiteY788" fmla="*/ 2731591 h 3980066"/>
                <a:gd name="connsiteX789" fmla="*/ 7258954 w 8387961"/>
                <a:gd name="connsiteY789" fmla="*/ 2741590 h 3980066"/>
                <a:gd name="connsiteX790" fmla="*/ 7253933 w 8387961"/>
                <a:gd name="connsiteY790" fmla="*/ 2736591 h 3980066"/>
                <a:gd name="connsiteX791" fmla="*/ 7245563 w 8387961"/>
                <a:gd name="connsiteY791" fmla="*/ 2754923 h 3980066"/>
                <a:gd name="connsiteX792" fmla="*/ 7228825 w 8387961"/>
                <a:gd name="connsiteY792" fmla="*/ 2784922 h 3980066"/>
                <a:gd name="connsiteX793" fmla="*/ 7243890 w 8387961"/>
                <a:gd name="connsiteY793" fmla="*/ 2801588 h 3980066"/>
                <a:gd name="connsiteX794" fmla="*/ 7258954 w 8387961"/>
                <a:gd name="connsiteY794" fmla="*/ 2819920 h 3980066"/>
                <a:gd name="connsiteX795" fmla="*/ 7285736 w 8387961"/>
                <a:gd name="connsiteY795" fmla="*/ 2836586 h 3980066"/>
                <a:gd name="connsiteX796" fmla="*/ 7312517 w 8387961"/>
                <a:gd name="connsiteY796" fmla="*/ 2854919 h 3980066"/>
                <a:gd name="connsiteX797" fmla="*/ 7330929 w 8387961"/>
                <a:gd name="connsiteY797" fmla="*/ 2871585 h 3980066"/>
                <a:gd name="connsiteX798" fmla="*/ 7351015 w 8387961"/>
                <a:gd name="connsiteY798" fmla="*/ 2866585 h 3980066"/>
                <a:gd name="connsiteX799" fmla="*/ 7369428 w 8387961"/>
                <a:gd name="connsiteY799" fmla="*/ 2833253 h 3980066"/>
                <a:gd name="connsiteX800" fmla="*/ 7389514 w 8387961"/>
                <a:gd name="connsiteY800" fmla="*/ 2799921 h 3980066"/>
                <a:gd name="connsiteX801" fmla="*/ 7391188 w 8387961"/>
                <a:gd name="connsiteY801" fmla="*/ 2774922 h 3980066"/>
                <a:gd name="connsiteX802" fmla="*/ 7392862 w 8387961"/>
                <a:gd name="connsiteY802" fmla="*/ 2749923 h 3980066"/>
                <a:gd name="connsiteX803" fmla="*/ 7396209 w 8387961"/>
                <a:gd name="connsiteY803" fmla="*/ 2749923 h 3980066"/>
                <a:gd name="connsiteX804" fmla="*/ 7399557 w 8387961"/>
                <a:gd name="connsiteY804" fmla="*/ 2736591 h 3980066"/>
                <a:gd name="connsiteX805" fmla="*/ 7406252 w 8387961"/>
                <a:gd name="connsiteY805" fmla="*/ 2724925 h 3980066"/>
                <a:gd name="connsiteX806" fmla="*/ 7406252 w 8387961"/>
                <a:gd name="connsiteY806" fmla="*/ 2721591 h 3980066"/>
                <a:gd name="connsiteX807" fmla="*/ 7402905 w 8387961"/>
                <a:gd name="connsiteY807" fmla="*/ 2719925 h 3980066"/>
                <a:gd name="connsiteX808" fmla="*/ 7409600 w 8387961"/>
                <a:gd name="connsiteY808" fmla="*/ 2703259 h 3980066"/>
                <a:gd name="connsiteX809" fmla="*/ 7414622 w 8387961"/>
                <a:gd name="connsiteY809" fmla="*/ 2691593 h 3980066"/>
                <a:gd name="connsiteX810" fmla="*/ 1946953 w 8387961"/>
                <a:gd name="connsiteY810" fmla="*/ 2662245 h 3980066"/>
                <a:gd name="connsiteX811" fmla="*/ 1947023 w 8387961"/>
                <a:gd name="connsiteY811" fmla="*/ 2663253 h 3980066"/>
                <a:gd name="connsiteX812" fmla="*/ 1950369 w 8387961"/>
                <a:gd name="connsiteY812" fmla="*/ 2686687 h 3980066"/>
                <a:gd name="connsiteX813" fmla="*/ 1970450 w 8387961"/>
                <a:gd name="connsiteY813" fmla="*/ 2710121 h 3980066"/>
                <a:gd name="connsiteX814" fmla="*/ 1990537 w 8387961"/>
                <a:gd name="connsiteY814" fmla="*/ 2716816 h 3980066"/>
                <a:gd name="connsiteX815" fmla="*/ 2012300 w 8387961"/>
                <a:gd name="connsiteY815" fmla="*/ 2726859 h 3980066"/>
                <a:gd name="connsiteX816" fmla="*/ 2042429 w 8387961"/>
                <a:gd name="connsiteY816" fmla="*/ 2746946 h 3980066"/>
                <a:gd name="connsiteX817" fmla="*/ 2072558 w 8387961"/>
                <a:gd name="connsiteY817" fmla="*/ 2753641 h 3980066"/>
                <a:gd name="connsiteX818" fmla="*/ 2080799 w 8387961"/>
                <a:gd name="connsiteY818" fmla="*/ 2765183 h 3980066"/>
                <a:gd name="connsiteX819" fmla="*/ 2080568 w 8387961"/>
                <a:gd name="connsiteY819" fmla="*/ 2763103 h 3980066"/>
                <a:gd name="connsiteX820" fmla="*/ 2072207 w 8387961"/>
                <a:gd name="connsiteY820" fmla="*/ 2751398 h 3980066"/>
                <a:gd name="connsiteX821" fmla="*/ 2042107 w 8387961"/>
                <a:gd name="connsiteY821" fmla="*/ 2744709 h 3980066"/>
                <a:gd name="connsiteX822" fmla="*/ 2012012 w 8387961"/>
                <a:gd name="connsiteY822" fmla="*/ 2724643 h 3980066"/>
                <a:gd name="connsiteX823" fmla="*/ 1990268 w 8387961"/>
                <a:gd name="connsiteY823" fmla="*/ 2714610 h 3980066"/>
                <a:gd name="connsiteX824" fmla="*/ 1970209 w 8387961"/>
                <a:gd name="connsiteY824" fmla="*/ 2707922 h 3980066"/>
                <a:gd name="connsiteX825" fmla="*/ 1950135 w 8387961"/>
                <a:gd name="connsiteY825" fmla="*/ 2684511 h 3980066"/>
                <a:gd name="connsiteX826" fmla="*/ 4557616 w 8387961"/>
                <a:gd name="connsiteY826" fmla="*/ 2654226 h 3980066"/>
                <a:gd name="connsiteX827" fmla="*/ 4554616 w 8387961"/>
                <a:gd name="connsiteY827" fmla="*/ 2659521 h 3980066"/>
                <a:gd name="connsiteX828" fmla="*/ 4557682 w 8387961"/>
                <a:gd name="connsiteY828" fmla="*/ 2654316 h 3980066"/>
                <a:gd name="connsiteX829" fmla="*/ 7933010 w 8387961"/>
                <a:gd name="connsiteY829" fmla="*/ 2648356 h 3980066"/>
                <a:gd name="connsiteX830" fmla="*/ 7952594 w 8387961"/>
                <a:gd name="connsiteY830" fmla="*/ 2661613 h 3980066"/>
                <a:gd name="connsiteX831" fmla="*/ 7952594 w 8387961"/>
                <a:gd name="connsiteY831" fmla="*/ 2664927 h 3980066"/>
                <a:gd name="connsiteX832" fmla="*/ 7934516 w 8387961"/>
                <a:gd name="connsiteY832" fmla="*/ 2653327 h 3980066"/>
                <a:gd name="connsiteX833" fmla="*/ 7658835 w 8387961"/>
                <a:gd name="connsiteY833" fmla="*/ 2634798 h 3980066"/>
                <a:gd name="connsiteX834" fmla="*/ 7667874 w 8387961"/>
                <a:gd name="connsiteY834" fmla="*/ 2640222 h 3980066"/>
                <a:gd name="connsiteX835" fmla="*/ 7663355 w 8387961"/>
                <a:gd name="connsiteY835" fmla="*/ 2643837 h 3980066"/>
                <a:gd name="connsiteX836" fmla="*/ 1802979 w 8387961"/>
                <a:gd name="connsiteY836" fmla="*/ 2624313 h 3980066"/>
                <a:gd name="connsiteX837" fmla="*/ 1800371 w 8387961"/>
                <a:gd name="connsiteY837" fmla="*/ 2626692 h 3980066"/>
                <a:gd name="connsiteX838" fmla="*/ 1801923 w 8387961"/>
                <a:gd name="connsiteY838" fmla="*/ 2650065 h 3980066"/>
                <a:gd name="connsiteX839" fmla="*/ 1803595 w 8387961"/>
                <a:gd name="connsiteY839" fmla="*/ 2671791 h 3980066"/>
                <a:gd name="connsiteX840" fmla="*/ 1832037 w 8387961"/>
                <a:gd name="connsiteY840" fmla="*/ 2670120 h 3980066"/>
                <a:gd name="connsiteX841" fmla="*/ 1843757 w 8387961"/>
                <a:gd name="connsiteY841" fmla="*/ 2691847 h 3980066"/>
                <a:gd name="connsiteX842" fmla="*/ 1858812 w 8387961"/>
                <a:gd name="connsiteY842" fmla="*/ 2715245 h 3980066"/>
                <a:gd name="connsiteX843" fmla="*/ 1853794 w 8387961"/>
                <a:gd name="connsiteY843" fmla="*/ 2723602 h 3980066"/>
                <a:gd name="connsiteX844" fmla="*/ 1853794 w 8387961"/>
                <a:gd name="connsiteY844" fmla="*/ 2760370 h 3980066"/>
                <a:gd name="connsiteX845" fmla="*/ 1848775 w 8387961"/>
                <a:gd name="connsiteY845" fmla="*/ 2775412 h 3980066"/>
                <a:gd name="connsiteX846" fmla="*/ 1848775 w 8387961"/>
                <a:gd name="connsiteY846" fmla="*/ 2800482 h 3980066"/>
                <a:gd name="connsiteX847" fmla="*/ 1852121 w 8387961"/>
                <a:gd name="connsiteY847" fmla="*/ 2825551 h 3980066"/>
                <a:gd name="connsiteX848" fmla="*/ 1854873 w 8387961"/>
                <a:gd name="connsiteY848" fmla="*/ 2826652 h 3980066"/>
                <a:gd name="connsiteX849" fmla="*/ 1851608 w 8387961"/>
                <a:gd name="connsiteY849" fmla="*/ 2802182 h 3980066"/>
                <a:gd name="connsiteX850" fmla="*/ 1851608 w 8387961"/>
                <a:gd name="connsiteY850" fmla="*/ 2777075 h 3980066"/>
                <a:gd name="connsiteX851" fmla="*/ 1856636 w 8387961"/>
                <a:gd name="connsiteY851" fmla="*/ 2762010 h 3980066"/>
                <a:gd name="connsiteX852" fmla="*/ 1856636 w 8387961"/>
                <a:gd name="connsiteY852" fmla="*/ 2725186 h 3980066"/>
                <a:gd name="connsiteX853" fmla="*/ 1861655 w 8387961"/>
                <a:gd name="connsiteY853" fmla="*/ 2716816 h 3980066"/>
                <a:gd name="connsiteX854" fmla="*/ 1846586 w 8387961"/>
                <a:gd name="connsiteY854" fmla="*/ 2693383 h 3980066"/>
                <a:gd name="connsiteX855" fmla="*/ 1834871 w 8387961"/>
                <a:gd name="connsiteY855" fmla="*/ 2671623 h 3980066"/>
                <a:gd name="connsiteX856" fmla="*/ 1866673 w 8387961"/>
                <a:gd name="connsiteY856" fmla="*/ 2671623 h 3980066"/>
                <a:gd name="connsiteX857" fmla="*/ 1880063 w 8387961"/>
                <a:gd name="connsiteY857" fmla="*/ 2663253 h 3980066"/>
                <a:gd name="connsiteX858" fmla="*/ 1901823 w 8387961"/>
                <a:gd name="connsiteY858" fmla="*/ 2649863 h 3980066"/>
                <a:gd name="connsiteX859" fmla="*/ 1923585 w 8387961"/>
                <a:gd name="connsiteY859" fmla="*/ 2634798 h 3980066"/>
                <a:gd name="connsiteX860" fmla="*/ 1945251 w 8387961"/>
                <a:gd name="connsiteY860" fmla="*/ 2636465 h 3980066"/>
                <a:gd name="connsiteX861" fmla="*/ 1945118 w 8387961"/>
                <a:gd name="connsiteY861" fmla="*/ 2634346 h 3980066"/>
                <a:gd name="connsiteX862" fmla="*/ 1923388 w 8387961"/>
                <a:gd name="connsiteY862" fmla="*/ 2632674 h 3980066"/>
                <a:gd name="connsiteX863" fmla="*/ 1901641 w 8387961"/>
                <a:gd name="connsiteY863" fmla="*/ 2647723 h 3980066"/>
                <a:gd name="connsiteX864" fmla="*/ 1879901 w 8387961"/>
                <a:gd name="connsiteY864" fmla="*/ 2661101 h 3980066"/>
                <a:gd name="connsiteX865" fmla="*/ 1866530 w 8387961"/>
                <a:gd name="connsiteY865" fmla="*/ 2669462 h 3980066"/>
                <a:gd name="connsiteX866" fmla="*/ 1834752 w 8387961"/>
                <a:gd name="connsiteY866" fmla="*/ 2669462 h 3980066"/>
                <a:gd name="connsiteX867" fmla="*/ 1806325 w 8387961"/>
                <a:gd name="connsiteY867" fmla="*/ 2671134 h 3980066"/>
                <a:gd name="connsiteX868" fmla="*/ 1804652 w 8387961"/>
                <a:gd name="connsiteY868" fmla="*/ 2649396 h 3980066"/>
                <a:gd name="connsiteX869" fmla="*/ 6815218 w 8387961"/>
                <a:gd name="connsiteY869" fmla="*/ 2624252 h 3980066"/>
                <a:gd name="connsiteX870" fmla="*/ 6843572 w 8387961"/>
                <a:gd name="connsiteY870" fmla="*/ 2624252 h 3980066"/>
                <a:gd name="connsiteX871" fmla="*/ 6861918 w 8387961"/>
                <a:gd name="connsiteY871" fmla="*/ 2643535 h 3980066"/>
                <a:gd name="connsiteX872" fmla="*/ 6843572 w 8387961"/>
                <a:gd name="connsiteY872" fmla="*/ 2648355 h 3980066"/>
                <a:gd name="connsiteX873" fmla="*/ 6821889 w 8387961"/>
                <a:gd name="connsiteY873" fmla="*/ 2633893 h 3980066"/>
                <a:gd name="connsiteX874" fmla="*/ 4540466 w 8387961"/>
                <a:gd name="connsiteY874" fmla="*/ 2623407 h 3980066"/>
                <a:gd name="connsiteX875" fmla="*/ 4540773 w 8387961"/>
                <a:gd name="connsiteY875" fmla="*/ 2624646 h 3980066"/>
                <a:gd name="connsiteX876" fmla="*/ 4564569 w 8387961"/>
                <a:gd name="connsiteY876" fmla="*/ 2629263 h 3980066"/>
                <a:gd name="connsiteX877" fmla="*/ 4574899 w 8387961"/>
                <a:gd name="connsiteY877" fmla="*/ 2634273 h 3980066"/>
                <a:gd name="connsiteX878" fmla="*/ 4580282 w 8387961"/>
                <a:gd name="connsiteY878" fmla="*/ 2653072 h 3980066"/>
                <a:gd name="connsiteX879" fmla="*/ 4574771 w 8387961"/>
                <a:gd name="connsiteY879" fmla="*/ 2633276 h 3980066"/>
                <a:gd name="connsiteX880" fmla="*/ 4564675 w 8387961"/>
                <a:gd name="connsiteY880" fmla="*/ 2628238 h 3980066"/>
                <a:gd name="connsiteX881" fmla="*/ 4896994 w 8387961"/>
                <a:gd name="connsiteY881" fmla="*/ 2621240 h 3980066"/>
                <a:gd name="connsiteX882" fmla="*/ 4900509 w 8387961"/>
                <a:gd name="connsiteY882" fmla="*/ 2621240 h 3980066"/>
                <a:gd name="connsiteX883" fmla="*/ 4889964 w 8387961"/>
                <a:gd name="connsiteY883" fmla="*/ 2624253 h 3980066"/>
                <a:gd name="connsiteX884" fmla="*/ 7894345 w 8387961"/>
                <a:gd name="connsiteY884" fmla="*/ 2618227 h 3980066"/>
                <a:gd name="connsiteX885" fmla="*/ 7919452 w 8387961"/>
                <a:gd name="connsiteY885" fmla="*/ 2634250 h 3980066"/>
                <a:gd name="connsiteX886" fmla="*/ 7917778 w 8387961"/>
                <a:gd name="connsiteY886" fmla="*/ 2637811 h 3980066"/>
                <a:gd name="connsiteX887" fmla="*/ 7889323 w 8387961"/>
                <a:gd name="connsiteY887" fmla="*/ 2627129 h 3980066"/>
                <a:gd name="connsiteX888" fmla="*/ 4432082 w 8387961"/>
                <a:gd name="connsiteY888" fmla="*/ 2599221 h 3980066"/>
                <a:gd name="connsiteX889" fmla="*/ 4431882 w 8387961"/>
                <a:gd name="connsiteY889" fmla="*/ 2599275 h 3980066"/>
                <a:gd name="connsiteX890" fmla="*/ 4418601 w 8387961"/>
                <a:gd name="connsiteY890" fmla="*/ 2621015 h 3980066"/>
                <a:gd name="connsiteX891" fmla="*/ 4423581 w 8387961"/>
                <a:gd name="connsiteY891" fmla="*/ 2646101 h 3980066"/>
                <a:gd name="connsiteX892" fmla="*/ 4421921 w 8387961"/>
                <a:gd name="connsiteY892" fmla="*/ 2672858 h 3980066"/>
                <a:gd name="connsiteX893" fmla="*/ 4418601 w 8387961"/>
                <a:gd name="connsiteY893" fmla="*/ 2699616 h 3980066"/>
                <a:gd name="connsiteX894" fmla="*/ 4443502 w 8387961"/>
                <a:gd name="connsiteY894" fmla="*/ 2716339 h 3980066"/>
                <a:gd name="connsiteX895" fmla="*/ 4444852 w 8387961"/>
                <a:gd name="connsiteY895" fmla="*/ 2714708 h 3980066"/>
                <a:gd name="connsiteX896" fmla="*/ 4420062 w 8387961"/>
                <a:gd name="connsiteY896" fmla="*/ 2698035 h 3980066"/>
                <a:gd name="connsiteX897" fmla="*/ 4423399 w 8387961"/>
                <a:gd name="connsiteY897" fmla="*/ 2671104 h 3980066"/>
                <a:gd name="connsiteX898" fmla="*/ 4425067 w 8387961"/>
                <a:gd name="connsiteY898" fmla="*/ 2644173 h 3980066"/>
                <a:gd name="connsiteX899" fmla="*/ 4420062 w 8387961"/>
                <a:gd name="connsiteY899" fmla="*/ 2618925 h 3980066"/>
                <a:gd name="connsiteX900" fmla="*/ 7035161 w 8387961"/>
                <a:gd name="connsiteY900" fmla="*/ 2594123 h 3980066"/>
                <a:gd name="connsiteX901" fmla="*/ 7002562 w 8387961"/>
                <a:gd name="connsiteY901" fmla="*/ 2613750 h 3980066"/>
                <a:gd name="connsiteX902" fmla="*/ 6971594 w 8387961"/>
                <a:gd name="connsiteY902" fmla="*/ 2633377 h 3980066"/>
                <a:gd name="connsiteX903" fmla="*/ 6937365 w 8387961"/>
                <a:gd name="connsiteY903" fmla="*/ 2651368 h 3980066"/>
                <a:gd name="connsiteX904" fmla="*/ 6935735 w 8387961"/>
                <a:gd name="connsiteY904" fmla="*/ 2644826 h 3980066"/>
                <a:gd name="connsiteX905" fmla="*/ 6937365 w 8387961"/>
                <a:gd name="connsiteY905" fmla="*/ 2643190 h 3980066"/>
                <a:gd name="connsiteX906" fmla="*/ 6950404 w 8387961"/>
                <a:gd name="connsiteY906" fmla="*/ 2621928 h 3980066"/>
                <a:gd name="connsiteX907" fmla="*/ 6973223 w 8387961"/>
                <a:gd name="connsiteY907" fmla="*/ 2608843 h 3980066"/>
                <a:gd name="connsiteX908" fmla="*/ 6999302 w 8387961"/>
                <a:gd name="connsiteY908" fmla="*/ 2595759 h 3980066"/>
                <a:gd name="connsiteX909" fmla="*/ 7922465 w 8387961"/>
                <a:gd name="connsiteY909" fmla="*/ 2588097 h 3980066"/>
                <a:gd name="connsiteX910" fmla="*/ 7933010 w 8387961"/>
                <a:gd name="connsiteY910" fmla="*/ 2627265 h 3980066"/>
                <a:gd name="connsiteX911" fmla="*/ 7919452 w 8387961"/>
                <a:gd name="connsiteY911" fmla="*/ 2596612 h 3980066"/>
                <a:gd name="connsiteX912" fmla="*/ 6920050 w 8387961"/>
                <a:gd name="connsiteY912" fmla="*/ 2588097 h 3980066"/>
                <a:gd name="connsiteX913" fmla="*/ 6925190 w 8387961"/>
                <a:gd name="connsiteY913" fmla="*/ 2588097 h 3980066"/>
                <a:gd name="connsiteX914" fmla="*/ 6925190 w 8387961"/>
                <a:gd name="connsiteY914" fmla="*/ 2589754 h 3980066"/>
                <a:gd name="connsiteX915" fmla="*/ 6902918 w 8387961"/>
                <a:gd name="connsiteY915" fmla="*/ 2603011 h 3980066"/>
                <a:gd name="connsiteX916" fmla="*/ 6875506 w 8387961"/>
                <a:gd name="connsiteY916" fmla="*/ 2604668 h 3980066"/>
                <a:gd name="connsiteX917" fmla="*/ 6849808 w 8387961"/>
                <a:gd name="connsiteY917" fmla="*/ 2604668 h 3980066"/>
                <a:gd name="connsiteX918" fmla="*/ 6837815 w 8387961"/>
                <a:gd name="connsiteY918" fmla="*/ 2601354 h 3980066"/>
                <a:gd name="connsiteX919" fmla="*/ 6851521 w 8387961"/>
                <a:gd name="connsiteY919" fmla="*/ 2589754 h 3980066"/>
                <a:gd name="connsiteX920" fmla="*/ 6873793 w 8387961"/>
                <a:gd name="connsiteY920" fmla="*/ 2591411 h 3980066"/>
                <a:gd name="connsiteX921" fmla="*/ 6894352 w 8387961"/>
                <a:gd name="connsiteY921" fmla="*/ 2594726 h 3980066"/>
                <a:gd name="connsiteX922" fmla="*/ 6911484 w 8387961"/>
                <a:gd name="connsiteY922" fmla="*/ 2594726 h 3980066"/>
                <a:gd name="connsiteX923" fmla="*/ 6751445 w 8387961"/>
                <a:gd name="connsiteY923" fmla="*/ 2588097 h 3980066"/>
                <a:gd name="connsiteX924" fmla="*/ 6757973 w 8387961"/>
                <a:gd name="connsiteY924" fmla="*/ 2592993 h 3980066"/>
                <a:gd name="connsiteX925" fmla="*/ 6748181 w 8387961"/>
                <a:gd name="connsiteY925" fmla="*/ 2607681 h 3980066"/>
                <a:gd name="connsiteX926" fmla="*/ 6738389 w 8387961"/>
                <a:gd name="connsiteY926" fmla="*/ 2602785 h 3980066"/>
                <a:gd name="connsiteX927" fmla="*/ 6784613 w 8387961"/>
                <a:gd name="connsiteY927" fmla="*/ 2583578 h 3980066"/>
                <a:gd name="connsiteX928" fmla="*/ 6809589 w 8387961"/>
                <a:gd name="connsiteY928" fmla="*/ 2593148 h 3980066"/>
                <a:gd name="connsiteX929" fmla="*/ 6817914 w 8387961"/>
                <a:gd name="connsiteY929" fmla="*/ 2591553 h 3980066"/>
                <a:gd name="connsiteX930" fmla="*/ 6821244 w 8387961"/>
                <a:gd name="connsiteY930" fmla="*/ 2599529 h 3980066"/>
                <a:gd name="connsiteX931" fmla="*/ 6809589 w 8387961"/>
                <a:gd name="connsiteY931" fmla="*/ 2602719 h 3980066"/>
                <a:gd name="connsiteX932" fmla="*/ 6811254 w 8387961"/>
                <a:gd name="connsiteY932" fmla="*/ 2604314 h 3980066"/>
                <a:gd name="connsiteX933" fmla="*/ 6801264 w 8387961"/>
                <a:gd name="connsiteY933" fmla="*/ 2602719 h 3980066"/>
                <a:gd name="connsiteX934" fmla="*/ 6779618 w 8387961"/>
                <a:gd name="connsiteY934" fmla="*/ 2607504 h 3980066"/>
                <a:gd name="connsiteX935" fmla="*/ 6757973 w 8387961"/>
                <a:gd name="connsiteY935" fmla="*/ 2610694 h 3980066"/>
                <a:gd name="connsiteX936" fmla="*/ 6762968 w 8387961"/>
                <a:gd name="connsiteY936" fmla="*/ 2594744 h 3980066"/>
                <a:gd name="connsiteX937" fmla="*/ 6782948 w 8387961"/>
                <a:gd name="connsiteY937" fmla="*/ 2597934 h 3980066"/>
                <a:gd name="connsiteX938" fmla="*/ 6797934 w 8387961"/>
                <a:gd name="connsiteY938" fmla="*/ 2599529 h 3980066"/>
                <a:gd name="connsiteX939" fmla="*/ 6700727 w 8387961"/>
                <a:gd name="connsiteY939" fmla="*/ 2583578 h 3980066"/>
                <a:gd name="connsiteX940" fmla="*/ 6727508 w 8387961"/>
                <a:gd name="connsiteY940" fmla="*/ 2587194 h 3980066"/>
                <a:gd name="connsiteX941" fmla="*/ 6730856 w 8387961"/>
                <a:gd name="connsiteY941" fmla="*/ 2592617 h 3980066"/>
                <a:gd name="connsiteX942" fmla="*/ 6714118 w 8387961"/>
                <a:gd name="connsiteY942" fmla="*/ 2601656 h 3980066"/>
                <a:gd name="connsiteX943" fmla="*/ 7838857 w 8387961"/>
                <a:gd name="connsiteY943" fmla="*/ 2580565 h 3980066"/>
                <a:gd name="connsiteX944" fmla="*/ 7845636 w 8387961"/>
                <a:gd name="connsiteY944" fmla="*/ 2597136 h 3980066"/>
                <a:gd name="connsiteX945" fmla="*/ 7837162 w 8387961"/>
                <a:gd name="connsiteY945" fmla="*/ 2587194 h 3980066"/>
                <a:gd name="connsiteX946" fmla="*/ 7832078 w 8387961"/>
                <a:gd name="connsiteY946" fmla="*/ 2587194 h 3980066"/>
                <a:gd name="connsiteX947" fmla="*/ 7869739 w 8387961"/>
                <a:gd name="connsiteY947" fmla="*/ 2567007 h 3980066"/>
                <a:gd name="connsiteX948" fmla="*/ 7885596 w 8387961"/>
                <a:gd name="connsiteY948" fmla="*/ 2582072 h 3980066"/>
                <a:gd name="connsiteX949" fmla="*/ 7899868 w 8387961"/>
                <a:gd name="connsiteY949" fmla="*/ 2597136 h 3980066"/>
                <a:gd name="connsiteX950" fmla="*/ 7896697 w 8387961"/>
                <a:gd name="connsiteY950" fmla="*/ 2597136 h 3980066"/>
                <a:gd name="connsiteX951" fmla="*/ 7884011 w 8387961"/>
                <a:gd name="connsiteY951" fmla="*/ 2582072 h 3980066"/>
                <a:gd name="connsiteX952" fmla="*/ 4247325 w 8387961"/>
                <a:gd name="connsiteY952" fmla="*/ 2565786 h 3980066"/>
                <a:gd name="connsiteX953" fmla="*/ 4248915 w 8387961"/>
                <a:gd name="connsiteY953" fmla="*/ 2598934 h 3980066"/>
                <a:gd name="connsiteX954" fmla="*/ 4248915 w 8387961"/>
                <a:gd name="connsiteY954" fmla="*/ 2632257 h 3980066"/>
                <a:gd name="connsiteX955" fmla="*/ 4249273 w 8387961"/>
                <a:gd name="connsiteY955" fmla="*/ 2633535 h 3980066"/>
                <a:gd name="connsiteX956" fmla="*/ 4249273 w 8387961"/>
                <a:gd name="connsiteY956" fmla="*/ 2600947 h 3980066"/>
                <a:gd name="connsiteX957" fmla="*/ 4247613 w 8387961"/>
                <a:gd name="connsiteY957" fmla="*/ 2565828 h 3980066"/>
                <a:gd name="connsiteX958" fmla="*/ 4211995 w 8387961"/>
                <a:gd name="connsiteY958" fmla="*/ 2554071 h 3980066"/>
                <a:gd name="connsiteX959" fmla="*/ 4211995 w 8387961"/>
                <a:gd name="connsiteY959" fmla="*/ 2558947 h 3980066"/>
                <a:gd name="connsiteX960" fmla="*/ 4212751 w 8387961"/>
                <a:gd name="connsiteY960" fmla="*/ 2559055 h 3980066"/>
                <a:gd name="connsiteX961" fmla="*/ 4212751 w 8387961"/>
                <a:gd name="connsiteY961" fmla="*/ 2554121 h 3980066"/>
                <a:gd name="connsiteX962" fmla="*/ 6654027 w 8387961"/>
                <a:gd name="connsiteY962" fmla="*/ 2550436 h 3980066"/>
                <a:gd name="connsiteX963" fmla="*/ 6691688 w 8387961"/>
                <a:gd name="connsiteY963" fmla="*/ 2550436 h 3980066"/>
                <a:gd name="connsiteX964" fmla="*/ 6664298 w 8387961"/>
                <a:gd name="connsiteY964" fmla="*/ 2553449 h 3980066"/>
                <a:gd name="connsiteX965" fmla="*/ 7815507 w 8387961"/>
                <a:gd name="connsiteY965" fmla="*/ 2541397 h 3980066"/>
                <a:gd name="connsiteX966" fmla="*/ 7839610 w 8387961"/>
                <a:gd name="connsiteY966" fmla="*/ 2563994 h 3980066"/>
                <a:gd name="connsiteX967" fmla="*/ 7824115 w 8387961"/>
                <a:gd name="connsiteY967" fmla="*/ 2558779 h 3980066"/>
                <a:gd name="connsiteX968" fmla="*/ 7220456 w 8387961"/>
                <a:gd name="connsiteY968" fmla="*/ 2527839 h 3980066"/>
                <a:gd name="connsiteX969" fmla="*/ 7229495 w 8387961"/>
                <a:gd name="connsiteY969" fmla="*/ 2538521 h 3980066"/>
                <a:gd name="connsiteX970" fmla="*/ 7221963 w 8387961"/>
                <a:gd name="connsiteY970" fmla="*/ 2547423 h 3980066"/>
                <a:gd name="connsiteX971" fmla="*/ 4108524 w 8387961"/>
                <a:gd name="connsiteY971" fmla="*/ 2522246 h 3980066"/>
                <a:gd name="connsiteX972" fmla="*/ 4118017 w 8387961"/>
                <a:gd name="connsiteY972" fmla="*/ 2548951 h 3980066"/>
                <a:gd name="connsiteX973" fmla="*/ 4129764 w 8387961"/>
                <a:gd name="connsiteY973" fmla="*/ 2577275 h 3980066"/>
                <a:gd name="connsiteX974" fmla="*/ 4130724 w 8387961"/>
                <a:gd name="connsiteY974" fmla="*/ 2577535 h 3980066"/>
                <a:gd name="connsiteX975" fmla="*/ 4119787 w 8387961"/>
                <a:gd name="connsiteY975" fmla="*/ 2550777 h 3980066"/>
                <a:gd name="connsiteX976" fmla="*/ 4109826 w 8387961"/>
                <a:gd name="connsiteY976" fmla="*/ 2522347 h 3980066"/>
                <a:gd name="connsiteX977" fmla="*/ 6478561 w 8387961"/>
                <a:gd name="connsiteY977" fmla="*/ 2520307 h 3980066"/>
                <a:gd name="connsiteX978" fmla="*/ 6512223 w 8387961"/>
                <a:gd name="connsiteY978" fmla="*/ 2520307 h 3980066"/>
                <a:gd name="connsiteX979" fmla="*/ 6542518 w 8387961"/>
                <a:gd name="connsiteY979" fmla="*/ 2534081 h 3980066"/>
                <a:gd name="connsiteX980" fmla="*/ 6552617 w 8387961"/>
                <a:gd name="connsiteY980" fmla="*/ 2547854 h 3980066"/>
                <a:gd name="connsiteX981" fmla="*/ 6576180 w 8387961"/>
                <a:gd name="connsiteY981" fmla="*/ 2547854 h 3980066"/>
                <a:gd name="connsiteX982" fmla="*/ 6596377 w 8387961"/>
                <a:gd name="connsiteY982" fmla="*/ 2547854 h 3980066"/>
                <a:gd name="connsiteX983" fmla="*/ 6608158 w 8387961"/>
                <a:gd name="connsiteY983" fmla="*/ 2532359 h 3980066"/>
                <a:gd name="connsiteX984" fmla="*/ 6619939 w 8387961"/>
                <a:gd name="connsiteY984" fmla="*/ 2540967 h 3980066"/>
                <a:gd name="connsiteX985" fmla="*/ 6651918 w 8387961"/>
                <a:gd name="connsiteY985" fmla="*/ 2553019 h 3980066"/>
                <a:gd name="connsiteX986" fmla="*/ 6658650 w 8387961"/>
                <a:gd name="connsiteY986" fmla="*/ 2570236 h 3980066"/>
                <a:gd name="connsiteX987" fmla="*/ 6678847 w 8387961"/>
                <a:gd name="connsiteY987" fmla="*/ 2573679 h 3980066"/>
                <a:gd name="connsiteX988" fmla="*/ 6699044 w 8387961"/>
                <a:gd name="connsiteY988" fmla="*/ 2575401 h 3980066"/>
                <a:gd name="connsiteX989" fmla="*/ 6697361 w 8387961"/>
                <a:gd name="connsiteY989" fmla="*/ 2601226 h 3980066"/>
                <a:gd name="connsiteX990" fmla="*/ 6700727 w 8387961"/>
                <a:gd name="connsiteY990" fmla="*/ 2604669 h 3980066"/>
                <a:gd name="connsiteX991" fmla="*/ 6678847 w 8387961"/>
                <a:gd name="connsiteY991" fmla="*/ 2599504 h 3980066"/>
                <a:gd name="connsiteX992" fmla="*/ 6656967 w 8387961"/>
                <a:gd name="connsiteY992" fmla="*/ 2592617 h 3980066"/>
                <a:gd name="connsiteX993" fmla="*/ 6623306 w 8387961"/>
                <a:gd name="connsiteY993" fmla="*/ 2589174 h 3980066"/>
                <a:gd name="connsiteX994" fmla="*/ 6589644 w 8387961"/>
                <a:gd name="connsiteY994" fmla="*/ 2584009 h 3980066"/>
                <a:gd name="connsiteX995" fmla="*/ 6562715 w 8387961"/>
                <a:gd name="connsiteY995" fmla="*/ 2578844 h 3980066"/>
                <a:gd name="connsiteX996" fmla="*/ 6539152 w 8387961"/>
                <a:gd name="connsiteY996" fmla="*/ 2571957 h 3980066"/>
                <a:gd name="connsiteX997" fmla="*/ 6510540 w 8387961"/>
                <a:gd name="connsiteY997" fmla="*/ 2565071 h 3980066"/>
                <a:gd name="connsiteX998" fmla="*/ 6485294 w 8387961"/>
                <a:gd name="connsiteY998" fmla="*/ 2558184 h 3980066"/>
                <a:gd name="connsiteX999" fmla="*/ 6485294 w 8387961"/>
                <a:gd name="connsiteY999" fmla="*/ 2551297 h 3980066"/>
                <a:gd name="connsiteX1000" fmla="*/ 6456681 w 8387961"/>
                <a:gd name="connsiteY1000" fmla="*/ 2542689 h 3980066"/>
                <a:gd name="connsiteX1001" fmla="*/ 6465097 w 8387961"/>
                <a:gd name="connsiteY1001" fmla="*/ 2539246 h 3980066"/>
                <a:gd name="connsiteX1002" fmla="*/ 4713206 w 8387961"/>
                <a:gd name="connsiteY1002" fmla="*/ 2514281 h 3980066"/>
                <a:gd name="connsiteX1003" fmla="*/ 4716721 w 8387961"/>
                <a:gd name="connsiteY1003" fmla="*/ 2533865 h 3980066"/>
                <a:gd name="connsiteX1004" fmla="*/ 4706176 w 8387961"/>
                <a:gd name="connsiteY1004" fmla="*/ 2520809 h 3980066"/>
                <a:gd name="connsiteX1005" fmla="*/ 7240039 w 8387961"/>
                <a:gd name="connsiteY1005" fmla="*/ 2506749 h 3980066"/>
                <a:gd name="connsiteX1006" fmla="*/ 7240039 w 8387961"/>
                <a:gd name="connsiteY1006" fmla="*/ 2522972 h 3980066"/>
                <a:gd name="connsiteX1007" fmla="*/ 7229494 w 8387961"/>
                <a:gd name="connsiteY1007" fmla="*/ 2527839 h 3980066"/>
                <a:gd name="connsiteX1008" fmla="*/ 7229494 w 8387961"/>
                <a:gd name="connsiteY1008" fmla="*/ 2509994 h 3980066"/>
                <a:gd name="connsiteX1009" fmla="*/ 7768806 w 8387961"/>
                <a:gd name="connsiteY1009" fmla="*/ 2503736 h 3980066"/>
                <a:gd name="connsiteX1010" fmla="*/ 7785544 w 8387961"/>
                <a:gd name="connsiteY1010" fmla="*/ 2523153 h 3980066"/>
                <a:gd name="connsiteX1011" fmla="*/ 7798935 w 8387961"/>
                <a:gd name="connsiteY1011" fmla="*/ 2542569 h 3980066"/>
                <a:gd name="connsiteX1012" fmla="*/ 7792240 w 8387961"/>
                <a:gd name="connsiteY1012" fmla="*/ 2547423 h 3980066"/>
                <a:gd name="connsiteX1013" fmla="*/ 7775501 w 8387961"/>
                <a:gd name="connsiteY1013" fmla="*/ 2528007 h 3980066"/>
                <a:gd name="connsiteX1014" fmla="*/ 6925189 w 8387961"/>
                <a:gd name="connsiteY1014" fmla="*/ 2481139 h 3980066"/>
                <a:gd name="connsiteX1015" fmla="*/ 6925189 w 8387961"/>
                <a:gd name="connsiteY1015" fmla="*/ 2489299 h 3980066"/>
                <a:gd name="connsiteX1016" fmla="*/ 6914644 w 8387961"/>
                <a:gd name="connsiteY1016" fmla="*/ 2500723 h 3980066"/>
                <a:gd name="connsiteX1017" fmla="*/ 6919917 w 8387961"/>
                <a:gd name="connsiteY1017" fmla="*/ 2482771 h 3980066"/>
                <a:gd name="connsiteX1018" fmla="*/ 6932053 w 8387961"/>
                <a:gd name="connsiteY1018" fmla="*/ 2473606 h 3980066"/>
                <a:gd name="connsiteX1019" fmla="*/ 6932053 w 8387961"/>
                <a:gd name="connsiteY1019" fmla="*/ 2482165 h 3980066"/>
                <a:gd name="connsiteX1020" fmla="*/ 6932053 w 8387961"/>
                <a:gd name="connsiteY1020" fmla="*/ 2497572 h 3980066"/>
                <a:gd name="connsiteX1021" fmla="*/ 6935735 w 8387961"/>
                <a:gd name="connsiteY1021" fmla="*/ 2499284 h 3980066"/>
                <a:gd name="connsiteX1022" fmla="*/ 6919164 w 8387961"/>
                <a:gd name="connsiteY1022" fmla="*/ 2511267 h 3980066"/>
                <a:gd name="connsiteX1023" fmla="*/ 1784026 w 8387961"/>
                <a:gd name="connsiteY1023" fmla="*/ 2472404 h 3980066"/>
                <a:gd name="connsiteX1024" fmla="*/ 1781846 w 8387961"/>
                <a:gd name="connsiteY1024" fmla="*/ 2472907 h 3980066"/>
                <a:gd name="connsiteX1025" fmla="*/ 1760097 w 8387961"/>
                <a:gd name="connsiteY1025" fmla="*/ 2482934 h 3980066"/>
                <a:gd name="connsiteX1026" fmla="*/ 1740023 w 8387961"/>
                <a:gd name="connsiteY1026" fmla="*/ 2492962 h 3980066"/>
                <a:gd name="connsiteX1027" fmla="*/ 1731659 w 8387961"/>
                <a:gd name="connsiteY1027" fmla="*/ 2514689 h 3980066"/>
                <a:gd name="connsiteX1028" fmla="*/ 1726640 w 8387961"/>
                <a:gd name="connsiteY1028" fmla="*/ 2539759 h 3980066"/>
                <a:gd name="connsiteX1029" fmla="*/ 1711585 w 8387961"/>
                <a:gd name="connsiteY1029" fmla="*/ 2563157 h 3980066"/>
                <a:gd name="connsiteX1030" fmla="*/ 1723295 w 8387961"/>
                <a:gd name="connsiteY1030" fmla="*/ 2584884 h 3980066"/>
                <a:gd name="connsiteX1031" fmla="*/ 1736678 w 8387961"/>
                <a:gd name="connsiteY1031" fmla="*/ 2608282 h 3980066"/>
                <a:gd name="connsiteX1032" fmla="*/ 1733332 w 8387961"/>
                <a:gd name="connsiteY1032" fmla="*/ 2621652 h 3980066"/>
                <a:gd name="connsiteX1033" fmla="*/ 1746715 w 8387961"/>
                <a:gd name="connsiteY1033" fmla="*/ 2623324 h 3980066"/>
                <a:gd name="connsiteX1034" fmla="*/ 1760097 w 8387961"/>
                <a:gd name="connsiteY1034" fmla="*/ 2635023 h 3980066"/>
                <a:gd name="connsiteX1035" fmla="*/ 1781846 w 8387961"/>
                <a:gd name="connsiteY1035" fmla="*/ 2641708 h 3980066"/>
                <a:gd name="connsiteX1036" fmla="*/ 1783094 w 8387961"/>
                <a:gd name="connsiteY1036" fmla="*/ 2640575 h 3980066"/>
                <a:gd name="connsiteX1037" fmla="*/ 1762849 w 8387961"/>
                <a:gd name="connsiteY1037" fmla="*/ 2634346 h 3980066"/>
                <a:gd name="connsiteX1038" fmla="*/ 1749469 w 8387961"/>
                <a:gd name="connsiteY1038" fmla="*/ 2622641 h 3980066"/>
                <a:gd name="connsiteX1039" fmla="*/ 1736091 w 8387961"/>
                <a:gd name="connsiteY1039" fmla="*/ 2620969 h 3980066"/>
                <a:gd name="connsiteX1040" fmla="*/ 1739435 w 8387961"/>
                <a:gd name="connsiteY1040" fmla="*/ 2607591 h 3980066"/>
                <a:gd name="connsiteX1041" fmla="*/ 1726065 w 8387961"/>
                <a:gd name="connsiteY1041" fmla="*/ 2584181 h 3980066"/>
                <a:gd name="connsiteX1042" fmla="*/ 1714355 w 8387961"/>
                <a:gd name="connsiteY1042" fmla="*/ 2562443 h 3980066"/>
                <a:gd name="connsiteX1043" fmla="*/ 1729411 w 8387961"/>
                <a:gd name="connsiteY1043" fmla="*/ 2539032 h 3980066"/>
                <a:gd name="connsiteX1044" fmla="*/ 1734419 w 8387961"/>
                <a:gd name="connsiteY1044" fmla="*/ 2513950 h 3980066"/>
                <a:gd name="connsiteX1045" fmla="*/ 1742780 w 8387961"/>
                <a:gd name="connsiteY1045" fmla="*/ 2492212 h 3980066"/>
                <a:gd name="connsiteX1046" fmla="*/ 1762849 w 8387961"/>
                <a:gd name="connsiteY1046" fmla="*/ 2482179 h 3980066"/>
                <a:gd name="connsiteX1047" fmla="*/ 7701564 w 8387961"/>
                <a:gd name="connsiteY1047" fmla="*/ 2467581 h 3980066"/>
                <a:gd name="connsiteX1048" fmla="*/ 7711561 w 8387961"/>
                <a:gd name="connsiteY1048" fmla="*/ 2469255 h 3980066"/>
                <a:gd name="connsiteX1049" fmla="*/ 7703230 w 8387961"/>
                <a:gd name="connsiteY1049" fmla="*/ 2489341 h 3980066"/>
                <a:gd name="connsiteX1050" fmla="*/ 7696565 w 8387961"/>
                <a:gd name="connsiteY1050" fmla="*/ 2492689 h 3980066"/>
                <a:gd name="connsiteX1051" fmla="*/ 7698231 w 8387961"/>
                <a:gd name="connsiteY1051" fmla="*/ 2502732 h 3980066"/>
                <a:gd name="connsiteX1052" fmla="*/ 7681569 w 8387961"/>
                <a:gd name="connsiteY1052" fmla="*/ 2511101 h 3980066"/>
                <a:gd name="connsiteX1053" fmla="*/ 7644912 w 8387961"/>
                <a:gd name="connsiteY1053" fmla="*/ 2527839 h 3980066"/>
                <a:gd name="connsiteX1054" fmla="*/ 7623251 w 8387961"/>
                <a:gd name="connsiteY1054" fmla="*/ 2521144 h 3980066"/>
                <a:gd name="connsiteX1055" fmla="*/ 7606589 w 8387961"/>
                <a:gd name="connsiteY1055" fmla="*/ 2512775 h 3980066"/>
                <a:gd name="connsiteX1056" fmla="*/ 7601590 w 8387961"/>
                <a:gd name="connsiteY1056" fmla="*/ 2502732 h 3980066"/>
                <a:gd name="connsiteX1057" fmla="*/ 7636581 w 8387961"/>
                <a:gd name="connsiteY1057" fmla="*/ 2506079 h 3980066"/>
                <a:gd name="connsiteX1058" fmla="*/ 7646578 w 8387961"/>
                <a:gd name="connsiteY1058" fmla="*/ 2489341 h 3980066"/>
                <a:gd name="connsiteX1059" fmla="*/ 7646578 w 8387961"/>
                <a:gd name="connsiteY1059" fmla="*/ 2499384 h 3980066"/>
                <a:gd name="connsiteX1060" fmla="*/ 7661574 w 8387961"/>
                <a:gd name="connsiteY1060" fmla="*/ 2506079 h 3980066"/>
                <a:gd name="connsiteX1061" fmla="*/ 7686568 w 8387961"/>
                <a:gd name="connsiteY1061" fmla="*/ 2487667 h 3980066"/>
                <a:gd name="connsiteX1062" fmla="*/ 7686568 w 8387961"/>
                <a:gd name="connsiteY1062" fmla="*/ 2469255 h 3980066"/>
                <a:gd name="connsiteX1063" fmla="*/ 3986519 w 8387961"/>
                <a:gd name="connsiteY1063" fmla="*/ 2443253 h 3980066"/>
                <a:gd name="connsiteX1064" fmla="*/ 3981039 w 8387961"/>
                <a:gd name="connsiteY1064" fmla="*/ 2448743 h 3980066"/>
                <a:gd name="connsiteX1065" fmla="*/ 3974417 w 8387961"/>
                <a:gd name="connsiteY1065" fmla="*/ 2445426 h 3980066"/>
                <a:gd name="connsiteX1066" fmla="*/ 3973475 w 8387961"/>
                <a:gd name="connsiteY1066" fmla="*/ 2447077 h 3980066"/>
                <a:gd name="connsiteX1067" fmla="*/ 3979998 w 8387961"/>
                <a:gd name="connsiteY1067" fmla="*/ 2450291 h 3980066"/>
                <a:gd name="connsiteX1068" fmla="*/ 3986745 w 8387961"/>
                <a:gd name="connsiteY1068" fmla="*/ 2443643 h 3980066"/>
                <a:gd name="connsiteX1069" fmla="*/ 1595008 w 8387961"/>
                <a:gd name="connsiteY1069" fmla="*/ 2437792 h 3980066"/>
                <a:gd name="connsiteX1070" fmla="*/ 1594703 w 8387961"/>
                <a:gd name="connsiteY1070" fmla="*/ 2439481 h 3980066"/>
                <a:gd name="connsiteX1071" fmla="*/ 1596141 w 8387961"/>
                <a:gd name="connsiteY1071" fmla="*/ 2439481 h 3980066"/>
                <a:gd name="connsiteX1072" fmla="*/ 1597813 w 8387961"/>
                <a:gd name="connsiteY1072" fmla="*/ 2442823 h 3980066"/>
                <a:gd name="connsiteX1073" fmla="*/ 1601159 w 8387961"/>
                <a:gd name="connsiteY1073" fmla="*/ 2442823 h 3980066"/>
                <a:gd name="connsiteX1074" fmla="*/ 1600607 w 8387961"/>
                <a:gd name="connsiteY1074" fmla="*/ 2441171 h 3980066"/>
                <a:gd name="connsiteX1075" fmla="*/ 1600029 w 8387961"/>
                <a:gd name="connsiteY1075" fmla="*/ 2441171 h 3980066"/>
                <a:gd name="connsiteX1076" fmla="*/ 1598355 w 8387961"/>
                <a:gd name="connsiteY1076" fmla="*/ 2437792 h 3980066"/>
                <a:gd name="connsiteX1077" fmla="*/ 7023030 w 8387961"/>
                <a:gd name="connsiteY1077" fmla="*/ 2432932 h 3980066"/>
                <a:gd name="connsiteX1078" fmla="*/ 7045706 w 8387961"/>
                <a:gd name="connsiteY1078" fmla="*/ 2442666 h 3980066"/>
                <a:gd name="connsiteX1079" fmla="*/ 7033496 w 8387961"/>
                <a:gd name="connsiteY1079" fmla="*/ 2454022 h 3980066"/>
                <a:gd name="connsiteX1080" fmla="*/ 7012564 w 8387961"/>
                <a:gd name="connsiteY1080" fmla="*/ 2441044 h 3980066"/>
                <a:gd name="connsiteX1081" fmla="*/ 7080258 w 8387961"/>
                <a:gd name="connsiteY1081" fmla="*/ 2426906 h 3980066"/>
                <a:gd name="connsiteX1082" fmla="*/ 7103143 w 8387961"/>
                <a:gd name="connsiteY1082" fmla="*/ 2428601 h 3980066"/>
                <a:gd name="connsiteX1083" fmla="*/ 7124394 w 8387961"/>
                <a:gd name="connsiteY1083" fmla="*/ 2430296 h 3980066"/>
                <a:gd name="connsiteX1084" fmla="*/ 7139106 w 8387961"/>
                <a:gd name="connsiteY1084" fmla="*/ 2448938 h 3980066"/>
                <a:gd name="connsiteX1085" fmla="*/ 7134202 w 8387961"/>
                <a:gd name="connsiteY1085" fmla="*/ 2454022 h 3980066"/>
                <a:gd name="connsiteX1086" fmla="*/ 7103143 w 8387961"/>
                <a:gd name="connsiteY1086" fmla="*/ 2440464 h 3980066"/>
                <a:gd name="connsiteX1087" fmla="*/ 7081893 w 8387961"/>
                <a:gd name="connsiteY1087" fmla="*/ 2442159 h 3980066"/>
                <a:gd name="connsiteX1088" fmla="*/ 7065546 w 8387961"/>
                <a:gd name="connsiteY1088" fmla="*/ 2437075 h 3980066"/>
                <a:gd name="connsiteX1089" fmla="*/ 7062277 w 8387961"/>
                <a:gd name="connsiteY1089" fmla="*/ 2442159 h 3980066"/>
                <a:gd name="connsiteX1090" fmla="*/ 7063912 w 8387961"/>
                <a:gd name="connsiteY1090" fmla="*/ 2431990 h 3980066"/>
                <a:gd name="connsiteX1091" fmla="*/ 1542616 w 8387961"/>
                <a:gd name="connsiteY1091" fmla="*/ 2423893 h 3980066"/>
                <a:gd name="connsiteX1092" fmla="*/ 1547143 w 8387961"/>
                <a:gd name="connsiteY1092" fmla="*/ 2423893 h 3980066"/>
                <a:gd name="connsiteX1093" fmla="*/ 1543746 w 8387961"/>
                <a:gd name="connsiteY1093" fmla="*/ 2426906 h 3980066"/>
                <a:gd name="connsiteX1094" fmla="*/ 7672393 w 8387961"/>
                <a:gd name="connsiteY1094" fmla="*/ 2420880 h 3980066"/>
                <a:gd name="connsiteX1095" fmla="*/ 7692662 w 8387961"/>
                <a:gd name="connsiteY1095" fmla="*/ 2437980 h 3980066"/>
                <a:gd name="connsiteX1096" fmla="*/ 7714620 w 8387961"/>
                <a:gd name="connsiteY1096" fmla="*/ 2453371 h 3980066"/>
                <a:gd name="connsiteX1097" fmla="*/ 7728132 w 8387961"/>
                <a:gd name="connsiteY1097" fmla="*/ 2473891 h 3980066"/>
                <a:gd name="connsiteX1098" fmla="*/ 7721376 w 8387961"/>
                <a:gd name="connsiteY1098" fmla="*/ 2484151 h 3980066"/>
                <a:gd name="connsiteX1099" fmla="*/ 7702796 w 8387961"/>
                <a:gd name="connsiteY1099" fmla="*/ 2448241 h 3980066"/>
                <a:gd name="connsiteX1100" fmla="*/ 7687595 w 8387961"/>
                <a:gd name="connsiteY1100" fmla="*/ 2434560 h 3980066"/>
                <a:gd name="connsiteX1101" fmla="*/ 7672393 w 8387961"/>
                <a:gd name="connsiteY1101" fmla="*/ 2422590 h 3980066"/>
                <a:gd name="connsiteX1102" fmla="*/ 6522965 w 8387961"/>
                <a:gd name="connsiteY1102" fmla="*/ 2416361 h 3980066"/>
                <a:gd name="connsiteX1103" fmla="*/ 6544055 w 8387961"/>
                <a:gd name="connsiteY1103" fmla="*/ 2425947 h 3980066"/>
                <a:gd name="connsiteX1104" fmla="*/ 6532552 w 8387961"/>
                <a:gd name="connsiteY1104" fmla="*/ 2433617 h 3980066"/>
                <a:gd name="connsiteX1105" fmla="*/ 6522965 w 8387961"/>
                <a:gd name="connsiteY1105" fmla="*/ 2437451 h 3980066"/>
                <a:gd name="connsiteX1106" fmla="*/ 4000371 w 8387961"/>
                <a:gd name="connsiteY1106" fmla="*/ 2410636 h 3980066"/>
                <a:gd name="connsiteX1107" fmla="*/ 3977728 w 8387961"/>
                <a:gd name="connsiteY1107" fmla="*/ 2412256 h 3980066"/>
                <a:gd name="connsiteX1108" fmla="*/ 3977957 w 8387961"/>
                <a:gd name="connsiteY1108" fmla="*/ 2413634 h 3980066"/>
                <a:gd name="connsiteX1109" fmla="*/ 4000239 w 8387961"/>
                <a:gd name="connsiteY1109" fmla="*/ 2412066 h 3980066"/>
                <a:gd name="connsiteX1110" fmla="*/ 1650103 w 8387961"/>
                <a:gd name="connsiteY1110" fmla="*/ 2403492 h 3980066"/>
                <a:gd name="connsiteX1111" fmla="*/ 1623464 w 8387961"/>
                <a:gd name="connsiteY1111" fmla="*/ 2420893 h 3980066"/>
                <a:gd name="connsiteX1112" fmla="*/ 1608398 w 8387961"/>
                <a:gd name="connsiteY1112" fmla="*/ 2429342 h 3980066"/>
                <a:gd name="connsiteX1113" fmla="*/ 1607189 w 8387961"/>
                <a:gd name="connsiteY1113" fmla="*/ 2430562 h 3980066"/>
                <a:gd name="connsiteX1114" fmla="*/ 1621234 w 8387961"/>
                <a:gd name="connsiteY1114" fmla="*/ 2422768 h 3980066"/>
                <a:gd name="connsiteX1115" fmla="*/ 1649676 w 8387961"/>
                <a:gd name="connsiteY1115" fmla="*/ 2404383 h 3980066"/>
                <a:gd name="connsiteX1116" fmla="*/ 6981531 w 8387961"/>
                <a:gd name="connsiteY1116" fmla="*/ 2390751 h 3980066"/>
                <a:gd name="connsiteX1117" fmla="*/ 6995993 w 8387961"/>
                <a:gd name="connsiteY1117" fmla="*/ 2396777 h 3980066"/>
                <a:gd name="connsiteX1118" fmla="*/ 6968877 w 8387961"/>
                <a:gd name="connsiteY1118" fmla="*/ 2396777 h 3980066"/>
                <a:gd name="connsiteX1119" fmla="*/ 6478177 w 8387961"/>
                <a:gd name="connsiteY1119" fmla="*/ 2386232 h 3980066"/>
                <a:gd name="connsiteX1120" fmla="*/ 6488259 w 8387961"/>
                <a:gd name="connsiteY1120" fmla="*/ 2410447 h 3980066"/>
                <a:gd name="connsiteX1121" fmla="*/ 6503381 w 8387961"/>
                <a:gd name="connsiteY1121" fmla="*/ 2419095 h 3980066"/>
                <a:gd name="connsiteX1122" fmla="*/ 6500021 w 8387961"/>
                <a:gd name="connsiteY1122" fmla="*/ 2432932 h 3980066"/>
                <a:gd name="connsiteX1123" fmla="*/ 6478177 w 8387961"/>
                <a:gd name="connsiteY1123" fmla="*/ 2419095 h 3980066"/>
                <a:gd name="connsiteX1124" fmla="*/ 6469776 w 8387961"/>
                <a:gd name="connsiteY1124" fmla="*/ 2401799 h 3980066"/>
                <a:gd name="connsiteX1125" fmla="*/ 6459694 w 8387961"/>
                <a:gd name="connsiteY1125" fmla="*/ 2398340 h 3980066"/>
                <a:gd name="connsiteX1126" fmla="*/ 6471456 w 8387961"/>
                <a:gd name="connsiteY1126" fmla="*/ 2387962 h 3980066"/>
                <a:gd name="connsiteX1127" fmla="*/ 1668657 w 8387961"/>
                <a:gd name="connsiteY1127" fmla="*/ 2366818 h 3980066"/>
                <a:gd name="connsiteX1128" fmla="*/ 1667353 w 8387961"/>
                <a:gd name="connsiteY1128" fmla="*/ 2369598 h 3980066"/>
                <a:gd name="connsiteX1129" fmla="*/ 1671425 w 8387961"/>
                <a:gd name="connsiteY1129" fmla="*/ 2370957 h 3980066"/>
                <a:gd name="connsiteX1130" fmla="*/ 1669818 w 8387961"/>
                <a:gd name="connsiteY1130" fmla="*/ 2367209 h 3980066"/>
                <a:gd name="connsiteX1131" fmla="*/ 6289464 w 8387961"/>
                <a:gd name="connsiteY1131" fmla="*/ 2366648 h 3980066"/>
                <a:gd name="connsiteX1132" fmla="*/ 6303022 w 8387961"/>
                <a:gd name="connsiteY1132" fmla="*/ 2390751 h 3980066"/>
                <a:gd name="connsiteX1133" fmla="*/ 6292853 w 8387961"/>
                <a:gd name="connsiteY1133" fmla="*/ 2390751 h 3980066"/>
                <a:gd name="connsiteX1134" fmla="*/ 5616077 w 8387961"/>
                <a:gd name="connsiteY1134" fmla="*/ 2363635 h 3980066"/>
                <a:gd name="connsiteX1135" fmla="*/ 5616077 w 8387961"/>
                <a:gd name="connsiteY1135" fmla="*/ 2366648 h 3980066"/>
                <a:gd name="connsiteX1136" fmla="*/ 5613064 w 8387961"/>
                <a:gd name="connsiteY1136" fmla="*/ 2366648 h 3980066"/>
                <a:gd name="connsiteX1137" fmla="*/ 4053779 w 8387961"/>
                <a:gd name="connsiteY1137" fmla="*/ 2363153 h 3980066"/>
                <a:gd name="connsiteX1138" fmla="*/ 4047257 w 8387961"/>
                <a:gd name="connsiteY1138" fmla="*/ 2405622 h 3980066"/>
                <a:gd name="connsiteX1139" fmla="*/ 4038980 w 8387961"/>
                <a:gd name="connsiteY1139" fmla="*/ 2412256 h 3980066"/>
                <a:gd name="connsiteX1140" fmla="*/ 4034013 w 8387961"/>
                <a:gd name="connsiteY1140" fmla="*/ 2405622 h 3980066"/>
                <a:gd name="connsiteX1141" fmla="*/ 4019114 w 8387961"/>
                <a:gd name="connsiteY1141" fmla="*/ 2410598 h 3980066"/>
                <a:gd name="connsiteX1142" fmla="*/ 4002560 w 8387961"/>
                <a:gd name="connsiteY1142" fmla="*/ 2392354 h 3980066"/>
                <a:gd name="connsiteX1143" fmla="*/ 4002385 w 8387961"/>
                <a:gd name="connsiteY1143" fmla="*/ 2394282 h 3980066"/>
                <a:gd name="connsiteX1144" fmla="*/ 4018793 w 8387961"/>
                <a:gd name="connsiteY1144" fmla="*/ 2412066 h 3980066"/>
                <a:gd name="connsiteX1145" fmla="*/ 4033973 w 8387961"/>
                <a:gd name="connsiteY1145" fmla="*/ 2407080 h 3980066"/>
                <a:gd name="connsiteX1146" fmla="*/ 4039034 w 8387961"/>
                <a:gd name="connsiteY1146" fmla="*/ 2413728 h 3980066"/>
                <a:gd name="connsiteX1147" fmla="*/ 4047467 w 8387961"/>
                <a:gd name="connsiteY1147" fmla="*/ 2407080 h 3980066"/>
                <a:gd name="connsiteX1148" fmla="*/ 4054214 w 8387961"/>
                <a:gd name="connsiteY1148" fmla="*/ 2363869 h 3980066"/>
                <a:gd name="connsiteX1149" fmla="*/ 5613064 w 8387961"/>
                <a:gd name="connsiteY1149" fmla="*/ 2360622 h 3980066"/>
                <a:gd name="connsiteX1150" fmla="*/ 5616077 w 8387961"/>
                <a:gd name="connsiteY1150" fmla="*/ 2360622 h 3980066"/>
                <a:gd name="connsiteX1151" fmla="*/ 5613064 w 8387961"/>
                <a:gd name="connsiteY1151" fmla="*/ 2363635 h 3980066"/>
                <a:gd name="connsiteX1152" fmla="*/ 1265427 w 8387961"/>
                <a:gd name="connsiteY1152" fmla="*/ 2356103 h 3980066"/>
                <a:gd name="connsiteX1153" fmla="*/ 1275972 w 8387961"/>
                <a:gd name="connsiteY1153" fmla="*/ 2360622 h 3980066"/>
                <a:gd name="connsiteX1154" fmla="*/ 1272457 w 8387961"/>
                <a:gd name="connsiteY1154" fmla="*/ 2360622 h 3980066"/>
                <a:gd name="connsiteX1155" fmla="*/ 7176382 w 8387961"/>
                <a:gd name="connsiteY1155" fmla="*/ 2353090 h 3980066"/>
                <a:gd name="connsiteX1156" fmla="*/ 7201441 w 8387961"/>
                <a:gd name="connsiteY1156" fmla="*/ 2359730 h 3980066"/>
                <a:gd name="connsiteX1157" fmla="*/ 7226501 w 8387961"/>
                <a:gd name="connsiteY1157" fmla="*/ 2363050 h 3980066"/>
                <a:gd name="connsiteX1158" fmla="*/ 7229842 w 8387961"/>
                <a:gd name="connsiteY1158" fmla="*/ 2374670 h 3980066"/>
                <a:gd name="connsiteX1159" fmla="*/ 7229842 w 8387961"/>
                <a:gd name="connsiteY1159" fmla="*/ 2391270 h 3980066"/>
                <a:gd name="connsiteX1160" fmla="*/ 7234854 w 8387961"/>
                <a:gd name="connsiteY1160" fmla="*/ 2422809 h 3980066"/>
                <a:gd name="connsiteX1161" fmla="*/ 7236524 w 8387961"/>
                <a:gd name="connsiteY1161" fmla="*/ 2417829 h 3980066"/>
                <a:gd name="connsiteX1162" fmla="*/ 7246548 w 8387961"/>
                <a:gd name="connsiteY1162" fmla="*/ 2431109 h 3980066"/>
                <a:gd name="connsiteX1163" fmla="*/ 7256572 w 8387961"/>
                <a:gd name="connsiteY1163" fmla="*/ 2441069 h 3980066"/>
                <a:gd name="connsiteX1164" fmla="*/ 7284972 w 8387961"/>
                <a:gd name="connsiteY1164" fmla="*/ 2412849 h 3980066"/>
                <a:gd name="connsiteX1165" fmla="*/ 7310032 w 8387961"/>
                <a:gd name="connsiteY1165" fmla="*/ 2399570 h 3980066"/>
                <a:gd name="connsiteX1166" fmla="*/ 7326738 w 8387961"/>
                <a:gd name="connsiteY1166" fmla="*/ 2384630 h 3980066"/>
                <a:gd name="connsiteX1167" fmla="*/ 7360150 w 8387961"/>
                <a:gd name="connsiteY1167" fmla="*/ 2399570 h 3980066"/>
                <a:gd name="connsiteX1168" fmla="*/ 7391892 w 8387961"/>
                <a:gd name="connsiteY1168" fmla="*/ 2414509 h 3980066"/>
                <a:gd name="connsiteX1169" fmla="*/ 7410093 w 8387961"/>
                <a:gd name="connsiteY1169" fmla="*/ 2419442 h 3980066"/>
                <a:gd name="connsiteX1170" fmla="*/ 7410093 w 8387961"/>
                <a:gd name="connsiteY1170" fmla="*/ 2416361 h 3980066"/>
                <a:gd name="connsiteX1171" fmla="*/ 7435184 w 8387961"/>
                <a:gd name="connsiteY1171" fmla="*/ 2428078 h 3980066"/>
                <a:gd name="connsiteX1172" fmla="*/ 7460276 w 8387961"/>
                <a:gd name="connsiteY1172" fmla="*/ 2438121 h 3980066"/>
                <a:gd name="connsiteX1173" fmla="*/ 7485367 w 8387961"/>
                <a:gd name="connsiteY1173" fmla="*/ 2449838 h 3980066"/>
                <a:gd name="connsiteX1174" fmla="*/ 7512131 w 8387961"/>
                <a:gd name="connsiteY1174" fmla="*/ 2461555 h 3980066"/>
                <a:gd name="connsiteX1175" fmla="*/ 7533877 w 8387961"/>
                <a:gd name="connsiteY1175" fmla="*/ 2490010 h 3980066"/>
                <a:gd name="connsiteX1176" fmla="*/ 7535550 w 8387961"/>
                <a:gd name="connsiteY1176" fmla="*/ 2505075 h 3980066"/>
                <a:gd name="connsiteX1177" fmla="*/ 7557295 w 8387961"/>
                <a:gd name="connsiteY1177" fmla="*/ 2515118 h 3980066"/>
                <a:gd name="connsiteX1178" fmla="*/ 7582387 w 8387961"/>
                <a:gd name="connsiteY1178" fmla="*/ 2525161 h 3980066"/>
                <a:gd name="connsiteX1179" fmla="*/ 7584059 w 8387961"/>
                <a:gd name="connsiteY1179" fmla="*/ 2540226 h 3980066"/>
                <a:gd name="connsiteX1180" fmla="*/ 7560641 w 8387961"/>
                <a:gd name="connsiteY1180" fmla="*/ 2541900 h 3980066"/>
                <a:gd name="connsiteX1181" fmla="*/ 7572350 w 8387961"/>
                <a:gd name="connsiteY1181" fmla="*/ 2568681 h 3980066"/>
                <a:gd name="connsiteX1182" fmla="*/ 7590750 w 8387961"/>
                <a:gd name="connsiteY1182" fmla="*/ 2585420 h 3980066"/>
                <a:gd name="connsiteX1183" fmla="*/ 7602460 w 8387961"/>
                <a:gd name="connsiteY1183" fmla="*/ 2610527 h 3980066"/>
                <a:gd name="connsiteX1184" fmla="*/ 7617514 w 8387961"/>
                <a:gd name="connsiteY1184" fmla="*/ 2612201 h 3980066"/>
                <a:gd name="connsiteX1185" fmla="*/ 7615842 w 8387961"/>
                <a:gd name="connsiteY1185" fmla="*/ 2622244 h 3980066"/>
                <a:gd name="connsiteX1186" fmla="*/ 7630896 w 8387961"/>
                <a:gd name="connsiteY1186" fmla="*/ 2630614 h 3980066"/>
                <a:gd name="connsiteX1187" fmla="*/ 7627551 w 8387961"/>
                <a:gd name="connsiteY1187" fmla="*/ 2637309 h 3980066"/>
                <a:gd name="connsiteX1188" fmla="*/ 7654315 w 8387961"/>
                <a:gd name="connsiteY1188" fmla="*/ 2645678 h 3980066"/>
                <a:gd name="connsiteX1189" fmla="*/ 7644278 w 8387961"/>
                <a:gd name="connsiteY1189" fmla="*/ 2650700 h 3980066"/>
                <a:gd name="connsiteX1190" fmla="*/ 7644278 w 8387961"/>
                <a:gd name="connsiteY1190" fmla="*/ 2657395 h 3980066"/>
                <a:gd name="connsiteX1191" fmla="*/ 7630896 w 8387961"/>
                <a:gd name="connsiteY1191" fmla="*/ 2652374 h 3980066"/>
                <a:gd name="connsiteX1192" fmla="*/ 7604132 w 8387961"/>
                <a:gd name="connsiteY1192" fmla="*/ 2649026 h 3980066"/>
                <a:gd name="connsiteX1193" fmla="*/ 7580714 w 8387961"/>
                <a:gd name="connsiteY1193" fmla="*/ 2642331 h 3980066"/>
                <a:gd name="connsiteX1194" fmla="*/ 7565659 w 8387961"/>
                <a:gd name="connsiteY1194" fmla="*/ 2627266 h 3980066"/>
                <a:gd name="connsiteX1195" fmla="*/ 7552277 w 8387961"/>
                <a:gd name="connsiteY1195" fmla="*/ 2612201 h 3980066"/>
                <a:gd name="connsiteX1196" fmla="*/ 7537222 w 8387961"/>
                <a:gd name="connsiteY1196" fmla="*/ 2595463 h 3980066"/>
                <a:gd name="connsiteX1197" fmla="*/ 7525513 w 8387961"/>
                <a:gd name="connsiteY1197" fmla="*/ 2577050 h 3980066"/>
                <a:gd name="connsiteX1198" fmla="*/ 7492058 w 8387961"/>
                <a:gd name="connsiteY1198" fmla="*/ 2565334 h 3980066"/>
                <a:gd name="connsiteX1199" fmla="*/ 7490385 w 8387961"/>
                <a:gd name="connsiteY1199" fmla="*/ 2570355 h 3980066"/>
                <a:gd name="connsiteX1200" fmla="*/ 7473658 w 8387961"/>
                <a:gd name="connsiteY1200" fmla="*/ 2565334 h 3980066"/>
                <a:gd name="connsiteX1201" fmla="*/ 7475330 w 8387961"/>
                <a:gd name="connsiteY1201" fmla="*/ 2578724 h 3980066"/>
                <a:gd name="connsiteX1202" fmla="*/ 7465294 w 8387961"/>
                <a:gd name="connsiteY1202" fmla="*/ 2578724 h 3980066"/>
                <a:gd name="connsiteX1203" fmla="*/ 7466967 w 8387961"/>
                <a:gd name="connsiteY1203" fmla="*/ 2585420 h 3980066"/>
                <a:gd name="connsiteX1204" fmla="*/ 7431839 w 8387961"/>
                <a:gd name="connsiteY1204" fmla="*/ 2585420 h 3980066"/>
                <a:gd name="connsiteX1205" fmla="*/ 7461948 w 8387961"/>
                <a:gd name="connsiteY1205" fmla="*/ 2600484 h 3980066"/>
                <a:gd name="connsiteX1206" fmla="*/ 7446894 w 8387961"/>
                <a:gd name="connsiteY1206" fmla="*/ 2612201 h 3980066"/>
                <a:gd name="connsiteX1207" fmla="*/ 7423475 w 8387961"/>
                <a:gd name="connsiteY1207" fmla="*/ 2612201 h 3980066"/>
                <a:gd name="connsiteX1208" fmla="*/ 7397106 w 8387961"/>
                <a:gd name="connsiteY1208" fmla="*/ 2612201 h 3980066"/>
                <a:gd name="connsiteX1209" fmla="*/ 7396904 w 8387961"/>
                <a:gd name="connsiteY1209" fmla="*/ 2613707 h 3980066"/>
                <a:gd name="connsiteX1210" fmla="*/ 7381868 w 8387961"/>
                <a:gd name="connsiteY1210" fmla="*/ 2597107 h 3980066"/>
                <a:gd name="connsiteX1211" fmla="*/ 7375186 w 8387961"/>
                <a:gd name="connsiteY1211" fmla="*/ 2578848 h 3980066"/>
                <a:gd name="connsiteX1212" fmla="*/ 7353468 w 8387961"/>
                <a:gd name="connsiteY1212" fmla="*/ 2582167 h 3980066"/>
                <a:gd name="connsiteX1213" fmla="*/ 7345115 w 8387961"/>
                <a:gd name="connsiteY1213" fmla="*/ 2587147 h 3980066"/>
                <a:gd name="connsiteX1214" fmla="*/ 7346785 w 8387961"/>
                <a:gd name="connsiteY1214" fmla="*/ 2572208 h 3980066"/>
                <a:gd name="connsiteX1215" fmla="*/ 7346785 w 8387961"/>
                <a:gd name="connsiteY1215" fmla="*/ 2570548 h 3980066"/>
                <a:gd name="connsiteX1216" fmla="*/ 7335091 w 8387961"/>
                <a:gd name="connsiteY1216" fmla="*/ 2587147 h 3980066"/>
                <a:gd name="connsiteX1217" fmla="*/ 7311702 w 8387961"/>
                <a:gd name="connsiteY1217" fmla="*/ 2592127 h 3980066"/>
                <a:gd name="connsiteX1218" fmla="*/ 7326738 w 8387961"/>
                <a:gd name="connsiteY1218" fmla="*/ 2563908 h 3980066"/>
                <a:gd name="connsiteX1219" fmla="*/ 7345115 w 8387961"/>
                <a:gd name="connsiteY1219" fmla="*/ 2567228 h 3980066"/>
                <a:gd name="connsiteX1220" fmla="*/ 7341773 w 8387961"/>
                <a:gd name="connsiteY1220" fmla="*/ 2558928 h 3980066"/>
                <a:gd name="connsiteX1221" fmla="*/ 7353468 w 8387961"/>
                <a:gd name="connsiteY1221" fmla="*/ 2557268 h 3980066"/>
                <a:gd name="connsiteX1222" fmla="*/ 7340103 w 8387961"/>
                <a:gd name="connsiteY1222" fmla="*/ 2550628 h 3980066"/>
                <a:gd name="connsiteX1223" fmla="*/ 7353468 w 8387961"/>
                <a:gd name="connsiteY1223" fmla="*/ 2550628 h 3980066"/>
                <a:gd name="connsiteX1224" fmla="*/ 7345115 w 8387961"/>
                <a:gd name="connsiteY1224" fmla="*/ 2543988 h 3980066"/>
                <a:gd name="connsiteX1225" fmla="*/ 7331750 w 8387961"/>
                <a:gd name="connsiteY1225" fmla="*/ 2510788 h 3980066"/>
                <a:gd name="connsiteX1226" fmla="*/ 7321726 w 8387961"/>
                <a:gd name="connsiteY1226" fmla="*/ 2499168 h 3980066"/>
                <a:gd name="connsiteX1227" fmla="*/ 7303349 w 8387961"/>
                <a:gd name="connsiteY1227" fmla="*/ 2490869 h 3980066"/>
                <a:gd name="connsiteX1228" fmla="*/ 7283302 w 8387961"/>
                <a:gd name="connsiteY1228" fmla="*/ 2482569 h 3980066"/>
                <a:gd name="connsiteX1229" fmla="*/ 7263254 w 8387961"/>
                <a:gd name="connsiteY1229" fmla="*/ 2474269 h 3980066"/>
                <a:gd name="connsiteX1230" fmla="*/ 7243207 w 8387961"/>
                <a:gd name="connsiteY1230" fmla="*/ 2469289 h 3980066"/>
                <a:gd name="connsiteX1231" fmla="*/ 7244877 w 8387961"/>
                <a:gd name="connsiteY1231" fmla="*/ 2459329 h 3980066"/>
                <a:gd name="connsiteX1232" fmla="*/ 7239866 w 8387961"/>
                <a:gd name="connsiteY1232" fmla="*/ 2459329 h 3980066"/>
                <a:gd name="connsiteX1233" fmla="*/ 7216477 w 8387961"/>
                <a:gd name="connsiteY1233" fmla="*/ 2451029 h 3980066"/>
                <a:gd name="connsiteX1234" fmla="*/ 7221489 w 8387961"/>
                <a:gd name="connsiteY1234" fmla="*/ 2432769 h 3980066"/>
                <a:gd name="connsiteX1235" fmla="*/ 7204783 w 8387961"/>
                <a:gd name="connsiteY1235" fmla="*/ 2460989 h 3980066"/>
                <a:gd name="connsiteX1236" fmla="*/ 7191418 w 8387961"/>
                <a:gd name="connsiteY1236" fmla="*/ 2459329 h 3980066"/>
                <a:gd name="connsiteX1237" fmla="*/ 7194759 w 8387961"/>
                <a:gd name="connsiteY1237" fmla="*/ 2447709 h 3980066"/>
                <a:gd name="connsiteX1238" fmla="*/ 7173041 w 8387961"/>
                <a:gd name="connsiteY1238" fmla="*/ 2429449 h 3980066"/>
                <a:gd name="connsiteX1239" fmla="*/ 7183064 w 8387961"/>
                <a:gd name="connsiteY1239" fmla="*/ 2422809 h 3980066"/>
                <a:gd name="connsiteX1240" fmla="*/ 7206453 w 8387961"/>
                <a:gd name="connsiteY1240" fmla="*/ 2417829 h 3980066"/>
                <a:gd name="connsiteX1241" fmla="*/ 7214806 w 8387961"/>
                <a:gd name="connsiteY1241" fmla="*/ 2417829 h 3980066"/>
                <a:gd name="connsiteX1242" fmla="*/ 7216477 w 8387961"/>
                <a:gd name="connsiteY1242" fmla="*/ 2417829 h 3980066"/>
                <a:gd name="connsiteX1243" fmla="*/ 7219818 w 8387961"/>
                <a:gd name="connsiteY1243" fmla="*/ 2412849 h 3980066"/>
                <a:gd name="connsiteX1244" fmla="*/ 7221489 w 8387961"/>
                <a:gd name="connsiteY1244" fmla="*/ 2407869 h 3980066"/>
                <a:gd name="connsiteX1245" fmla="*/ 7201441 w 8387961"/>
                <a:gd name="connsiteY1245" fmla="*/ 2409529 h 3980066"/>
                <a:gd name="connsiteX1246" fmla="*/ 7183064 w 8387961"/>
                <a:gd name="connsiteY1246" fmla="*/ 2409529 h 3980066"/>
                <a:gd name="connsiteX1247" fmla="*/ 7169699 w 8387961"/>
                <a:gd name="connsiteY1247" fmla="*/ 2391270 h 3980066"/>
                <a:gd name="connsiteX1248" fmla="*/ 7149652 w 8387961"/>
                <a:gd name="connsiteY1248" fmla="*/ 2384630 h 3980066"/>
                <a:gd name="connsiteX1249" fmla="*/ 7152993 w 8387961"/>
                <a:gd name="connsiteY1249" fmla="*/ 2369690 h 3980066"/>
                <a:gd name="connsiteX1250" fmla="*/ 4141456 w 8387961"/>
                <a:gd name="connsiteY1250" fmla="*/ 2352863 h 3980066"/>
                <a:gd name="connsiteX1251" fmla="*/ 4123370 w 8387961"/>
                <a:gd name="connsiteY1251" fmla="*/ 2377164 h 3980066"/>
                <a:gd name="connsiteX1252" fmla="*/ 4103129 w 8387961"/>
                <a:gd name="connsiteY1252" fmla="*/ 2400432 h 3980066"/>
                <a:gd name="connsiteX1253" fmla="*/ 4101442 w 8387961"/>
                <a:gd name="connsiteY1253" fmla="*/ 2423699 h 3980066"/>
                <a:gd name="connsiteX1254" fmla="*/ 4098069 w 8387961"/>
                <a:gd name="connsiteY1254" fmla="*/ 2446967 h 3980066"/>
                <a:gd name="connsiteX1255" fmla="*/ 4077828 w 8387961"/>
                <a:gd name="connsiteY1255" fmla="*/ 2466911 h 3980066"/>
                <a:gd name="connsiteX1256" fmla="*/ 4057663 w 8387961"/>
                <a:gd name="connsiteY1256" fmla="*/ 2486780 h 3980066"/>
                <a:gd name="connsiteX1257" fmla="*/ 4058364 w 8387961"/>
                <a:gd name="connsiteY1257" fmla="*/ 2488900 h 3980066"/>
                <a:gd name="connsiteX1258" fmla="*/ 4078285 w 8387961"/>
                <a:gd name="connsiteY1258" fmla="*/ 2468832 h 3980066"/>
                <a:gd name="connsiteX1259" fmla="*/ 4098206 w 8387961"/>
                <a:gd name="connsiteY1259" fmla="*/ 2448764 h 3980066"/>
                <a:gd name="connsiteX1260" fmla="*/ 4101526 w 8387961"/>
                <a:gd name="connsiteY1260" fmla="*/ 2425351 h 3980066"/>
                <a:gd name="connsiteX1261" fmla="*/ 4103186 w 8387961"/>
                <a:gd name="connsiteY1261" fmla="*/ 2401938 h 3980066"/>
                <a:gd name="connsiteX1262" fmla="*/ 4123107 w 8387961"/>
                <a:gd name="connsiteY1262" fmla="*/ 2378525 h 3980066"/>
                <a:gd name="connsiteX1263" fmla="*/ 4141368 w 8387961"/>
                <a:gd name="connsiteY1263" fmla="*/ 2353440 h 3980066"/>
                <a:gd name="connsiteX1264" fmla="*/ 5629635 w 8387961"/>
                <a:gd name="connsiteY1264" fmla="*/ 2350077 h 3980066"/>
                <a:gd name="connsiteX1265" fmla="*/ 5632648 w 8387961"/>
                <a:gd name="connsiteY1265" fmla="*/ 2351584 h 3980066"/>
                <a:gd name="connsiteX1266" fmla="*/ 5629635 w 8387961"/>
                <a:gd name="connsiteY1266" fmla="*/ 2353090 h 3980066"/>
                <a:gd name="connsiteX1267" fmla="*/ 1668710 w 8387961"/>
                <a:gd name="connsiteY1267" fmla="*/ 2342801 h 3980066"/>
                <a:gd name="connsiteX1268" fmla="*/ 1663635 w 8387961"/>
                <a:gd name="connsiteY1268" fmla="*/ 2344850 h 3980066"/>
                <a:gd name="connsiteX1269" fmla="*/ 1664296 w 8387961"/>
                <a:gd name="connsiteY1269" fmla="*/ 2346398 h 3980066"/>
                <a:gd name="connsiteX1270" fmla="*/ 1669753 w 8387961"/>
                <a:gd name="connsiteY1270" fmla="*/ 2344216 h 3980066"/>
                <a:gd name="connsiteX1271" fmla="*/ 1670358 w 8387961"/>
                <a:gd name="connsiteY1271" fmla="*/ 2343616 h 3980066"/>
                <a:gd name="connsiteX1272" fmla="*/ 1672336 w 8387961"/>
                <a:gd name="connsiteY1272" fmla="*/ 2342085 h 3980066"/>
                <a:gd name="connsiteX1273" fmla="*/ 1671653 w 8387961"/>
                <a:gd name="connsiteY1273" fmla="*/ 2342764 h 3980066"/>
                <a:gd name="connsiteX1274" fmla="*/ 1686484 w 8387961"/>
                <a:gd name="connsiteY1274" fmla="*/ 2357587 h 3980066"/>
                <a:gd name="connsiteX1275" fmla="*/ 1701548 w 8387961"/>
                <a:gd name="connsiteY1275" fmla="*/ 2370957 h 3980066"/>
                <a:gd name="connsiteX1276" fmla="*/ 1721622 w 8387961"/>
                <a:gd name="connsiteY1276" fmla="*/ 2394355 h 3980066"/>
                <a:gd name="connsiteX1277" fmla="*/ 1726640 w 8387961"/>
                <a:gd name="connsiteY1277" fmla="*/ 2409397 h 3980066"/>
                <a:gd name="connsiteX1278" fmla="*/ 1760097 w 8387961"/>
                <a:gd name="connsiteY1278" fmla="*/ 2409397 h 3980066"/>
                <a:gd name="connsiteX1279" fmla="*/ 1780173 w 8387961"/>
                <a:gd name="connsiteY1279" fmla="*/ 2411068 h 3980066"/>
                <a:gd name="connsiteX1280" fmla="*/ 1806942 w 8387961"/>
                <a:gd name="connsiteY1280" fmla="*/ 2419425 h 3980066"/>
                <a:gd name="connsiteX1281" fmla="*/ 1796903 w 8387961"/>
                <a:gd name="connsiteY1281" fmla="*/ 2454522 h 3980066"/>
                <a:gd name="connsiteX1282" fmla="*/ 1811110 w 8387961"/>
                <a:gd name="connsiteY1282" fmla="*/ 2467129 h 3980066"/>
                <a:gd name="connsiteX1283" fmla="*/ 1813598 w 8387961"/>
                <a:gd name="connsiteY1283" fmla="*/ 2467129 h 3980066"/>
                <a:gd name="connsiteX1284" fmla="*/ 1798919 w 8387961"/>
                <a:gd name="connsiteY1284" fmla="*/ 2454195 h 3980066"/>
                <a:gd name="connsiteX1285" fmla="*/ 1809046 w 8387961"/>
                <a:gd name="connsiteY1285" fmla="*/ 2419056 h 3980066"/>
                <a:gd name="connsiteX1286" fmla="*/ 1782042 w 8387961"/>
                <a:gd name="connsiteY1286" fmla="*/ 2410690 h 3980066"/>
                <a:gd name="connsiteX1287" fmla="*/ 1761788 w 8387961"/>
                <a:gd name="connsiteY1287" fmla="*/ 2409016 h 3980066"/>
                <a:gd name="connsiteX1288" fmla="*/ 1728029 w 8387961"/>
                <a:gd name="connsiteY1288" fmla="*/ 2409016 h 3980066"/>
                <a:gd name="connsiteX1289" fmla="*/ 1722971 w 8387961"/>
                <a:gd name="connsiteY1289" fmla="*/ 2393957 h 3980066"/>
                <a:gd name="connsiteX1290" fmla="*/ 1702717 w 8387961"/>
                <a:gd name="connsiteY1290" fmla="*/ 2370531 h 3980066"/>
                <a:gd name="connsiteX1291" fmla="*/ 1687520 w 8387961"/>
                <a:gd name="connsiteY1291" fmla="*/ 2357145 h 3980066"/>
                <a:gd name="connsiteX1292" fmla="*/ 1241324 w 8387961"/>
                <a:gd name="connsiteY1292" fmla="*/ 2339532 h 3980066"/>
                <a:gd name="connsiteX1293" fmla="*/ 1246751 w 8387961"/>
                <a:gd name="connsiteY1293" fmla="*/ 2339532 h 3980066"/>
                <a:gd name="connsiteX1294" fmla="*/ 1254882 w 8387961"/>
                <a:gd name="connsiteY1294" fmla="*/ 2366648 h 3980066"/>
                <a:gd name="connsiteX1295" fmla="*/ 1241324 w 8387961"/>
                <a:gd name="connsiteY1295" fmla="*/ 2365053 h 3980066"/>
                <a:gd name="connsiteX1296" fmla="*/ 1248103 w 8387961"/>
                <a:gd name="connsiteY1296" fmla="*/ 2355483 h 3980066"/>
                <a:gd name="connsiteX1297" fmla="*/ 5623609 w 8387961"/>
                <a:gd name="connsiteY1297" fmla="*/ 2336519 h 3980066"/>
                <a:gd name="connsiteX1298" fmla="*/ 5626622 w 8387961"/>
                <a:gd name="connsiteY1298" fmla="*/ 2336519 h 3980066"/>
                <a:gd name="connsiteX1299" fmla="*/ 5626622 w 8387961"/>
                <a:gd name="connsiteY1299" fmla="*/ 2339532 h 3980066"/>
                <a:gd name="connsiteX1300" fmla="*/ 3846590 w 8387961"/>
                <a:gd name="connsiteY1300" fmla="*/ 2325973 h 3980066"/>
                <a:gd name="connsiteX1301" fmla="*/ 3849001 w 8387961"/>
                <a:gd name="connsiteY1301" fmla="*/ 2329847 h 3980066"/>
                <a:gd name="connsiteX1302" fmla="*/ 3844180 w 8387961"/>
                <a:gd name="connsiteY1302" fmla="*/ 2339531 h 3980066"/>
                <a:gd name="connsiteX1303" fmla="*/ 3842975 w 8387961"/>
                <a:gd name="connsiteY1303" fmla="*/ 2331784 h 3980066"/>
                <a:gd name="connsiteX1304" fmla="*/ 5626622 w 8387961"/>
                <a:gd name="connsiteY1304" fmla="*/ 2322961 h 3980066"/>
                <a:gd name="connsiteX1305" fmla="*/ 5626622 w 8387961"/>
                <a:gd name="connsiteY1305" fmla="*/ 2325974 h 3980066"/>
                <a:gd name="connsiteX1306" fmla="*/ 5623609 w 8387961"/>
                <a:gd name="connsiteY1306" fmla="*/ 2325974 h 3980066"/>
                <a:gd name="connsiteX1307" fmla="*/ 1810734 w 8387961"/>
                <a:gd name="connsiteY1307" fmla="*/ 2322006 h 3980066"/>
                <a:gd name="connsiteX1308" fmla="*/ 1815805 w 8387961"/>
                <a:gd name="connsiteY1308" fmla="*/ 2350451 h 3980066"/>
                <a:gd name="connsiteX1309" fmla="*/ 1825932 w 8387961"/>
                <a:gd name="connsiteY1309" fmla="*/ 2382244 h 3980066"/>
                <a:gd name="connsiteX1310" fmla="*/ 1820861 w 8387961"/>
                <a:gd name="connsiteY1310" fmla="*/ 2424076 h 3980066"/>
                <a:gd name="connsiteX1311" fmla="*/ 1814186 w 8387961"/>
                <a:gd name="connsiteY1311" fmla="*/ 2467129 h 3980066"/>
                <a:gd name="connsiteX1312" fmla="*/ 1814690 w 8387961"/>
                <a:gd name="connsiteY1312" fmla="*/ 2467129 h 3980066"/>
                <a:gd name="connsiteX1313" fmla="*/ 1821381 w 8387961"/>
                <a:gd name="connsiteY1313" fmla="*/ 2423653 h 3980066"/>
                <a:gd name="connsiteX1314" fmla="*/ 1826399 w 8387961"/>
                <a:gd name="connsiteY1314" fmla="*/ 2381848 h 3980066"/>
                <a:gd name="connsiteX1315" fmla="*/ 1816362 w 8387961"/>
                <a:gd name="connsiteY1315" fmla="*/ 2350077 h 3980066"/>
                <a:gd name="connsiteX1316" fmla="*/ 1811403 w 8387961"/>
                <a:gd name="connsiteY1316" fmla="*/ 2322006 h 3980066"/>
                <a:gd name="connsiteX1317" fmla="*/ 1914468 w 8387961"/>
                <a:gd name="connsiteY1317" fmla="*/ 2315266 h 3980066"/>
                <a:gd name="connsiteX1318" fmla="*/ 1916696 w 8387961"/>
                <a:gd name="connsiteY1318" fmla="*/ 2316634 h 3980066"/>
                <a:gd name="connsiteX1319" fmla="*/ 1931158 w 8387961"/>
                <a:gd name="connsiteY1319" fmla="*/ 2316634 h 3980066"/>
                <a:gd name="connsiteX1320" fmla="*/ 1928397 w 8387961"/>
                <a:gd name="connsiteY1320" fmla="*/ 2315266 h 3980066"/>
                <a:gd name="connsiteX1321" fmla="*/ 4049154 w 8387961"/>
                <a:gd name="connsiteY1321" fmla="*/ 2302376 h 3980066"/>
                <a:gd name="connsiteX1322" fmla="*/ 4049016 w 8387961"/>
                <a:gd name="connsiteY1322" fmla="*/ 2302384 h 3980066"/>
                <a:gd name="connsiteX1323" fmla="*/ 4050568 w 8387961"/>
                <a:gd name="connsiteY1323" fmla="*/ 2321039 h 3980066"/>
                <a:gd name="connsiteX1324" fmla="*/ 4038980 w 8387961"/>
                <a:gd name="connsiteY1324" fmla="*/ 2337624 h 3980066"/>
                <a:gd name="connsiteX1325" fmla="*/ 4039432 w 8387961"/>
                <a:gd name="connsiteY1325" fmla="*/ 2338379 h 3980066"/>
                <a:gd name="connsiteX1326" fmla="*/ 4050841 w 8387961"/>
                <a:gd name="connsiteY1326" fmla="*/ 2322319 h 3980066"/>
                <a:gd name="connsiteX1327" fmla="*/ 1888384 w 8387961"/>
                <a:gd name="connsiteY1327" fmla="*/ 2296910 h 3980066"/>
                <a:gd name="connsiteX1328" fmla="*/ 1889935 w 8387961"/>
                <a:gd name="connsiteY1328" fmla="*/ 2301584 h 3980066"/>
                <a:gd name="connsiteX1329" fmla="*/ 1889950 w 8387961"/>
                <a:gd name="connsiteY1329" fmla="*/ 2301589 h 3980066"/>
                <a:gd name="connsiteX1330" fmla="*/ 6420526 w 8387961"/>
                <a:gd name="connsiteY1330" fmla="*/ 2295844 h 3980066"/>
                <a:gd name="connsiteX1331" fmla="*/ 6429565 w 8387961"/>
                <a:gd name="connsiteY1331" fmla="*/ 2299610 h 3980066"/>
                <a:gd name="connsiteX1332" fmla="*/ 6420526 w 8387961"/>
                <a:gd name="connsiteY1332" fmla="*/ 2303376 h 3980066"/>
                <a:gd name="connsiteX1333" fmla="*/ 6252663 w 8387961"/>
                <a:gd name="connsiteY1333" fmla="*/ 2295844 h 3980066"/>
                <a:gd name="connsiteX1334" fmla="*/ 6269880 w 8387961"/>
                <a:gd name="connsiteY1334" fmla="*/ 2311097 h 3980066"/>
                <a:gd name="connsiteX1335" fmla="*/ 6266436 w 8387961"/>
                <a:gd name="connsiteY1335" fmla="*/ 2322960 h 3980066"/>
                <a:gd name="connsiteX1336" fmla="*/ 6245777 w 8387961"/>
                <a:gd name="connsiteY1336" fmla="*/ 2297539 h 3980066"/>
                <a:gd name="connsiteX1337" fmla="*/ 6983196 w 8387961"/>
                <a:gd name="connsiteY1337" fmla="*/ 2289818 h 3980066"/>
                <a:gd name="connsiteX1338" fmla="*/ 6991474 w 8387961"/>
                <a:gd name="connsiteY1338" fmla="*/ 2296529 h 3980066"/>
                <a:gd name="connsiteX1339" fmla="*/ 6974918 w 8387961"/>
                <a:gd name="connsiteY1339" fmla="*/ 2321694 h 3980066"/>
                <a:gd name="connsiteX1340" fmla="*/ 6940150 w 8387961"/>
                <a:gd name="connsiteY1340" fmla="*/ 2330082 h 3980066"/>
                <a:gd name="connsiteX1341" fmla="*/ 6902071 w 8387961"/>
                <a:gd name="connsiteY1341" fmla="*/ 2328404 h 3980066"/>
                <a:gd name="connsiteX1342" fmla="*/ 6865647 w 8387961"/>
                <a:gd name="connsiteY1342" fmla="*/ 2326726 h 3980066"/>
                <a:gd name="connsiteX1343" fmla="*/ 6855714 w 8387961"/>
                <a:gd name="connsiteY1343" fmla="*/ 2351891 h 3980066"/>
                <a:gd name="connsiteX1344" fmla="*/ 6875581 w 8387961"/>
                <a:gd name="connsiteY1344" fmla="*/ 2380411 h 3980066"/>
                <a:gd name="connsiteX1345" fmla="*/ 6898760 w 8387961"/>
                <a:gd name="connsiteY1345" fmla="*/ 2366990 h 3980066"/>
                <a:gd name="connsiteX1346" fmla="*/ 6930216 w 8387961"/>
                <a:gd name="connsiteY1346" fmla="*/ 2360279 h 3980066"/>
                <a:gd name="connsiteX1347" fmla="*/ 6940150 w 8387961"/>
                <a:gd name="connsiteY1347" fmla="*/ 2356924 h 3980066"/>
                <a:gd name="connsiteX1348" fmla="*/ 6943461 w 8387961"/>
                <a:gd name="connsiteY1348" fmla="*/ 2366990 h 3980066"/>
                <a:gd name="connsiteX1349" fmla="*/ 6938494 w 8387961"/>
                <a:gd name="connsiteY1349" fmla="*/ 2366990 h 3980066"/>
                <a:gd name="connsiteX1350" fmla="*/ 6918627 w 8387961"/>
                <a:gd name="connsiteY1350" fmla="*/ 2380411 h 3980066"/>
                <a:gd name="connsiteX1351" fmla="*/ 6900415 w 8387961"/>
                <a:gd name="connsiteY1351" fmla="*/ 2397188 h 3980066"/>
                <a:gd name="connsiteX1352" fmla="*/ 6890482 w 8387961"/>
                <a:gd name="connsiteY1352" fmla="*/ 2393833 h 3980066"/>
                <a:gd name="connsiteX1353" fmla="*/ 6902071 w 8387961"/>
                <a:gd name="connsiteY1353" fmla="*/ 2413964 h 3980066"/>
                <a:gd name="connsiteX1354" fmla="*/ 6915316 w 8387961"/>
                <a:gd name="connsiteY1354" fmla="*/ 2434096 h 3980066"/>
                <a:gd name="connsiteX1355" fmla="*/ 6912005 w 8387961"/>
                <a:gd name="connsiteY1355" fmla="*/ 2442484 h 3980066"/>
                <a:gd name="connsiteX1356" fmla="*/ 6928561 w 8387961"/>
                <a:gd name="connsiteY1356" fmla="*/ 2467649 h 3980066"/>
                <a:gd name="connsiteX1357" fmla="*/ 6921938 w 8387961"/>
                <a:gd name="connsiteY1357" fmla="*/ 2471004 h 3980066"/>
                <a:gd name="connsiteX1358" fmla="*/ 6903726 w 8387961"/>
                <a:gd name="connsiteY1358" fmla="*/ 2481070 h 3980066"/>
                <a:gd name="connsiteX1359" fmla="*/ 6895448 w 8387961"/>
                <a:gd name="connsiteY1359" fmla="*/ 2484426 h 3980066"/>
                <a:gd name="connsiteX1360" fmla="*/ 6892137 w 8387961"/>
                <a:gd name="connsiteY1360" fmla="*/ 2467649 h 3980066"/>
                <a:gd name="connsiteX1361" fmla="*/ 6880548 w 8387961"/>
                <a:gd name="connsiteY1361" fmla="*/ 2450873 h 3980066"/>
                <a:gd name="connsiteX1362" fmla="*/ 6878892 w 8387961"/>
                <a:gd name="connsiteY1362" fmla="*/ 2439129 h 3980066"/>
                <a:gd name="connsiteX1363" fmla="*/ 6875581 w 8387961"/>
                <a:gd name="connsiteY1363" fmla="*/ 2420675 h 3980066"/>
                <a:gd name="connsiteX1364" fmla="*/ 6860681 w 8387961"/>
                <a:gd name="connsiteY1364" fmla="*/ 2432419 h 3980066"/>
                <a:gd name="connsiteX1365" fmla="*/ 6860681 w 8387961"/>
                <a:gd name="connsiteY1365" fmla="*/ 2469327 h 3980066"/>
                <a:gd name="connsiteX1366" fmla="*/ 6862336 w 8387961"/>
                <a:gd name="connsiteY1366" fmla="*/ 2504558 h 3980066"/>
                <a:gd name="connsiteX1367" fmla="*/ 6839158 w 8387961"/>
                <a:gd name="connsiteY1367" fmla="*/ 2511268 h 3980066"/>
                <a:gd name="connsiteX1368" fmla="*/ 6835846 w 8387961"/>
                <a:gd name="connsiteY1368" fmla="*/ 2492814 h 3980066"/>
                <a:gd name="connsiteX1369" fmla="*/ 6839158 w 8387961"/>
                <a:gd name="connsiteY1369" fmla="*/ 2471004 h 3980066"/>
                <a:gd name="connsiteX1370" fmla="*/ 6839158 w 8387961"/>
                <a:gd name="connsiteY1370" fmla="*/ 2449195 h 3980066"/>
                <a:gd name="connsiteX1371" fmla="*/ 6825913 w 8387961"/>
                <a:gd name="connsiteY1371" fmla="*/ 2447517 h 3980066"/>
                <a:gd name="connsiteX1372" fmla="*/ 6824257 w 8387961"/>
                <a:gd name="connsiteY1372" fmla="*/ 2420675 h 3980066"/>
                <a:gd name="connsiteX1373" fmla="*/ 6835846 w 8387961"/>
                <a:gd name="connsiteY1373" fmla="*/ 2390477 h 3980066"/>
                <a:gd name="connsiteX1374" fmla="*/ 6845780 w 8387961"/>
                <a:gd name="connsiteY1374" fmla="*/ 2361957 h 3980066"/>
                <a:gd name="connsiteX1375" fmla="*/ 6850747 w 8387961"/>
                <a:gd name="connsiteY1375" fmla="*/ 2366990 h 3980066"/>
                <a:gd name="connsiteX1376" fmla="*/ 6849091 w 8387961"/>
                <a:gd name="connsiteY1376" fmla="*/ 2340148 h 3980066"/>
                <a:gd name="connsiteX1377" fmla="*/ 6860681 w 8387961"/>
                <a:gd name="connsiteY1377" fmla="*/ 2316661 h 3980066"/>
                <a:gd name="connsiteX1378" fmla="*/ 6865647 w 8387961"/>
                <a:gd name="connsiteY1378" fmla="*/ 2316661 h 3980066"/>
                <a:gd name="connsiteX1379" fmla="*/ 6875581 w 8387961"/>
                <a:gd name="connsiteY1379" fmla="*/ 2303239 h 3980066"/>
                <a:gd name="connsiteX1380" fmla="*/ 6892137 w 8387961"/>
                <a:gd name="connsiteY1380" fmla="*/ 2303239 h 3980066"/>
                <a:gd name="connsiteX1381" fmla="*/ 6925249 w 8387961"/>
                <a:gd name="connsiteY1381" fmla="*/ 2309950 h 3980066"/>
                <a:gd name="connsiteX1382" fmla="*/ 6960017 w 8387961"/>
                <a:gd name="connsiteY1382" fmla="*/ 2316661 h 3980066"/>
                <a:gd name="connsiteX1383" fmla="*/ 3862559 w 8387961"/>
                <a:gd name="connsiteY1383" fmla="*/ 2289818 h 3980066"/>
                <a:gd name="connsiteX1384" fmla="*/ 3865572 w 8387961"/>
                <a:gd name="connsiteY1384" fmla="*/ 2289818 h 3980066"/>
                <a:gd name="connsiteX1385" fmla="*/ 3864567 w 8387961"/>
                <a:gd name="connsiteY1385" fmla="*/ 2292831 h 3980066"/>
                <a:gd name="connsiteX1386" fmla="*/ 1815805 w 8387961"/>
                <a:gd name="connsiteY1386" fmla="*/ 2288540 h 3980066"/>
                <a:gd name="connsiteX1387" fmla="*/ 1820861 w 8387961"/>
                <a:gd name="connsiteY1387" fmla="*/ 2308619 h 3980066"/>
                <a:gd name="connsiteX1388" fmla="*/ 1834368 w 8387961"/>
                <a:gd name="connsiteY1388" fmla="*/ 2313639 h 3980066"/>
                <a:gd name="connsiteX1389" fmla="*/ 1829516 w 8387961"/>
                <a:gd name="connsiteY1389" fmla="*/ 2321650 h 3980066"/>
                <a:gd name="connsiteX1390" fmla="*/ 1829735 w 8387961"/>
                <a:gd name="connsiteY1390" fmla="*/ 2321650 h 3980066"/>
                <a:gd name="connsiteX1391" fmla="*/ 1834752 w 8387961"/>
                <a:gd name="connsiteY1391" fmla="*/ 2313289 h 3980066"/>
                <a:gd name="connsiteX1392" fmla="*/ 1821381 w 8387961"/>
                <a:gd name="connsiteY1392" fmla="*/ 2308273 h 3980066"/>
                <a:gd name="connsiteX1393" fmla="*/ 1816442 w 8387961"/>
                <a:gd name="connsiteY1393" fmla="*/ 2288540 h 3980066"/>
                <a:gd name="connsiteX1394" fmla="*/ 5620596 w 8387961"/>
                <a:gd name="connsiteY1394" fmla="*/ 2286806 h 3980066"/>
                <a:gd name="connsiteX1395" fmla="*/ 5623609 w 8387961"/>
                <a:gd name="connsiteY1395" fmla="*/ 2288312 h 3980066"/>
                <a:gd name="connsiteX1396" fmla="*/ 5620596 w 8387961"/>
                <a:gd name="connsiteY1396" fmla="*/ 2289819 h 3980066"/>
                <a:gd name="connsiteX1397" fmla="*/ 1859682 w 8387961"/>
                <a:gd name="connsiteY1397" fmla="*/ 2283520 h 3980066"/>
                <a:gd name="connsiteX1398" fmla="*/ 1861259 w 8387961"/>
                <a:gd name="connsiteY1398" fmla="*/ 2288207 h 3980066"/>
                <a:gd name="connsiteX1399" fmla="*/ 1861511 w 8387961"/>
                <a:gd name="connsiteY1399" fmla="*/ 2288207 h 3980066"/>
                <a:gd name="connsiteX1400" fmla="*/ 1860075 w 8387961"/>
                <a:gd name="connsiteY1400" fmla="*/ 2283909 h 3980066"/>
                <a:gd name="connsiteX1401" fmla="*/ 8256899 w 8387961"/>
                <a:gd name="connsiteY1401" fmla="*/ 2282286 h 3980066"/>
                <a:gd name="connsiteX1402" fmla="*/ 8259159 w 8387961"/>
                <a:gd name="connsiteY1402" fmla="*/ 2282286 h 3980066"/>
                <a:gd name="connsiteX1403" fmla="*/ 8261418 w 8387961"/>
                <a:gd name="connsiteY1403" fmla="*/ 2285675 h 3980066"/>
                <a:gd name="connsiteX1404" fmla="*/ 5623609 w 8387961"/>
                <a:gd name="connsiteY1404" fmla="*/ 2282286 h 3980066"/>
                <a:gd name="connsiteX1405" fmla="*/ 5623609 w 8387961"/>
                <a:gd name="connsiteY1405" fmla="*/ 2286805 h 3980066"/>
                <a:gd name="connsiteX1406" fmla="*/ 5620596 w 8387961"/>
                <a:gd name="connsiteY1406" fmla="*/ 2286805 h 3980066"/>
                <a:gd name="connsiteX1407" fmla="*/ 7064831 w 8387961"/>
                <a:gd name="connsiteY1407" fmla="*/ 2276260 h 3980066"/>
                <a:gd name="connsiteX1408" fmla="*/ 7064831 w 8387961"/>
                <a:gd name="connsiteY1408" fmla="*/ 2287977 h 3980066"/>
                <a:gd name="connsiteX1409" fmla="*/ 7059919 w 8387961"/>
                <a:gd name="connsiteY1409" fmla="*/ 2308063 h 3980066"/>
                <a:gd name="connsiteX1410" fmla="*/ 7059919 w 8387961"/>
                <a:gd name="connsiteY1410" fmla="*/ 2316433 h 3980066"/>
                <a:gd name="connsiteX1411" fmla="*/ 7069744 w 8387961"/>
                <a:gd name="connsiteY1411" fmla="*/ 2301368 h 3980066"/>
                <a:gd name="connsiteX1412" fmla="*/ 7077931 w 8387961"/>
                <a:gd name="connsiteY1412" fmla="*/ 2292998 h 3980066"/>
                <a:gd name="connsiteX1413" fmla="*/ 7084481 w 8387961"/>
                <a:gd name="connsiteY1413" fmla="*/ 2299694 h 3980066"/>
                <a:gd name="connsiteX1414" fmla="*/ 7073019 w 8387961"/>
                <a:gd name="connsiteY1414" fmla="*/ 2313085 h 3980066"/>
                <a:gd name="connsiteX1415" fmla="*/ 7089393 w 8387961"/>
                <a:gd name="connsiteY1415" fmla="*/ 2333171 h 3980066"/>
                <a:gd name="connsiteX1416" fmla="*/ 7063194 w 8387961"/>
                <a:gd name="connsiteY1416" fmla="*/ 2329823 h 3980066"/>
                <a:gd name="connsiteX1417" fmla="*/ 7073019 w 8387961"/>
                <a:gd name="connsiteY1417" fmla="*/ 2366648 h 3980066"/>
                <a:gd name="connsiteX1418" fmla="*/ 7058282 w 8387961"/>
                <a:gd name="connsiteY1418" fmla="*/ 2339866 h 3980066"/>
                <a:gd name="connsiteX1419" fmla="*/ 7055007 w 8387961"/>
                <a:gd name="connsiteY1419" fmla="*/ 2318106 h 3980066"/>
                <a:gd name="connsiteX1420" fmla="*/ 7051732 w 8387961"/>
                <a:gd name="connsiteY1420" fmla="*/ 2298020 h 3980066"/>
                <a:gd name="connsiteX1421" fmla="*/ 5629635 w 8387961"/>
                <a:gd name="connsiteY1421" fmla="*/ 2276260 h 3980066"/>
                <a:gd name="connsiteX1422" fmla="*/ 5632648 w 8387961"/>
                <a:gd name="connsiteY1422" fmla="*/ 2276260 h 3980066"/>
                <a:gd name="connsiteX1423" fmla="*/ 5629635 w 8387961"/>
                <a:gd name="connsiteY1423" fmla="*/ 2279273 h 3980066"/>
                <a:gd name="connsiteX1424" fmla="*/ 5623609 w 8387961"/>
                <a:gd name="connsiteY1424" fmla="*/ 2270234 h 3980066"/>
                <a:gd name="connsiteX1425" fmla="*/ 5626622 w 8387961"/>
                <a:gd name="connsiteY1425" fmla="*/ 2270234 h 3980066"/>
                <a:gd name="connsiteX1426" fmla="*/ 5623609 w 8387961"/>
                <a:gd name="connsiteY1426" fmla="*/ 2273247 h 3980066"/>
                <a:gd name="connsiteX1427" fmla="*/ 3929747 w 8387961"/>
                <a:gd name="connsiteY1427" fmla="*/ 2270234 h 3980066"/>
                <a:gd name="connsiteX1428" fmla="*/ 3949633 w 8387961"/>
                <a:gd name="connsiteY1428" fmla="*/ 2271866 h 3980066"/>
                <a:gd name="connsiteX1429" fmla="*/ 3969518 w 8387961"/>
                <a:gd name="connsiteY1429" fmla="*/ 2276762 h 3980066"/>
                <a:gd name="connsiteX1430" fmla="*/ 3969518 w 8387961"/>
                <a:gd name="connsiteY1430" fmla="*/ 2309402 h 3980066"/>
                <a:gd name="connsiteX1431" fmla="*/ 3949633 w 8387961"/>
                <a:gd name="connsiteY1431" fmla="*/ 2309402 h 3980066"/>
                <a:gd name="connsiteX1432" fmla="*/ 3929747 w 8387961"/>
                <a:gd name="connsiteY1432" fmla="*/ 2309402 h 3980066"/>
                <a:gd name="connsiteX1433" fmla="*/ 3919805 w 8387961"/>
                <a:gd name="connsiteY1433" fmla="*/ 2306138 h 3980066"/>
                <a:gd name="connsiteX1434" fmla="*/ 3923119 w 8387961"/>
                <a:gd name="connsiteY1434" fmla="*/ 2296346 h 3980066"/>
                <a:gd name="connsiteX1435" fmla="*/ 1987279 w 8387961"/>
                <a:gd name="connsiteY1435" fmla="*/ 2266945 h 3980066"/>
                <a:gd name="connsiteX1436" fmla="*/ 1982262 w 8387961"/>
                <a:gd name="connsiteY1436" fmla="*/ 2275231 h 3980066"/>
                <a:gd name="connsiteX1437" fmla="*/ 1958697 w 8387961"/>
                <a:gd name="connsiteY1437" fmla="*/ 2296917 h 3980066"/>
                <a:gd name="connsiteX1438" fmla="*/ 1932003 w 8387961"/>
                <a:gd name="connsiteY1438" fmla="*/ 2316761 h 3980066"/>
                <a:gd name="connsiteX1439" fmla="*/ 1935084 w 8387961"/>
                <a:gd name="connsiteY1439" fmla="*/ 2318306 h 3980066"/>
                <a:gd name="connsiteX1440" fmla="*/ 1961845 w 8387961"/>
                <a:gd name="connsiteY1440" fmla="*/ 2298240 h 3980066"/>
                <a:gd name="connsiteX1441" fmla="*/ 1985251 w 8387961"/>
                <a:gd name="connsiteY1441" fmla="*/ 2276501 h 3980066"/>
                <a:gd name="connsiteX1442" fmla="*/ 1990268 w 8387961"/>
                <a:gd name="connsiteY1442" fmla="*/ 2268141 h 3980066"/>
                <a:gd name="connsiteX1443" fmla="*/ 2204915 w 8387961"/>
                <a:gd name="connsiteY1443" fmla="*/ 2263149 h 3980066"/>
                <a:gd name="connsiteX1444" fmla="*/ 2181059 w 8387961"/>
                <a:gd name="connsiteY1444" fmla="*/ 2269908 h 3980066"/>
                <a:gd name="connsiteX1445" fmla="*/ 2182667 w 8387961"/>
                <a:gd name="connsiteY1445" fmla="*/ 2285858 h 3980066"/>
                <a:gd name="connsiteX1446" fmla="*/ 2184246 w 8387961"/>
                <a:gd name="connsiteY1446" fmla="*/ 2286534 h 3980066"/>
                <a:gd name="connsiteX1447" fmla="*/ 2182574 w 8387961"/>
                <a:gd name="connsiteY1447" fmla="*/ 2269813 h 3980066"/>
                <a:gd name="connsiteX1448" fmla="*/ 2205326 w 8387961"/>
                <a:gd name="connsiteY1448" fmla="*/ 2263312 h 3980066"/>
                <a:gd name="connsiteX1449" fmla="*/ 5620596 w 8387961"/>
                <a:gd name="connsiteY1449" fmla="*/ 2262702 h 3980066"/>
                <a:gd name="connsiteX1450" fmla="*/ 5623609 w 8387961"/>
                <a:gd name="connsiteY1450" fmla="*/ 2262702 h 3980066"/>
                <a:gd name="connsiteX1451" fmla="*/ 5623609 w 8387961"/>
                <a:gd name="connsiteY1451" fmla="*/ 2265715 h 3980066"/>
                <a:gd name="connsiteX1452" fmla="*/ 5599506 w 8387961"/>
                <a:gd name="connsiteY1452" fmla="*/ 2256676 h 3980066"/>
                <a:gd name="connsiteX1453" fmla="*/ 5602519 w 8387961"/>
                <a:gd name="connsiteY1453" fmla="*/ 2256676 h 3980066"/>
                <a:gd name="connsiteX1454" fmla="*/ 5602519 w 8387961"/>
                <a:gd name="connsiteY1454" fmla="*/ 2259689 h 3980066"/>
                <a:gd name="connsiteX1455" fmla="*/ 5620596 w 8387961"/>
                <a:gd name="connsiteY1455" fmla="*/ 2249144 h 3980066"/>
                <a:gd name="connsiteX1456" fmla="*/ 5623609 w 8387961"/>
                <a:gd name="connsiteY1456" fmla="*/ 2249144 h 3980066"/>
                <a:gd name="connsiteX1457" fmla="*/ 5623609 w 8387961"/>
                <a:gd name="connsiteY1457" fmla="*/ 2252157 h 3980066"/>
                <a:gd name="connsiteX1458" fmla="*/ 8252882 w 8387961"/>
                <a:gd name="connsiteY1458" fmla="*/ 2246131 h 3980066"/>
                <a:gd name="connsiteX1459" fmla="*/ 8253886 w 8387961"/>
                <a:gd name="connsiteY1459" fmla="*/ 2246131 h 3980066"/>
                <a:gd name="connsiteX1460" fmla="*/ 8252882 w 8387961"/>
                <a:gd name="connsiteY1460" fmla="*/ 2249144 h 3980066"/>
                <a:gd name="connsiteX1461" fmla="*/ 8250873 w 8387961"/>
                <a:gd name="connsiteY1461" fmla="*/ 2249144 h 3980066"/>
                <a:gd name="connsiteX1462" fmla="*/ 4123874 w 8387961"/>
                <a:gd name="connsiteY1462" fmla="*/ 2231240 h 3980066"/>
                <a:gd name="connsiteX1463" fmla="*/ 4110542 w 8387961"/>
                <a:gd name="connsiteY1463" fmla="*/ 2241322 h 3980066"/>
                <a:gd name="connsiteX1464" fmla="*/ 4110244 w 8387961"/>
                <a:gd name="connsiteY1464" fmla="*/ 2242273 h 3980066"/>
                <a:gd name="connsiteX1465" fmla="*/ 4123370 w 8387961"/>
                <a:gd name="connsiteY1465" fmla="*/ 2232573 h 3980066"/>
                <a:gd name="connsiteX1466" fmla="*/ 4143610 w 8387961"/>
                <a:gd name="connsiteY1466" fmla="*/ 2234235 h 3980066"/>
                <a:gd name="connsiteX1467" fmla="*/ 4162949 w 8387961"/>
                <a:gd name="connsiteY1467" fmla="*/ 2237411 h 3980066"/>
                <a:gd name="connsiteX1468" fmla="*/ 4162949 w 8387961"/>
                <a:gd name="connsiteY1468" fmla="*/ 2236125 h 3980066"/>
                <a:gd name="connsiteX1469" fmla="*/ 4143873 w 8387961"/>
                <a:gd name="connsiteY1469" fmla="*/ 2232920 h 3980066"/>
                <a:gd name="connsiteX1470" fmla="*/ 3901726 w 8387961"/>
                <a:gd name="connsiteY1470" fmla="*/ 2226547 h 3980066"/>
                <a:gd name="connsiteX1471" fmla="*/ 3906246 w 8387961"/>
                <a:gd name="connsiteY1471" fmla="*/ 2228618 h 3980066"/>
                <a:gd name="connsiteX1472" fmla="*/ 3892688 w 8387961"/>
                <a:gd name="connsiteY1472" fmla="*/ 2243118 h 3980066"/>
                <a:gd name="connsiteX1473" fmla="*/ 2131924 w 8387961"/>
                <a:gd name="connsiteY1473" fmla="*/ 2222998 h 3980066"/>
                <a:gd name="connsiteX1474" fmla="*/ 2131919 w 8387961"/>
                <a:gd name="connsiteY1474" fmla="*/ 2223071 h 3980066"/>
                <a:gd name="connsiteX1475" fmla="*/ 2143303 w 8387961"/>
                <a:gd name="connsiteY1475" fmla="*/ 2239874 h 3980066"/>
                <a:gd name="connsiteX1476" fmla="*/ 2157927 w 8387961"/>
                <a:gd name="connsiteY1476" fmla="*/ 2260037 h 3980066"/>
                <a:gd name="connsiteX1477" fmla="*/ 2169303 w 8387961"/>
                <a:gd name="connsiteY1477" fmla="*/ 2281881 h 3980066"/>
                <a:gd name="connsiteX1478" fmla="*/ 2141671 w 8387961"/>
                <a:gd name="connsiteY1478" fmla="*/ 2286922 h 3980066"/>
                <a:gd name="connsiteX1479" fmla="*/ 2116539 w 8387961"/>
                <a:gd name="connsiteY1479" fmla="*/ 2299912 h 3980066"/>
                <a:gd name="connsiteX1480" fmla="*/ 2117365 w 8387961"/>
                <a:gd name="connsiteY1480" fmla="*/ 2299912 h 3980066"/>
                <a:gd name="connsiteX1481" fmla="*/ 2144112 w 8387961"/>
                <a:gd name="connsiteY1481" fmla="*/ 2286534 h 3980066"/>
                <a:gd name="connsiteX1482" fmla="*/ 2170972 w 8387961"/>
                <a:gd name="connsiteY1482" fmla="*/ 2281795 h 3980066"/>
                <a:gd name="connsiteX1483" fmla="*/ 2170842 w 8387961"/>
                <a:gd name="connsiteY1483" fmla="*/ 2281736 h 3980066"/>
                <a:gd name="connsiteX1484" fmla="*/ 2158905 w 8387961"/>
                <a:gd name="connsiteY1484" fmla="*/ 2259770 h 3980066"/>
                <a:gd name="connsiteX1485" fmla="*/ 2143573 w 8387961"/>
                <a:gd name="connsiteY1485" fmla="*/ 2239494 h 3980066"/>
                <a:gd name="connsiteX1486" fmla="*/ 1951970 w 8387961"/>
                <a:gd name="connsiteY1486" fmla="*/ 2210174 h 3980066"/>
                <a:gd name="connsiteX1487" fmla="*/ 1962062 w 8387961"/>
                <a:gd name="connsiteY1487" fmla="*/ 2226855 h 3980066"/>
                <a:gd name="connsiteX1488" fmla="*/ 1970479 w 8387961"/>
                <a:gd name="connsiteY1488" fmla="*/ 2260218 h 3980066"/>
                <a:gd name="connsiteX1489" fmla="*/ 1973541 w 8387961"/>
                <a:gd name="connsiteY1489" fmla="*/ 2261432 h 3980066"/>
                <a:gd name="connsiteX1490" fmla="*/ 1965191 w 8387961"/>
                <a:gd name="connsiteY1490" fmla="*/ 2228008 h 3980066"/>
                <a:gd name="connsiteX1491" fmla="*/ 1955207 w 8387961"/>
                <a:gd name="connsiteY1491" fmla="*/ 2211380 h 3980066"/>
                <a:gd name="connsiteX1492" fmla="*/ 6717298 w 8387961"/>
                <a:gd name="connsiteY1492" fmla="*/ 2191899 h 3980066"/>
                <a:gd name="connsiteX1493" fmla="*/ 6717298 w 8387961"/>
                <a:gd name="connsiteY1493" fmla="*/ 2193405 h 3980066"/>
                <a:gd name="connsiteX1494" fmla="*/ 6712779 w 8387961"/>
                <a:gd name="connsiteY1494" fmla="*/ 2206963 h 3980066"/>
                <a:gd name="connsiteX1495" fmla="*/ 6708259 w 8387961"/>
                <a:gd name="connsiteY1495" fmla="*/ 2216002 h 3980066"/>
                <a:gd name="connsiteX1496" fmla="*/ 6694701 w 8387961"/>
                <a:gd name="connsiteY1496" fmla="*/ 2200937 h 3980066"/>
                <a:gd name="connsiteX1497" fmla="*/ 4183871 w 8387961"/>
                <a:gd name="connsiteY1497" fmla="*/ 2185872 h 3980066"/>
                <a:gd name="connsiteX1498" fmla="*/ 4163872 w 8387961"/>
                <a:gd name="connsiteY1498" fmla="*/ 2212757 h 3980066"/>
                <a:gd name="connsiteX1499" fmla="*/ 4163872 w 8387961"/>
                <a:gd name="connsiteY1499" fmla="*/ 2213394 h 3980066"/>
                <a:gd name="connsiteX1500" fmla="*/ 4182870 w 8387961"/>
                <a:gd name="connsiteY1500" fmla="*/ 2187877 h 3980066"/>
                <a:gd name="connsiteX1501" fmla="*/ 4211091 w 8387961"/>
                <a:gd name="connsiteY1501" fmla="*/ 2202928 h 3980066"/>
                <a:gd name="connsiteX1502" fmla="*/ 4237652 w 8387961"/>
                <a:gd name="connsiteY1502" fmla="*/ 2211290 h 3980066"/>
                <a:gd name="connsiteX1503" fmla="*/ 4260893 w 8387961"/>
                <a:gd name="connsiteY1503" fmla="*/ 2217979 h 3980066"/>
                <a:gd name="connsiteX1504" fmla="*/ 4262089 w 8387961"/>
                <a:gd name="connsiteY1504" fmla="*/ 2216086 h 3980066"/>
                <a:gd name="connsiteX1505" fmla="*/ 4238867 w 8387961"/>
                <a:gd name="connsiteY1505" fmla="*/ 2209396 h 3980066"/>
                <a:gd name="connsiteX1506" fmla="*/ 4212202 w 8387961"/>
                <a:gd name="connsiteY1506" fmla="*/ 2200995 h 3980066"/>
                <a:gd name="connsiteX1507" fmla="*/ 4342195 w 8387961"/>
                <a:gd name="connsiteY1507" fmla="*/ 2180831 h 3980066"/>
                <a:gd name="connsiteX1508" fmla="*/ 4332195 w 8387961"/>
                <a:gd name="connsiteY1508" fmla="*/ 2189233 h 3980066"/>
                <a:gd name="connsiteX1509" fmla="*/ 4312196 w 8387961"/>
                <a:gd name="connsiteY1509" fmla="*/ 2189233 h 3980066"/>
                <a:gd name="connsiteX1510" fmla="*/ 4285531 w 8387961"/>
                <a:gd name="connsiteY1510" fmla="*/ 2199314 h 3980066"/>
                <a:gd name="connsiteX1511" fmla="*/ 4273865 w 8387961"/>
                <a:gd name="connsiteY1511" fmla="*/ 2197634 h 3980066"/>
                <a:gd name="connsiteX1512" fmla="*/ 4272625 w 8387961"/>
                <a:gd name="connsiteY1512" fmla="*/ 2199599 h 3980066"/>
                <a:gd name="connsiteX1513" fmla="*/ 4284135 w 8387961"/>
                <a:gd name="connsiteY1513" fmla="*/ 2201256 h 3980066"/>
                <a:gd name="connsiteX1514" fmla="*/ 4310696 w 8387961"/>
                <a:gd name="connsiteY1514" fmla="*/ 2191222 h 3980066"/>
                <a:gd name="connsiteX1515" fmla="*/ 4330617 w 8387961"/>
                <a:gd name="connsiteY1515" fmla="*/ 2191222 h 3980066"/>
                <a:gd name="connsiteX1516" fmla="*/ 4340577 w 8387961"/>
                <a:gd name="connsiteY1516" fmla="*/ 2182860 h 3980066"/>
                <a:gd name="connsiteX1517" fmla="*/ 4360498 w 8387961"/>
                <a:gd name="connsiteY1517" fmla="*/ 2184532 h 3980066"/>
                <a:gd name="connsiteX1518" fmla="*/ 4382079 w 8387961"/>
                <a:gd name="connsiteY1518" fmla="*/ 2187877 h 3980066"/>
                <a:gd name="connsiteX1519" fmla="*/ 4397020 w 8387961"/>
                <a:gd name="connsiteY1519" fmla="*/ 2191222 h 3980066"/>
                <a:gd name="connsiteX1520" fmla="*/ 4402000 w 8387961"/>
                <a:gd name="connsiteY1520" fmla="*/ 2197911 h 3980066"/>
                <a:gd name="connsiteX1521" fmla="*/ 4421921 w 8387961"/>
                <a:gd name="connsiteY1521" fmla="*/ 2211290 h 3980066"/>
                <a:gd name="connsiteX1522" fmla="*/ 4438522 w 8387961"/>
                <a:gd name="connsiteY1522" fmla="*/ 2209617 h 3980066"/>
                <a:gd name="connsiteX1523" fmla="*/ 4448482 w 8387961"/>
                <a:gd name="connsiteY1523" fmla="*/ 2201256 h 3980066"/>
                <a:gd name="connsiteX1524" fmla="*/ 4466743 w 8387961"/>
                <a:gd name="connsiteY1524" fmla="*/ 2219652 h 3980066"/>
                <a:gd name="connsiteX1525" fmla="*/ 4486664 w 8387961"/>
                <a:gd name="connsiteY1525" fmla="*/ 2238047 h 3980066"/>
                <a:gd name="connsiteX1526" fmla="*/ 4483344 w 8387961"/>
                <a:gd name="connsiteY1526" fmla="*/ 2263133 h 3980066"/>
                <a:gd name="connsiteX1527" fmla="*/ 4498285 w 8387961"/>
                <a:gd name="connsiteY1527" fmla="*/ 2278184 h 3980066"/>
                <a:gd name="connsiteX1528" fmla="*/ 4480024 w 8387961"/>
                <a:gd name="connsiteY1528" fmla="*/ 2294907 h 3980066"/>
                <a:gd name="connsiteX1529" fmla="*/ 4463423 w 8387961"/>
                <a:gd name="connsiteY1529" fmla="*/ 2314976 h 3980066"/>
                <a:gd name="connsiteX1530" fmla="*/ 4458443 w 8387961"/>
                <a:gd name="connsiteY1530" fmla="*/ 2350095 h 3980066"/>
                <a:gd name="connsiteX1531" fmla="*/ 4451803 w 8387961"/>
                <a:gd name="connsiteY1531" fmla="*/ 2383542 h 3980066"/>
                <a:gd name="connsiteX1532" fmla="*/ 4441842 w 8387961"/>
                <a:gd name="connsiteY1532" fmla="*/ 2403610 h 3980066"/>
                <a:gd name="connsiteX1533" fmla="*/ 4433542 w 8387961"/>
                <a:gd name="connsiteY1533" fmla="*/ 2422006 h 3980066"/>
                <a:gd name="connsiteX1534" fmla="*/ 4436862 w 8387961"/>
                <a:gd name="connsiteY1534" fmla="*/ 2422006 h 3980066"/>
                <a:gd name="connsiteX1535" fmla="*/ 4436862 w 8387961"/>
                <a:gd name="connsiteY1535" fmla="*/ 2423678 h 3980066"/>
                <a:gd name="connsiteX1536" fmla="*/ 4438522 w 8387961"/>
                <a:gd name="connsiteY1536" fmla="*/ 2425351 h 3980066"/>
                <a:gd name="connsiteX1537" fmla="*/ 4441842 w 8387961"/>
                <a:gd name="connsiteY1537" fmla="*/ 2450436 h 3980066"/>
                <a:gd name="connsiteX1538" fmla="*/ 4448482 w 8387961"/>
                <a:gd name="connsiteY1538" fmla="*/ 2475521 h 3980066"/>
                <a:gd name="connsiteX1539" fmla="*/ 4448482 w 8387961"/>
                <a:gd name="connsiteY1539" fmla="*/ 2498934 h 3980066"/>
                <a:gd name="connsiteX1540" fmla="*/ 4450142 w 8387961"/>
                <a:gd name="connsiteY1540" fmla="*/ 2520674 h 3980066"/>
                <a:gd name="connsiteX1541" fmla="*/ 4458443 w 8387961"/>
                <a:gd name="connsiteY1541" fmla="*/ 2544087 h 3980066"/>
                <a:gd name="connsiteX1542" fmla="*/ 4470063 w 8387961"/>
                <a:gd name="connsiteY1542" fmla="*/ 2565828 h 3980066"/>
                <a:gd name="connsiteX1543" fmla="*/ 4480762 w 8387961"/>
                <a:gd name="connsiteY1543" fmla="*/ 2584305 h 3980066"/>
                <a:gd name="connsiteX1544" fmla="*/ 4481886 w 8387961"/>
                <a:gd name="connsiteY1544" fmla="*/ 2584002 h 3980066"/>
                <a:gd name="connsiteX1545" fmla="*/ 4470446 w 8387961"/>
                <a:gd name="connsiteY1545" fmla="*/ 2564434 h 3980066"/>
                <a:gd name="connsiteX1546" fmla="*/ 4458668 w 8387961"/>
                <a:gd name="connsiteY1546" fmla="*/ 2542606 h 3980066"/>
                <a:gd name="connsiteX1547" fmla="*/ 4450254 w 8387961"/>
                <a:gd name="connsiteY1547" fmla="*/ 2519099 h 3980066"/>
                <a:gd name="connsiteX1548" fmla="*/ 4448572 w 8387961"/>
                <a:gd name="connsiteY1548" fmla="*/ 2497271 h 3980066"/>
                <a:gd name="connsiteX1549" fmla="*/ 4448572 w 8387961"/>
                <a:gd name="connsiteY1549" fmla="*/ 2473764 h 3980066"/>
                <a:gd name="connsiteX1550" fmla="*/ 4453620 w 8387961"/>
                <a:gd name="connsiteY1550" fmla="*/ 2473764 h 3980066"/>
                <a:gd name="connsiteX1551" fmla="*/ 4453738 w 8387961"/>
                <a:gd name="connsiteY1551" fmla="*/ 2473606 h 3980066"/>
                <a:gd name="connsiteX1552" fmla="*/ 4449701 w 8387961"/>
                <a:gd name="connsiteY1552" fmla="*/ 2473606 h 3980066"/>
                <a:gd name="connsiteX1553" fmla="*/ 4443029 w 8387961"/>
                <a:gd name="connsiteY1553" fmla="*/ 2448631 h 3980066"/>
                <a:gd name="connsiteX1554" fmla="*/ 4439694 w 8387961"/>
                <a:gd name="connsiteY1554" fmla="*/ 2423655 h 3980066"/>
                <a:gd name="connsiteX1555" fmla="*/ 4438026 w 8387961"/>
                <a:gd name="connsiteY1555" fmla="*/ 2421990 h 3980066"/>
                <a:gd name="connsiteX1556" fmla="*/ 4439137 w 8387961"/>
                <a:gd name="connsiteY1556" fmla="*/ 2420881 h 3980066"/>
                <a:gd name="connsiteX1557" fmla="*/ 4438402 w 8387961"/>
                <a:gd name="connsiteY1557" fmla="*/ 2420881 h 3980066"/>
                <a:gd name="connsiteX1558" fmla="*/ 4435013 w 8387961"/>
                <a:gd name="connsiteY1558" fmla="*/ 2420881 h 3980066"/>
                <a:gd name="connsiteX1559" fmla="*/ 4443487 w 8387961"/>
                <a:gd name="connsiteY1559" fmla="*/ 2402596 h 3980066"/>
                <a:gd name="connsiteX1560" fmla="*/ 4453655 w 8387961"/>
                <a:gd name="connsiteY1560" fmla="*/ 2382648 h 3980066"/>
                <a:gd name="connsiteX1561" fmla="*/ 4454709 w 8387961"/>
                <a:gd name="connsiteY1561" fmla="*/ 2382648 h 3980066"/>
                <a:gd name="connsiteX1562" fmla="*/ 4461246 w 8387961"/>
                <a:gd name="connsiteY1562" fmla="*/ 2349510 h 3980066"/>
                <a:gd name="connsiteX1563" fmla="*/ 4466233 w 8387961"/>
                <a:gd name="connsiteY1563" fmla="*/ 2314116 h 3980066"/>
                <a:gd name="connsiteX1564" fmla="*/ 4482856 w 8387961"/>
                <a:gd name="connsiteY1564" fmla="*/ 2293890 h 3980066"/>
                <a:gd name="connsiteX1565" fmla="*/ 4501141 w 8387961"/>
                <a:gd name="connsiteY1565" fmla="*/ 2277036 h 3980066"/>
                <a:gd name="connsiteX1566" fmla="*/ 4486180 w 8387961"/>
                <a:gd name="connsiteY1566" fmla="*/ 2261867 h 3980066"/>
                <a:gd name="connsiteX1567" fmla="*/ 4489505 w 8387961"/>
                <a:gd name="connsiteY1567" fmla="*/ 2236585 h 3980066"/>
                <a:gd name="connsiteX1568" fmla="*/ 4491167 w 8387961"/>
                <a:gd name="connsiteY1568" fmla="*/ 2229843 h 3980066"/>
                <a:gd name="connsiteX1569" fmla="*/ 4511115 w 8387961"/>
                <a:gd name="connsiteY1569" fmla="*/ 2228158 h 3980066"/>
                <a:gd name="connsiteX1570" fmla="*/ 4516102 w 8387961"/>
                <a:gd name="connsiteY1570" fmla="*/ 2231529 h 3980066"/>
                <a:gd name="connsiteX1571" fmla="*/ 4529400 w 8387961"/>
                <a:gd name="connsiteY1571" fmla="*/ 2228158 h 3980066"/>
                <a:gd name="connsiteX1572" fmla="*/ 4559322 w 8387961"/>
                <a:gd name="connsiteY1572" fmla="*/ 2228158 h 3980066"/>
                <a:gd name="connsiteX1573" fmla="*/ 4565297 w 8387961"/>
                <a:gd name="connsiteY1573" fmla="*/ 2220368 h 3980066"/>
                <a:gd name="connsiteX1574" fmla="*/ 4559967 w 8387961"/>
                <a:gd name="connsiteY1574" fmla="*/ 2227200 h 3980066"/>
                <a:gd name="connsiteX1575" fmla="*/ 4529686 w 8387961"/>
                <a:gd name="connsiteY1575" fmla="*/ 2227200 h 3980066"/>
                <a:gd name="connsiteX1576" fmla="*/ 4516227 w 8387961"/>
                <a:gd name="connsiteY1576" fmla="*/ 2230554 h 3980066"/>
                <a:gd name="connsiteX1577" fmla="*/ 4511180 w 8387961"/>
                <a:gd name="connsiteY1577" fmla="*/ 2227200 h 3980066"/>
                <a:gd name="connsiteX1578" fmla="*/ 4490993 w 8387961"/>
                <a:gd name="connsiteY1578" fmla="*/ 2228877 h 3980066"/>
                <a:gd name="connsiteX1579" fmla="*/ 4489310 w 8387961"/>
                <a:gd name="connsiteY1579" fmla="*/ 2235586 h 3980066"/>
                <a:gd name="connsiteX1580" fmla="*/ 4469122 w 8387961"/>
                <a:gd name="connsiteY1580" fmla="*/ 2217137 h 3980066"/>
                <a:gd name="connsiteX1581" fmla="*/ 4450617 w 8387961"/>
                <a:gd name="connsiteY1581" fmla="*/ 2198688 h 3980066"/>
                <a:gd name="connsiteX1582" fmla="*/ 4440523 w 8387961"/>
                <a:gd name="connsiteY1582" fmla="*/ 2207074 h 3980066"/>
                <a:gd name="connsiteX1583" fmla="*/ 4423700 w 8387961"/>
                <a:gd name="connsiteY1583" fmla="*/ 2208751 h 3980066"/>
                <a:gd name="connsiteX1584" fmla="*/ 4403512 w 8387961"/>
                <a:gd name="connsiteY1584" fmla="*/ 2195334 h 3980066"/>
                <a:gd name="connsiteX1585" fmla="*/ 4398733 w 8387961"/>
                <a:gd name="connsiteY1585" fmla="*/ 2188981 h 3980066"/>
                <a:gd name="connsiteX1586" fmla="*/ 4398858 w 8387961"/>
                <a:gd name="connsiteY1586" fmla="*/ 2189233 h 3980066"/>
                <a:gd name="connsiteX1587" fmla="*/ 4383859 w 8387961"/>
                <a:gd name="connsiteY1587" fmla="*/ 2185872 h 3980066"/>
                <a:gd name="connsiteX1588" fmla="*/ 4362193 w 8387961"/>
                <a:gd name="connsiteY1588" fmla="*/ 2182512 h 3980066"/>
                <a:gd name="connsiteX1589" fmla="*/ 6191544 w 8387961"/>
                <a:gd name="connsiteY1589" fmla="*/ 2172315 h 3980066"/>
                <a:gd name="connsiteX1590" fmla="*/ 6210126 w 8387961"/>
                <a:gd name="connsiteY1590" fmla="*/ 2175667 h 3980066"/>
                <a:gd name="connsiteX1591" fmla="*/ 6230398 w 8387961"/>
                <a:gd name="connsiteY1591" fmla="*/ 2179020 h 3980066"/>
                <a:gd name="connsiteX1592" fmla="*/ 6250670 w 8387961"/>
                <a:gd name="connsiteY1592" fmla="*/ 2182373 h 3980066"/>
                <a:gd name="connsiteX1593" fmla="*/ 6276010 w 8387961"/>
                <a:gd name="connsiteY1593" fmla="*/ 2210870 h 3980066"/>
                <a:gd name="connsiteX1594" fmla="*/ 6277699 w 8387961"/>
                <a:gd name="connsiteY1594" fmla="*/ 2217575 h 3980066"/>
                <a:gd name="connsiteX1595" fmla="*/ 6301350 w 8387961"/>
                <a:gd name="connsiteY1595" fmla="*/ 2239367 h 3980066"/>
                <a:gd name="connsiteX1596" fmla="*/ 6326690 w 8387961"/>
                <a:gd name="connsiteY1596" fmla="*/ 2259483 h 3980066"/>
                <a:gd name="connsiteX1597" fmla="*/ 6346962 w 8387961"/>
                <a:gd name="connsiteY1597" fmla="*/ 2281275 h 3980066"/>
                <a:gd name="connsiteX1598" fmla="*/ 6343583 w 8387961"/>
                <a:gd name="connsiteY1598" fmla="*/ 2271217 h 3980066"/>
                <a:gd name="connsiteX1599" fmla="*/ 6368923 w 8387961"/>
                <a:gd name="connsiteY1599" fmla="*/ 2289656 h 3980066"/>
                <a:gd name="connsiteX1600" fmla="*/ 6382437 w 8387961"/>
                <a:gd name="connsiteY1600" fmla="*/ 2308096 h 3980066"/>
                <a:gd name="connsiteX1601" fmla="*/ 6407777 w 8387961"/>
                <a:gd name="connsiteY1601" fmla="*/ 2323182 h 3980066"/>
                <a:gd name="connsiteX1602" fmla="*/ 6411156 w 8387961"/>
                <a:gd name="connsiteY1602" fmla="*/ 2326535 h 3980066"/>
                <a:gd name="connsiteX1603" fmla="*/ 6428050 w 8387961"/>
                <a:gd name="connsiteY1603" fmla="*/ 2339946 h 3980066"/>
                <a:gd name="connsiteX1604" fmla="*/ 6414534 w 8387961"/>
                <a:gd name="connsiteY1604" fmla="*/ 2346651 h 3980066"/>
                <a:gd name="connsiteX1605" fmla="*/ 6417913 w 8387961"/>
                <a:gd name="connsiteY1605" fmla="*/ 2351680 h 3980066"/>
                <a:gd name="connsiteX1606" fmla="*/ 6414534 w 8387961"/>
                <a:gd name="connsiteY1606" fmla="*/ 2356709 h 3980066"/>
                <a:gd name="connsiteX1607" fmla="*/ 6419602 w 8387961"/>
                <a:gd name="connsiteY1607" fmla="*/ 2366766 h 3980066"/>
                <a:gd name="connsiteX1608" fmla="*/ 6439875 w 8387961"/>
                <a:gd name="connsiteY1608" fmla="*/ 2370119 h 3980066"/>
                <a:gd name="connsiteX1609" fmla="*/ 6444943 w 8387961"/>
                <a:gd name="connsiteY1609" fmla="*/ 2391911 h 3980066"/>
                <a:gd name="connsiteX1610" fmla="*/ 6450011 w 8387961"/>
                <a:gd name="connsiteY1610" fmla="*/ 2400292 h 3980066"/>
                <a:gd name="connsiteX1611" fmla="*/ 6450011 w 8387961"/>
                <a:gd name="connsiteY1611" fmla="*/ 2412027 h 3980066"/>
                <a:gd name="connsiteX1612" fmla="*/ 6471972 w 8387961"/>
                <a:gd name="connsiteY1612" fmla="*/ 2412027 h 3980066"/>
                <a:gd name="connsiteX1613" fmla="*/ 6483797 w 8387961"/>
                <a:gd name="connsiteY1613" fmla="*/ 2437171 h 3980066"/>
                <a:gd name="connsiteX1614" fmla="*/ 6482108 w 8387961"/>
                <a:gd name="connsiteY1614" fmla="*/ 2440524 h 3980066"/>
                <a:gd name="connsiteX1615" fmla="*/ 6478729 w 8387961"/>
                <a:gd name="connsiteY1615" fmla="*/ 2477402 h 3980066"/>
                <a:gd name="connsiteX1616" fmla="*/ 6473661 w 8387961"/>
                <a:gd name="connsiteY1616" fmla="*/ 2514281 h 3980066"/>
                <a:gd name="connsiteX1617" fmla="*/ 6461836 w 8387961"/>
                <a:gd name="connsiteY1617" fmla="*/ 2504223 h 3980066"/>
                <a:gd name="connsiteX1618" fmla="*/ 6460147 w 8387961"/>
                <a:gd name="connsiteY1618" fmla="*/ 2510929 h 3980066"/>
                <a:gd name="connsiteX1619" fmla="*/ 6444943 w 8387961"/>
                <a:gd name="connsiteY1619" fmla="*/ 2507576 h 3980066"/>
                <a:gd name="connsiteX1620" fmla="*/ 6444943 w 8387961"/>
                <a:gd name="connsiteY1620" fmla="*/ 2514281 h 3980066"/>
                <a:gd name="connsiteX1621" fmla="*/ 6419602 w 8387961"/>
                <a:gd name="connsiteY1621" fmla="*/ 2489137 h 3980066"/>
                <a:gd name="connsiteX1622" fmla="*/ 6404399 w 8387961"/>
                <a:gd name="connsiteY1622" fmla="*/ 2474050 h 3980066"/>
                <a:gd name="connsiteX1623" fmla="*/ 6390884 w 8387961"/>
                <a:gd name="connsiteY1623" fmla="*/ 2460639 h 3980066"/>
                <a:gd name="connsiteX1624" fmla="*/ 6377369 w 8387961"/>
                <a:gd name="connsiteY1624" fmla="*/ 2447229 h 3980066"/>
                <a:gd name="connsiteX1625" fmla="*/ 6362165 w 8387961"/>
                <a:gd name="connsiteY1625" fmla="*/ 2430466 h 3980066"/>
                <a:gd name="connsiteX1626" fmla="*/ 6350340 w 8387961"/>
                <a:gd name="connsiteY1626" fmla="*/ 2406998 h 3980066"/>
                <a:gd name="connsiteX1627" fmla="*/ 6338515 w 8387961"/>
                <a:gd name="connsiteY1627" fmla="*/ 2381853 h 3980066"/>
                <a:gd name="connsiteX1628" fmla="*/ 6333447 w 8387961"/>
                <a:gd name="connsiteY1628" fmla="*/ 2378501 h 3980066"/>
                <a:gd name="connsiteX1629" fmla="*/ 6319932 w 8387961"/>
                <a:gd name="connsiteY1629" fmla="*/ 2356709 h 3980066"/>
                <a:gd name="connsiteX1630" fmla="*/ 6306418 w 8387961"/>
                <a:gd name="connsiteY1630" fmla="*/ 2333240 h 3980066"/>
                <a:gd name="connsiteX1631" fmla="*/ 6297971 w 8387961"/>
                <a:gd name="connsiteY1631" fmla="*/ 2313125 h 3980066"/>
                <a:gd name="connsiteX1632" fmla="*/ 6289525 w 8387961"/>
                <a:gd name="connsiteY1632" fmla="*/ 2293009 h 3980066"/>
                <a:gd name="connsiteX1633" fmla="*/ 6267563 w 8387961"/>
                <a:gd name="connsiteY1633" fmla="*/ 2271217 h 3980066"/>
                <a:gd name="connsiteX1634" fmla="*/ 6250670 w 8387961"/>
                <a:gd name="connsiteY1634" fmla="*/ 2247749 h 3980066"/>
                <a:gd name="connsiteX1635" fmla="*/ 6230398 w 8387961"/>
                <a:gd name="connsiteY1635" fmla="*/ 2227633 h 3980066"/>
                <a:gd name="connsiteX1636" fmla="*/ 6210126 w 8387961"/>
                <a:gd name="connsiteY1636" fmla="*/ 2207517 h 3980066"/>
                <a:gd name="connsiteX1637" fmla="*/ 5613064 w 8387961"/>
                <a:gd name="connsiteY1637" fmla="*/ 2169302 h 3980066"/>
                <a:gd name="connsiteX1638" fmla="*/ 5616077 w 8387961"/>
                <a:gd name="connsiteY1638" fmla="*/ 2172315 h 3980066"/>
                <a:gd name="connsiteX1639" fmla="*/ 5613064 w 8387961"/>
                <a:gd name="connsiteY1639" fmla="*/ 2172315 h 3980066"/>
                <a:gd name="connsiteX1640" fmla="*/ 1879588 w 8387961"/>
                <a:gd name="connsiteY1640" fmla="*/ 2151789 h 3980066"/>
                <a:gd name="connsiteX1641" fmla="*/ 1857699 w 8387961"/>
                <a:gd name="connsiteY1641" fmla="*/ 2155126 h 3980066"/>
                <a:gd name="connsiteX1642" fmla="*/ 1834979 w 8387961"/>
                <a:gd name="connsiteY1642" fmla="*/ 2156627 h 3980066"/>
                <a:gd name="connsiteX1643" fmla="*/ 1836058 w 8387961"/>
                <a:gd name="connsiteY1643" fmla="*/ 2158024 h 3980066"/>
                <a:gd name="connsiteX1644" fmla="*/ 1861370 w 8387961"/>
                <a:gd name="connsiteY1644" fmla="*/ 2156350 h 3980066"/>
                <a:gd name="connsiteX1645" fmla="*/ 1879121 w 8387961"/>
                <a:gd name="connsiteY1645" fmla="*/ 2153644 h 3980066"/>
                <a:gd name="connsiteX1646" fmla="*/ 6759290 w 8387961"/>
                <a:gd name="connsiteY1646" fmla="*/ 2131640 h 3980066"/>
                <a:gd name="connsiteX1647" fmla="*/ 6760976 w 8387961"/>
                <a:gd name="connsiteY1647" fmla="*/ 2139932 h 3980066"/>
                <a:gd name="connsiteX1648" fmla="*/ 6767720 w 8387961"/>
                <a:gd name="connsiteY1648" fmla="*/ 2131640 h 3980066"/>
                <a:gd name="connsiteX1649" fmla="*/ 6782895 w 8387961"/>
                <a:gd name="connsiteY1649" fmla="*/ 2143249 h 3980066"/>
                <a:gd name="connsiteX1650" fmla="*/ 6782895 w 8387961"/>
                <a:gd name="connsiteY1650" fmla="*/ 2163151 h 3980066"/>
                <a:gd name="connsiteX1651" fmla="*/ 6794697 w 8387961"/>
                <a:gd name="connsiteY1651" fmla="*/ 2158176 h 3980066"/>
                <a:gd name="connsiteX1652" fmla="*/ 6794697 w 8387961"/>
                <a:gd name="connsiteY1652" fmla="*/ 2166468 h 3980066"/>
                <a:gd name="connsiteX1653" fmla="*/ 6799755 w 8387961"/>
                <a:gd name="connsiteY1653" fmla="*/ 2168127 h 3980066"/>
                <a:gd name="connsiteX1654" fmla="*/ 6831790 w 8387961"/>
                <a:gd name="connsiteY1654" fmla="*/ 2181394 h 3980066"/>
                <a:gd name="connsiteX1655" fmla="*/ 6803127 w 8387961"/>
                <a:gd name="connsiteY1655" fmla="*/ 2189687 h 3980066"/>
                <a:gd name="connsiteX1656" fmla="*/ 6811558 w 8387961"/>
                <a:gd name="connsiteY1656" fmla="*/ 2206272 h 3980066"/>
                <a:gd name="connsiteX1657" fmla="*/ 6793011 w 8387961"/>
                <a:gd name="connsiteY1657" fmla="*/ 2209589 h 3980066"/>
                <a:gd name="connsiteX1658" fmla="*/ 6787953 w 8387961"/>
                <a:gd name="connsiteY1658" fmla="*/ 2216223 h 3980066"/>
                <a:gd name="connsiteX1659" fmla="*/ 6764348 w 8387961"/>
                <a:gd name="connsiteY1659" fmla="*/ 2211247 h 3980066"/>
                <a:gd name="connsiteX1660" fmla="*/ 6740744 w 8387961"/>
                <a:gd name="connsiteY1660" fmla="*/ 2209589 h 3980066"/>
                <a:gd name="connsiteX1661" fmla="*/ 6734000 w 8387961"/>
                <a:gd name="connsiteY1661" fmla="*/ 2229491 h 3980066"/>
                <a:gd name="connsiteX1662" fmla="*/ 6728942 w 8387961"/>
                <a:gd name="connsiteY1662" fmla="*/ 2251051 h 3980066"/>
                <a:gd name="connsiteX1663" fmla="*/ 6722197 w 8387961"/>
                <a:gd name="connsiteY1663" fmla="*/ 2265977 h 3980066"/>
                <a:gd name="connsiteX1664" fmla="*/ 6710395 w 8387961"/>
                <a:gd name="connsiteY1664" fmla="*/ 2290855 h 3980066"/>
                <a:gd name="connsiteX1665" fmla="*/ 6688477 w 8387961"/>
                <a:gd name="connsiteY1665" fmla="*/ 2300806 h 3980066"/>
                <a:gd name="connsiteX1666" fmla="*/ 6653070 w 8387961"/>
                <a:gd name="connsiteY1666" fmla="*/ 2292513 h 3980066"/>
                <a:gd name="connsiteX1667" fmla="*/ 6642954 w 8387961"/>
                <a:gd name="connsiteY1667" fmla="*/ 2305781 h 3980066"/>
                <a:gd name="connsiteX1668" fmla="*/ 6609233 w 8387961"/>
                <a:gd name="connsiteY1668" fmla="*/ 2312415 h 3980066"/>
                <a:gd name="connsiteX1669" fmla="*/ 6596751 w 8387961"/>
                <a:gd name="connsiteY1669" fmla="*/ 2305508 h 3980066"/>
                <a:gd name="connsiteX1670" fmla="*/ 6610684 w 8387961"/>
                <a:gd name="connsiteY1670" fmla="*/ 2313339 h 3980066"/>
                <a:gd name="connsiteX1671" fmla="*/ 6644054 w 8387961"/>
                <a:gd name="connsiteY1671" fmla="*/ 2306671 h 3980066"/>
                <a:gd name="connsiteX1672" fmla="*/ 6654065 w 8387961"/>
                <a:gd name="connsiteY1672" fmla="*/ 2293333 h 3980066"/>
                <a:gd name="connsiteX1673" fmla="*/ 6689105 w 8387961"/>
                <a:gd name="connsiteY1673" fmla="*/ 2301669 h 3980066"/>
                <a:gd name="connsiteX1674" fmla="*/ 6710796 w 8387961"/>
                <a:gd name="connsiteY1674" fmla="*/ 2291666 h 3980066"/>
                <a:gd name="connsiteX1675" fmla="*/ 6722476 w 8387961"/>
                <a:gd name="connsiteY1675" fmla="*/ 2266659 h 3980066"/>
                <a:gd name="connsiteX1676" fmla="*/ 6729150 w 8387961"/>
                <a:gd name="connsiteY1676" fmla="*/ 2251655 h 3980066"/>
                <a:gd name="connsiteX1677" fmla="*/ 6734156 w 8387961"/>
                <a:gd name="connsiteY1677" fmla="*/ 2229982 h 3980066"/>
                <a:gd name="connsiteX1678" fmla="*/ 6740830 w 8387961"/>
                <a:gd name="connsiteY1678" fmla="*/ 2209976 h 3980066"/>
                <a:gd name="connsiteX1679" fmla="*/ 6764189 w 8387961"/>
                <a:gd name="connsiteY1679" fmla="*/ 2211643 h 3980066"/>
                <a:gd name="connsiteX1680" fmla="*/ 6787549 w 8387961"/>
                <a:gd name="connsiteY1680" fmla="*/ 2216644 h 3980066"/>
                <a:gd name="connsiteX1681" fmla="*/ 6784212 w 8387961"/>
                <a:gd name="connsiteY1681" fmla="*/ 2219979 h 3980066"/>
                <a:gd name="connsiteX1682" fmla="*/ 6784212 w 8387961"/>
                <a:gd name="connsiteY1682" fmla="*/ 2221646 h 3980066"/>
                <a:gd name="connsiteX1683" fmla="*/ 6790886 w 8387961"/>
                <a:gd name="connsiteY1683" fmla="*/ 2231649 h 3980066"/>
                <a:gd name="connsiteX1684" fmla="*/ 6784212 w 8387961"/>
                <a:gd name="connsiteY1684" fmla="*/ 2229982 h 3980066"/>
                <a:gd name="connsiteX1685" fmla="*/ 6777538 w 8387961"/>
                <a:gd name="connsiteY1685" fmla="*/ 2231649 h 3980066"/>
                <a:gd name="connsiteX1686" fmla="*/ 6780875 w 8387961"/>
                <a:gd name="connsiteY1686" fmla="*/ 2243319 h 3980066"/>
                <a:gd name="connsiteX1687" fmla="*/ 6800897 w 8387961"/>
                <a:gd name="connsiteY1687" fmla="*/ 2273327 h 3980066"/>
                <a:gd name="connsiteX1688" fmla="*/ 6797560 w 8387961"/>
                <a:gd name="connsiteY1688" fmla="*/ 2283330 h 3980066"/>
                <a:gd name="connsiteX1689" fmla="*/ 6810909 w 8387961"/>
                <a:gd name="connsiteY1689" fmla="*/ 2298335 h 3980066"/>
                <a:gd name="connsiteX1690" fmla="*/ 6824257 w 8387961"/>
                <a:gd name="connsiteY1690" fmla="*/ 2313339 h 3980066"/>
                <a:gd name="connsiteX1691" fmla="*/ 6800897 w 8387961"/>
                <a:gd name="connsiteY1691" fmla="*/ 2311672 h 3980066"/>
                <a:gd name="connsiteX1692" fmla="*/ 6799229 w 8387961"/>
                <a:gd name="connsiteY1692" fmla="*/ 2310005 h 3980066"/>
                <a:gd name="connsiteX1693" fmla="*/ 6787549 w 8387961"/>
                <a:gd name="connsiteY1693" fmla="*/ 2350016 h 3980066"/>
                <a:gd name="connsiteX1694" fmla="*/ 6790886 w 8387961"/>
                <a:gd name="connsiteY1694" fmla="*/ 2351684 h 3980066"/>
                <a:gd name="connsiteX1695" fmla="*/ 6784212 w 8387961"/>
                <a:gd name="connsiteY1695" fmla="*/ 2366688 h 3980066"/>
                <a:gd name="connsiteX1696" fmla="*/ 6769195 w 8387961"/>
                <a:gd name="connsiteY1696" fmla="*/ 2373357 h 3980066"/>
                <a:gd name="connsiteX1697" fmla="*/ 6757515 w 8387961"/>
                <a:gd name="connsiteY1697" fmla="*/ 2393362 h 3980066"/>
                <a:gd name="connsiteX1698" fmla="*/ 6757515 w 8387961"/>
                <a:gd name="connsiteY1698" fmla="*/ 2406699 h 3980066"/>
                <a:gd name="connsiteX1699" fmla="*/ 6762521 w 8387961"/>
                <a:gd name="connsiteY1699" fmla="*/ 2406699 h 3980066"/>
                <a:gd name="connsiteX1700" fmla="*/ 6754178 w 8387961"/>
                <a:gd name="connsiteY1700" fmla="*/ 2416702 h 3980066"/>
                <a:gd name="connsiteX1701" fmla="*/ 6750841 w 8387961"/>
                <a:gd name="connsiteY1701" fmla="*/ 2426705 h 3980066"/>
                <a:gd name="connsiteX1702" fmla="*/ 6744167 w 8387961"/>
                <a:gd name="connsiteY1702" fmla="*/ 2448378 h 3980066"/>
                <a:gd name="connsiteX1703" fmla="*/ 6709127 w 8387961"/>
                <a:gd name="connsiteY1703" fmla="*/ 2460048 h 3980066"/>
                <a:gd name="connsiteX1704" fmla="*/ 6704122 w 8387961"/>
                <a:gd name="connsiteY1704" fmla="*/ 2443377 h 3980066"/>
                <a:gd name="connsiteX1705" fmla="*/ 6700785 w 8387961"/>
                <a:gd name="connsiteY1705" fmla="*/ 2440042 h 3980066"/>
                <a:gd name="connsiteX1706" fmla="*/ 6682431 w 8387961"/>
                <a:gd name="connsiteY1706" fmla="*/ 2440042 h 3980066"/>
                <a:gd name="connsiteX1707" fmla="*/ 6667414 w 8387961"/>
                <a:gd name="connsiteY1707" fmla="*/ 2431707 h 3980066"/>
                <a:gd name="connsiteX1708" fmla="*/ 6650728 w 8387961"/>
                <a:gd name="connsiteY1708" fmla="*/ 2440042 h 3980066"/>
                <a:gd name="connsiteX1709" fmla="*/ 6637380 w 8387961"/>
                <a:gd name="connsiteY1709" fmla="*/ 2441710 h 3980066"/>
                <a:gd name="connsiteX1710" fmla="*/ 6630706 w 8387961"/>
                <a:gd name="connsiteY1710" fmla="*/ 2426705 h 3980066"/>
                <a:gd name="connsiteX1711" fmla="*/ 6609015 w 8387961"/>
                <a:gd name="connsiteY1711" fmla="*/ 2430039 h 3980066"/>
                <a:gd name="connsiteX1712" fmla="*/ 6610684 w 8387961"/>
                <a:gd name="connsiteY1712" fmla="*/ 2428372 h 3980066"/>
                <a:gd name="connsiteX1713" fmla="*/ 6604009 w 8387961"/>
                <a:gd name="connsiteY1713" fmla="*/ 2430039 h 3980066"/>
                <a:gd name="connsiteX1714" fmla="*/ 6592330 w 8387961"/>
                <a:gd name="connsiteY1714" fmla="*/ 2426705 h 3980066"/>
                <a:gd name="connsiteX1715" fmla="*/ 6587324 w 8387961"/>
                <a:gd name="connsiteY1715" fmla="*/ 2396697 h 3980066"/>
                <a:gd name="connsiteX1716" fmla="*/ 6587324 w 8387961"/>
                <a:gd name="connsiteY1716" fmla="*/ 2373357 h 3980066"/>
                <a:gd name="connsiteX1717" fmla="*/ 6570639 w 8387961"/>
                <a:gd name="connsiteY1717" fmla="*/ 2360019 h 3980066"/>
                <a:gd name="connsiteX1718" fmla="*/ 6572307 w 8387961"/>
                <a:gd name="connsiteY1718" fmla="*/ 2360019 h 3980066"/>
                <a:gd name="connsiteX1719" fmla="*/ 6567301 w 8387961"/>
                <a:gd name="connsiteY1719" fmla="*/ 2346682 h 3980066"/>
                <a:gd name="connsiteX1720" fmla="*/ 6567301 w 8387961"/>
                <a:gd name="connsiteY1720" fmla="*/ 2338346 h 3980066"/>
                <a:gd name="connsiteX1721" fmla="*/ 6560627 w 8387961"/>
                <a:gd name="connsiteY1721" fmla="*/ 2313339 h 3980066"/>
                <a:gd name="connsiteX1722" fmla="*/ 6568970 w 8387961"/>
                <a:gd name="connsiteY1722" fmla="*/ 2298335 h 3980066"/>
                <a:gd name="connsiteX1723" fmla="*/ 6563964 w 8387961"/>
                <a:gd name="connsiteY1723" fmla="*/ 2300002 h 3980066"/>
                <a:gd name="connsiteX1724" fmla="*/ 6577815 w 8387961"/>
                <a:gd name="connsiteY1724" fmla="*/ 2280012 h 3980066"/>
                <a:gd name="connsiteX1725" fmla="*/ 6577198 w 8387961"/>
                <a:gd name="connsiteY1725" fmla="*/ 2277587 h 3980066"/>
                <a:gd name="connsiteX1726" fmla="*/ 6578564 w 8387961"/>
                <a:gd name="connsiteY1726" fmla="*/ 2278930 h 3980066"/>
                <a:gd name="connsiteX1727" fmla="*/ 6578981 w 8387961"/>
                <a:gd name="connsiteY1727" fmla="*/ 2278329 h 3980066"/>
                <a:gd name="connsiteX1728" fmla="*/ 6579265 w 8387961"/>
                <a:gd name="connsiteY1728" fmla="*/ 2279464 h 3980066"/>
                <a:gd name="connsiteX1729" fmla="*/ 6599117 w 8387961"/>
                <a:gd name="connsiteY1729" fmla="*/ 2290855 h 3980066"/>
                <a:gd name="connsiteX1730" fmla="*/ 6619349 w 8387961"/>
                <a:gd name="connsiteY1730" fmla="*/ 2297489 h 3980066"/>
                <a:gd name="connsiteX1731" fmla="*/ 6615977 w 8387961"/>
                <a:gd name="connsiteY1731" fmla="*/ 2295830 h 3980066"/>
                <a:gd name="connsiteX1732" fmla="*/ 6619349 w 8387961"/>
                <a:gd name="connsiteY1732" fmla="*/ 2289196 h 3980066"/>
                <a:gd name="connsiteX1733" fmla="*/ 6621035 w 8387961"/>
                <a:gd name="connsiteY1733" fmla="*/ 2275928 h 3980066"/>
                <a:gd name="connsiteX1734" fmla="*/ 6621035 w 8387961"/>
                <a:gd name="connsiteY1734" fmla="*/ 2269294 h 3980066"/>
                <a:gd name="connsiteX1735" fmla="*/ 6626093 w 8387961"/>
                <a:gd name="connsiteY1735" fmla="*/ 2259343 h 3980066"/>
                <a:gd name="connsiteX1736" fmla="*/ 6642954 w 8387961"/>
                <a:gd name="connsiteY1736" fmla="*/ 2252709 h 3980066"/>
                <a:gd name="connsiteX1737" fmla="*/ 6661500 w 8387961"/>
                <a:gd name="connsiteY1737" fmla="*/ 2247734 h 3980066"/>
                <a:gd name="connsiteX1738" fmla="*/ 6678360 w 8387961"/>
                <a:gd name="connsiteY1738" fmla="*/ 2226174 h 3980066"/>
                <a:gd name="connsiteX1739" fmla="*/ 6693535 w 8387961"/>
                <a:gd name="connsiteY1739" fmla="*/ 2201296 h 3980066"/>
                <a:gd name="connsiteX1740" fmla="*/ 6708709 w 8387961"/>
                <a:gd name="connsiteY1740" fmla="*/ 2217881 h 3980066"/>
                <a:gd name="connsiteX1741" fmla="*/ 6713767 w 8387961"/>
                <a:gd name="connsiteY1741" fmla="*/ 2207930 h 3980066"/>
                <a:gd name="connsiteX1742" fmla="*/ 6718825 w 8387961"/>
                <a:gd name="connsiteY1742" fmla="*/ 2193004 h 3980066"/>
                <a:gd name="connsiteX1743" fmla="*/ 6723883 w 8387961"/>
                <a:gd name="connsiteY1743" fmla="*/ 2209589 h 3980066"/>
                <a:gd name="connsiteX1744" fmla="*/ 6723883 w 8387961"/>
                <a:gd name="connsiteY1744" fmla="*/ 2197979 h 3980066"/>
                <a:gd name="connsiteX1745" fmla="*/ 6730628 w 8387961"/>
                <a:gd name="connsiteY1745" fmla="*/ 2189687 h 3980066"/>
                <a:gd name="connsiteX1746" fmla="*/ 6728942 w 8387961"/>
                <a:gd name="connsiteY1746" fmla="*/ 2181394 h 3980066"/>
                <a:gd name="connsiteX1747" fmla="*/ 6734000 w 8387961"/>
                <a:gd name="connsiteY1747" fmla="*/ 2173102 h 3980066"/>
                <a:gd name="connsiteX1748" fmla="*/ 6747488 w 8387961"/>
                <a:gd name="connsiteY1748" fmla="*/ 2153200 h 3980066"/>
                <a:gd name="connsiteX1749" fmla="*/ 5607038 w 8387961"/>
                <a:gd name="connsiteY1749" fmla="*/ 2131640 h 3980066"/>
                <a:gd name="connsiteX1750" fmla="*/ 5607038 w 8387961"/>
                <a:gd name="connsiteY1750" fmla="*/ 2133146 h 3980066"/>
                <a:gd name="connsiteX1751" fmla="*/ 5602519 w 8387961"/>
                <a:gd name="connsiteY1751" fmla="*/ 2136159 h 3980066"/>
                <a:gd name="connsiteX1752" fmla="*/ 5610051 w 8387961"/>
                <a:gd name="connsiteY1752" fmla="*/ 2128627 h 3980066"/>
                <a:gd name="connsiteX1753" fmla="*/ 5613064 w 8387961"/>
                <a:gd name="connsiteY1753" fmla="*/ 2128627 h 3980066"/>
                <a:gd name="connsiteX1754" fmla="*/ 5610051 w 8387961"/>
                <a:gd name="connsiteY1754" fmla="*/ 2131640 h 3980066"/>
                <a:gd name="connsiteX1755" fmla="*/ 1770049 w 8387961"/>
                <a:gd name="connsiteY1755" fmla="*/ 2126896 h 3980066"/>
                <a:gd name="connsiteX1756" fmla="*/ 1771915 w 8387961"/>
                <a:gd name="connsiteY1756" fmla="*/ 2127905 h 3980066"/>
                <a:gd name="connsiteX1757" fmla="*/ 1792169 w 8387961"/>
                <a:gd name="connsiteY1757" fmla="*/ 2129578 h 3980066"/>
                <a:gd name="connsiteX1758" fmla="*/ 1811451 w 8387961"/>
                <a:gd name="connsiteY1758" fmla="*/ 2129578 h 3980066"/>
                <a:gd name="connsiteX1759" fmla="*/ 1810570 w 8387961"/>
                <a:gd name="connsiteY1759" fmla="*/ 2128436 h 3980066"/>
                <a:gd name="connsiteX1760" fmla="*/ 1788685 w 8387961"/>
                <a:gd name="connsiteY1760" fmla="*/ 2128436 h 3980066"/>
                <a:gd name="connsiteX1761" fmla="*/ 5602519 w 8387961"/>
                <a:gd name="connsiteY1761" fmla="*/ 2125614 h 3980066"/>
                <a:gd name="connsiteX1762" fmla="*/ 5607038 w 8387961"/>
                <a:gd name="connsiteY1762" fmla="*/ 2125614 h 3980066"/>
                <a:gd name="connsiteX1763" fmla="*/ 5607038 w 8387961"/>
                <a:gd name="connsiteY1763" fmla="*/ 2128627 h 3980066"/>
                <a:gd name="connsiteX1764" fmla="*/ 3410189 w 8387961"/>
                <a:gd name="connsiteY1764" fmla="*/ 2087052 h 3980066"/>
                <a:gd name="connsiteX1765" fmla="*/ 3418060 w 8387961"/>
                <a:gd name="connsiteY1765" fmla="*/ 2115354 h 3980066"/>
                <a:gd name="connsiteX1766" fmla="*/ 3419276 w 8387961"/>
                <a:gd name="connsiteY1766" fmla="*/ 2116264 h 3980066"/>
                <a:gd name="connsiteX1767" fmla="*/ 3411245 w 8387961"/>
                <a:gd name="connsiteY1767" fmla="*/ 2087052 h 3980066"/>
                <a:gd name="connsiteX1768" fmla="*/ 4292214 w 8387961"/>
                <a:gd name="connsiteY1768" fmla="*/ 2078189 h 3980066"/>
                <a:gd name="connsiteX1769" fmla="*/ 4292198 w 8387961"/>
                <a:gd name="connsiteY1769" fmla="*/ 2078334 h 3980066"/>
                <a:gd name="connsiteX1770" fmla="*/ 4309426 w 8387961"/>
                <a:gd name="connsiteY1770" fmla="*/ 2081492 h 3980066"/>
                <a:gd name="connsiteX1771" fmla="*/ 4309303 w 8387961"/>
                <a:gd name="connsiteY1771" fmla="*/ 2081287 h 3980066"/>
                <a:gd name="connsiteX1772" fmla="*/ 1730135 w 8387961"/>
                <a:gd name="connsiteY1772" fmla="*/ 2065047 h 3980066"/>
                <a:gd name="connsiteX1773" fmla="*/ 1729716 w 8387961"/>
                <a:gd name="connsiteY1773" fmla="*/ 2065993 h 3980066"/>
                <a:gd name="connsiteX1774" fmla="*/ 1736893 w 8387961"/>
                <a:gd name="connsiteY1774" fmla="*/ 2065993 h 3980066"/>
                <a:gd name="connsiteX1775" fmla="*/ 1736504 w 8387961"/>
                <a:gd name="connsiteY1775" fmla="*/ 2065047 h 3980066"/>
                <a:gd name="connsiteX1776" fmla="*/ 3386082 w 8387961"/>
                <a:gd name="connsiteY1776" fmla="*/ 2061971 h 3980066"/>
                <a:gd name="connsiteX1777" fmla="*/ 3388746 w 8387961"/>
                <a:gd name="connsiteY1777" fmla="*/ 2067109 h 3980066"/>
                <a:gd name="connsiteX1778" fmla="*/ 3387083 w 8387961"/>
                <a:gd name="connsiteY1778" fmla="*/ 2087487 h 3980066"/>
                <a:gd name="connsiteX1779" fmla="*/ 3387906 w 8387961"/>
                <a:gd name="connsiteY1779" fmla="*/ 2087347 h 3980066"/>
                <a:gd name="connsiteX1780" fmla="*/ 3389466 w 8387961"/>
                <a:gd name="connsiteY1780" fmla="*/ 2068430 h 3980066"/>
                <a:gd name="connsiteX1781" fmla="*/ 6982270 w 8387961"/>
                <a:gd name="connsiteY1781" fmla="*/ 2048785 h 3980066"/>
                <a:gd name="connsiteX1782" fmla="*/ 7002081 w 8387961"/>
                <a:gd name="connsiteY1782" fmla="*/ 2062322 h 3980066"/>
                <a:gd name="connsiteX1783" fmla="*/ 7007034 w 8387961"/>
                <a:gd name="connsiteY1783" fmla="*/ 2086013 h 3980066"/>
                <a:gd name="connsiteX1784" fmla="*/ 7018590 w 8387961"/>
                <a:gd name="connsiteY1784" fmla="*/ 2121549 h 3980066"/>
                <a:gd name="connsiteX1785" fmla="*/ 7011986 w 8387961"/>
                <a:gd name="connsiteY1785" fmla="*/ 2136779 h 3980066"/>
                <a:gd name="connsiteX1786" fmla="*/ 7010335 w 8387961"/>
                <a:gd name="connsiteY1786" fmla="*/ 2148624 h 3980066"/>
                <a:gd name="connsiteX1787" fmla="*/ 6998779 w 8387961"/>
                <a:gd name="connsiteY1787" fmla="*/ 2123241 h 3980066"/>
                <a:gd name="connsiteX1788" fmla="*/ 6990524 w 8387961"/>
                <a:gd name="connsiteY1788" fmla="*/ 2130010 h 3980066"/>
                <a:gd name="connsiteX1789" fmla="*/ 6993826 w 8387961"/>
                <a:gd name="connsiteY1789" fmla="*/ 2150316 h 3980066"/>
                <a:gd name="connsiteX1790" fmla="*/ 6990524 w 8387961"/>
                <a:gd name="connsiteY1790" fmla="*/ 2172315 h 3980066"/>
                <a:gd name="connsiteX1791" fmla="*/ 6987223 w 8387961"/>
                <a:gd name="connsiteY1791" fmla="*/ 2160470 h 3980066"/>
                <a:gd name="connsiteX1792" fmla="*/ 6982270 w 8387961"/>
                <a:gd name="connsiteY1792" fmla="*/ 2163854 h 3980066"/>
                <a:gd name="connsiteX1793" fmla="*/ 6952553 w 8387961"/>
                <a:gd name="connsiteY1793" fmla="*/ 2146932 h 3980066"/>
                <a:gd name="connsiteX1794" fmla="*/ 6957506 w 8387961"/>
                <a:gd name="connsiteY1794" fmla="*/ 2121549 h 3980066"/>
                <a:gd name="connsiteX1795" fmla="*/ 6940997 w 8387961"/>
                <a:gd name="connsiteY1795" fmla="*/ 2106319 h 3980066"/>
                <a:gd name="connsiteX1796" fmla="*/ 6934393 w 8387961"/>
                <a:gd name="connsiteY1796" fmla="*/ 2113088 h 3980066"/>
                <a:gd name="connsiteX1797" fmla="*/ 6929440 w 8387961"/>
                <a:gd name="connsiteY1797" fmla="*/ 2111396 h 3980066"/>
                <a:gd name="connsiteX1798" fmla="*/ 6924488 w 8387961"/>
                <a:gd name="connsiteY1798" fmla="*/ 2116473 h 3980066"/>
                <a:gd name="connsiteX1799" fmla="*/ 6917884 w 8387961"/>
                <a:gd name="connsiteY1799" fmla="*/ 2108012 h 3980066"/>
                <a:gd name="connsiteX1800" fmla="*/ 6904677 w 8387961"/>
                <a:gd name="connsiteY1800" fmla="*/ 2123241 h 3980066"/>
                <a:gd name="connsiteX1801" fmla="*/ 6898073 w 8387961"/>
                <a:gd name="connsiteY1801" fmla="*/ 2131702 h 3980066"/>
                <a:gd name="connsiteX1802" fmla="*/ 6901375 w 8387961"/>
                <a:gd name="connsiteY1802" fmla="*/ 2109704 h 3980066"/>
                <a:gd name="connsiteX1803" fmla="*/ 6921186 w 8387961"/>
                <a:gd name="connsiteY1803" fmla="*/ 2091090 h 3980066"/>
                <a:gd name="connsiteX1804" fmla="*/ 6937695 w 8387961"/>
                <a:gd name="connsiteY1804" fmla="*/ 2080937 h 3980066"/>
                <a:gd name="connsiteX1805" fmla="*/ 6942648 w 8387961"/>
                <a:gd name="connsiteY1805" fmla="*/ 2097858 h 3980066"/>
                <a:gd name="connsiteX1806" fmla="*/ 6954204 w 8387961"/>
                <a:gd name="connsiteY1806" fmla="*/ 2091090 h 3980066"/>
                <a:gd name="connsiteX1807" fmla="*/ 6962459 w 8387961"/>
                <a:gd name="connsiteY1807" fmla="*/ 2086013 h 3980066"/>
                <a:gd name="connsiteX1808" fmla="*/ 6967412 w 8387961"/>
                <a:gd name="connsiteY1808" fmla="*/ 2070783 h 3980066"/>
                <a:gd name="connsiteX1809" fmla="*/ 6978968 w 8387961"/>
                <a:gd name="connsiteY1809" fmla="*/ 2070783 h 3980066"/>
                <a:gd name="connsiteX1810" fmla="*/ 6983921 w 8387961"/>
                <a:gd name="connsiteY1810" fmla="*/ 2070783 h 3980066"/>
                <a:gd name="connsiteX1811" fmla="*/ 5785187 w 8387961"/>
                <a:gd name="connsiteY1811" fmla="*/ 2045772 h 3980066"/>
                <a:gd name="connsiteX1812" fmla="*/ 5795001 w 8387961"/>
                <a:gd name="connsiteY1812" fmla="*/ 2049134 h 3980066"/>
                <a:gd name="connsiteX1813" fmla="*/ 5804814 w 8387961"/>
                <a:gd name="connsiteY1813" fmla="*/ 2065945 h 3980066"/>
                <a:gd name="connsiteX1814" fmla="*/ 5816263 w 8387961"/>
                <a:gd name="connsiteY1814" fmla="*/ 2082756 h 3980066"/>
                <a:gd name="connsiteX1815" fmla="*/ 5827712 w 8387961"/>
                <a:gd name="connsiteY1815" fmla="*/ 2107973 h 3980066"/>
                <a:gd name="connsiteX1816" fmla="*/ 5837526 w 8387961"/>
                <a:gd name="connsiteY1816" fmla="*/ 2129828 h 3980066"/>
                <a:gd name="connsiteX1817" fmla="*/ 5824441 w 8387961"/>
                <a:gd name="connsiteY1817" fmla="*/ 2153363 h 3980066"/>
                <a:gd name="connsiteX1818" fmla="*/ 5798272 w 8387961"/>
                <a:gd name="connsiteY1818" fmla="*/ 2161769 h 3980066"/>
                <a:gd name="connsiteX1819" fmla="*/ 5785187 w 8387961"/>
                <a:gd name="connsiteY1819" fmla="*/ 2121422 h 3980066"/>
                <a:gd name="connsiteX1820" fmla="*/ 5780281 w 8387961"/>
                <a:gd name="connsiteY1820" fmla="*/ 2092843 h 3980066"/>
                <a:gd name="connsiteX1821" fmla="*/ 5781916 w 8387961"/>
                <a:gd name="connsiteY1821" fmla="*/ 2096205 h 3980066"/>
                <a:gd name="connsiteX1822" fmla="*/ 5786823 w 8387961"/>
                <a:gd name="connsiteY1822" fmla="*/ 2076032 h 3980066"/>
                <a:gd name="connsiteX1823" fmla="*/ 5790094 w 8387961"/>
                <a:gd name="connsiteY1823" fmla="*/ 2052496 h 3980066"/>
                <a:gd name="connsiteX1824" fmla="*/ 5790094 w 8387961"/>
                <a:gd name="connsiteY1824" fmla="*/ 2050815 h 3980066"/>
                <a:gd name="connsiteX1825" fmla="*/ 6958081 w 8387961"/>
                <a:gd name="connsiteY1825" fmla="*/ 2035227 h 3980066"/>
                <a:gd name="connsiteX1826" fmla="*/ 6961345 w 8387961"/>
                <a:gd name="connsiteY1826" fmla="*/ 2045772 h 3980066"/>
                <a:gd name="connsiteX1827" fmla="*/ 6941761 w 8387961"/>
                <a:gd name="connsiteY1827" fmla="*/ 2045772 h 3980066"/>
                <a:gd name="connsiteX1828" fmla="*/ 3464246 w 8387961"/>
                <a:gd name="connsiteY1828" fmla="*/ 2028547 h 3980066"/>
                <a:gd name="connsiteX1829" fmla="*/ 3463781 w 8387961"/>
                <a:gd name="connsiteY1829" fmla="*/ 2029012 h 3980066"/>
                <a:gd name="connsiteX1830" fmla="*/ 3477781 w 8387961"/>
                <a:gd name="connsiteY1830" fmla="*/ 2032082 h 3980066"/>
                <a:gd name="connsiteX1831" fmla="*/ 3478452 w 8387961"/>
                <a:gd name="connsiteY1831" fmla="*/ 2031704 h 3980066"/>
                <a:gd name="connsiteX1832" fmla="*/ 6915210 w 8387961"/>
                <a:gd name="connsiteY1832" fmla="*/ 2015643 h 3980066"/>
                <a:gd name="connsiteX1833" fmla="*/ 6931216 w 8387961"/>
                <a:gd name="connsiteY1833" fmla="*/ 2015643 h 3980066"/>
                <a:gd name="connsiteX1834" fmla="*/ 6924813 w 8387961"/>
                <a:gd name="connsiteY1834" fmla="*/ 2050923 h 3980066"/>
                <a:gd name="connsiteX1835" fmla="*/ 6924813 w 8387961"/>
                <a:gd name="connsiteY1835" fmla="*/ 2065356 h 3980066"/>
                <a:gd name="connsiteX1836" fmla="*/ 6905606 w 8387961"/>
                <a:gd name="connsiteY1836" fmla="*/ 2047716 h 3980066"/>
                <a:gd name="connsiteX1837" fmla="*/ 6912009 w 8387961"/>
                <a:gd name="connsiteY1837" fmla="*/ 2039698 h 3980066"/>
                <a:gd name="connsiteX1838" fmla="*/ 2041260 w 8387961"/>
                <a:gd name="connsiteY1838" fmla="*/ 2015643 h 3980066"/>
                <a:gd name="connsiteX1839" fmla="*/ 2057826 w 8387961"/>
                <a:gd name="connsiteY1839" fmla="*/ 2015643 h 3980066"/>
                <a:gd name="connsiteX1840" fmla="*/ 2050292 w 8387961"/>
                <a:gd name="connsiteY1840" fmla="*/ 2035227 h 3980066"/>
                <a:gd name="connsiteX1841" fmla="*/ 2035234 w 8387961"/>
                <a:gd name="connsiteY1841" fmla="*/ 2033595 h 3980066"/>
                <a:gd name="connsiteX1842" fmla="*/ 2044266 w 8387961"/>
                <a:gd name="connsiteY1842" fmla="*/ 2020539 h 3980066"/>
                <a:gd name="connsiteX1843" fmla="*/ 4802840 w 8387961"/>
                <a:gd name="connsiteY1843" fmla="*/ 2008110 h 3980066"/>
                <a:gd name="connsiteX1844" fmla="*/ 4802613 w 8387961"/>
                <a:gd name="connsiteY1844" fmla="*/ 2009360 h 3980066"/>
                <a:gd name="connsiteX1845" fmla="*/ 4803236 w 8387961"/>
                <a:gd name="connsiteY1845" fmla="*/ 2008110 h 3980066"/>
                <a:gd name="connsiteX1846" fmla="*/ 3441723 w 8387961"/>
                <a:gd name="connsiteY1846" fmla="*/ 2006835 h 3980066"/>
                <a:gd name="connsiteX1847" fmla="*/ 3441400 w 8387961"/>
                <a:gd name="connsiteY1847" fmla="*/ 2007489 h 3980066"/>
                <a:gd name="connsiteX1848" fmla="*/ 3446146 w 8387961"/>
                <a:gd name="connsiteY1848" fmla="*/ 2007489 h 3980066"/>
                <a:gd name="connsiteX1849" fmla="*/ 3445877 w 8387961"/>
                <a:gd name="connsiteY1849" fmla="*/ 2006835 h 3980066"/>
                <a:gd name="connsiteX1850" fmla="*/ 3665213 w 8387961"/>
                <a:gd name="connsiteY1850" fmla="*/ 2005098 h 3980066"/>
                <a:gd name="connsiteX1851" fmla="*/ 3665695 w 8387961"/>
                <a:gd name="connsiteY1851" fmla="*/ 2005172 h 3980066"/>
                <a:gd name="connsiteX1852" fmla="*/ 3666064 w 8387961"/>
                <a:gd name="connsiteY1852" fmla="*/ 2005098 h 3980066"/>
                <a:gd name="connsiteX1853" fmla="*/ 3666110 w 8387961"/>
                <a:gd name="connsiteY1853" fmla="*/ 2005235 h 3980066"/>
                <a:gd name="connsiteX1854" fmla="*/ 3686895 w 8387961"/>
                <a:gd name="connsiteY1854" fmla="*/ 2008409 h 3980066"/>
                <a:gd name="connsiteX1855" fmla="*/ 3691898 w 8387961"/>
                <a:gd name="connsiteY1855" fmla="*/ 2008409 h 3980066"/>
                <a:gd name="connsiteX1856" fmla="*/ 3690231 w 8387961"/>
                <a:gd name="connsiteY1856" fmla="*/ 2021652 h 3980066"/>
                <a:gd name="connsiteX1857" fmla="*/ 3705241 w 8387961"/>
                <a:gd name="connsiteY1857" fmla="*/ 2038207 h 3980066"/>
                <a:gd name="connsiteX1858" fmla="*/ 3708577 w 8387961"/>
                <a:gd name="connsiteY1858" fmla="*/ 2061383 h 3980066"/>
                <a:gd name="connsiteX1859" fmla="*/ 3708577 w 8387961"/>
                <a:gd name="connsiteY1859" fmla="*/ 2084559 h 3980066"/>
                <a:gd name="connsiteX1860" fmla="*/ 3710245 w 8387961"/>
                <a:gd name="connsiteY1860" fmla="*/ 2107736 h 3980066"/>
                <a:gd name="connsiteX1861" fmla="*/ 3710245 w 8387961"/>
                <a:gd name="connsiteY1861" fmla="*/ 2129257 h 3980066"/>
                <a:gd name="connsiteX1862" fmla="*/ 3711913 w 8387961"/>
                <a:gd name="connsiteY1862" fmla="*/ 2150778 h 3980066"/>
                <a:gd name="connsiteX1863" fmla="*/ 3700238 w 8387961"/>
                <a:gd name="connsiteY1863" fmla="*/ 2155744 h 3980066"/>
                <a:gd name="connsiteX1864" fmla="*/ 3687919 w 8387961"/>
                <a:gd name="connsiteY1864" fmla="*/ 2140460 h 3980066"/>
                <a:gd name="connsiteX1865" fmla="*/ 3687919 w 8387961"/>
                <a:gd name="connsiteY1865" fmla="*/ 2141036 h 3980066"/>
                <a:gd name="connsiteX1866" fmla="*/ 3701368 w 8387961"/>
                <a:gd name="connsiteY1866" fmla="*/ 2157818 h 3980066"/>
                <a:gd name="connsiteX1867" fmla="*/ 3687919 w 8387961"/>
                <a:gd name="connsiteY1867" fmla="*/ 2167888 h 3980066"/>
                <a:gd name="connsiteX1868" fmla="*/ 3669427 w 8387961"/>
                <a:gd name="connsiteY1868" fmla="*/ 2172922 h 3980066"/>
                <a:gd name="connsiteX1869" fmla="*/ 3649253 w 8387961"/>
                <a:gd name="connsiteY1869" fmla="*/ 2181314 h 3980066"/>
                <a:gd name="connsiteX1870" fmla="*/ 3630761 w 8387961"/>
                <a:gd name="connsiteY1870" fmla="*/ 2189705 h 3980066"/>
                <a:gd name="connsiteX1871" fmla="*/ 3612269 w 8387961"/>
                <a:gd name="connsiteY1871" fmla="*/ 2196418 h 3980066"/>
                <a:gd name="connsiteX1872" fmla="*/ 3587052 w 8387961"/>
                <a:gd name="connsiteY1872" fmla="*/ 2188027 h 3980066"/>
                <a:gd name="connsiteX1873" fmla="*/ 3595457 w 8387961"/>
                <a:gd name="connsiteY1873" fmla="*/ 2181314 h 3980066"/>
                <a:gd name="connsiteX1874" fmla="*/ 3590414 w 8387961"/>
                <a:gd name="connsiteY1874" fmla="*/ 2157818 h 3980066"/>
                <a:gd name="connsiteX1875" fmla="*/ 3585371 w 8387961"/>
                <a:gd name="connsiteY1875" fmla="*/ 2136001 h 3980066"/>
                <a:gd name="connsiteX1876" fmla="*/ 3595457 w 8387961"/>
                <a:gd name="connsiteY1876" fmla="*/ 2115862 h 3980066"/>
                <a:gd name="connsiteX1877" fmla="*/ 3602182 w 8387961"/>
                <a:gd name="connsiteY1877" fmla="*/ 2092367 h 3980066"/>
                <a:gd name="connsiteX1878" fmla="*/ 3598820 w 8387961"/>
                <a:gd name="connsiteY1878" fmla="*/ 2055445 h 3980066"/>
                <a:gd name="connsiteX1879" fmla="*/ 3597139 w 8387961"/>
                <a:gd name="connsiteY1879" fmla="*/ 2031950 h 3980066"/>
                <a:gd name="connsiteX1880" fmla="*/ 3595457 w 8387961"/>
                <a:gd name="connsiteY1880" fmla="*/ 2008454 h 3980066"/>
                <a:gd name="connsiteX1881" fmla="*/ 3627399 w 8387961"/>
                <a:gd name="connsiteY1881" fmla="*/ 2008454 h 3980066"/>
                <a:gd name="connsiteX1882" fmla="*/ 3657659 w 8387961"/>
                <a:gd name="connsiteY1882" fmla="*/ 2006776 h 3980066"/>
                <a:gd name="connsiteX1883" fmla="*/ 3665266 w 8387961"/>
                <a:gd name="connsiteY1883" fmla="*/ 2005257 h 3980066"/>
                <a:gd name="connsiteX1884" fmla="*/ 6944774 w 8387961"/>
                <a:gd name="connsiteY1884" fmla="*/ 2002085 h 3980066"/>
                <a:gd name="connsiteX1885" fmla="*/ 6944774 w 8387961"/>
                <a:gd name="connsiteY1885" fmla="*/ 2016465 h 3980066"/>
                <a:gd name="connsiteX1886" fmla="*/ 6938560 w 8387961"/>
                <a:gd name="connsiteY1886" fmla="*/ 2035638 h 3980066"/>
                <a:gd name="connsiteX1887" fmla="*/ 6928203 w 8387961"/>
                <a:gd name="connsiteY1887" fmla="*/ 2054811 h 3980066"/>
                <a:gd name="connsiteX1888" fmla="*/ 6938560 w 8387961"/>
                <a:gd name="connsiteY1888" fmla="*/ 2027649 h 3980066"/>
                <a:gd name="connsiteX1889" fmla="*/ 6821529 w 8387961"/>
                <a:gd name="connsiteY1889" fmla="*/ 2002085 h 3980066"/>
                <a:gd name="connsiteX1890" fmla="*/ 6831789 w 8387961"/>
                <a:gd name="connsiteY1890" fmla="*/ 2025985 h 3980066"/>
                <a:gd name="connsiteX1891" fmla="*/ 6807849 w 8387961"/>
                <a:gd name="connsiteY1891" fmla="*/ 2048292 h 3980066"/>
                <a:gd name="connsiteX1892" fmla="*/ 6789038 w 8387961"/>
                <a:gd name="connsiteY1892" fmla="*/ 2065819 h 3980066"/>
                <a:gd name="connsiteX1893" fmla="*/ 6768518 w 8387961"/>
                <a:gd name="connsiteY1893" fmla="*/ 2084940 h 3980066"/>
                <a:gd name="connsiteX1894" fmla="*/ 6770228 w 8387961"/>
                <a:gd name="connsiteY1894" fmla="*/ 2078566 h 3980066"/>
                <a:gd name="connsiteX1895" fmla="*/ 6790748 w 8387961"/>
                <a:gd name="connsiteY1895" fmla="*/ 2056259 h 3980066"/>
                <a:gd name="connsiteX1896" fmla="*/ 6809559 w 8387961"/>
                <a:gd name="connsiteY1896" fmla="*/ 2035546 h 3980066"/>
                <a:gd name="connsiteX1897" fmla="*/ 6818109 w 8387961"/>
                <a:gd name="connsiteY1897" fmla="*/ 2016425 h 3980066"/>
                <a:gd name="connsiteX1898" fmla="*/ 6819819 w 8387961"/>
                <a:gd name="connsiteY1898" fmla="*/ 2016425 h 3980066"/>
                <a:gd name="connsiteX1899" fmla="*/ 6952306 w 8387961"/>
                <a:gd name="connsiteY1899" fmla="*/ 1994552 h 3980066"/>
                <a:gd name="connsiteX1900" fmla="*/ 6969253 w 8387961"/>
                <a:gd name="connsiteY1900" fmla="*/ 2001060 h 3980066"/>
                <a:gd name="connsiteX1901" fmla="*/ 6979422 w 8387961"/>
                <a:gd name="connsiteY1901" fmla="*/ 2028718 h 3980066"/>
                <a:gd name="connsiteX1902" fmla="*/ 6972643 w 8387961"/>
                <a:gd name="connsiteY1902" fmla="*/ 2030345 h 3980066"/>
                <a:gd name="connsiteX1903" fmla="*/ 6970948 w 8387961"/>
                <a:gd name="connsiteY1903" fmla="*/ 2035226 h 3980066"/>
                <a:gd name="connsiteX1904" fmla="*/ 6959085 w 8387961"/>
                <a:gd name="connsiteY1904" fmla="*/ 2010821 h 3980066"/>
                <a:gd name="connsiteX1905" fmla="*/ 3439549 w 8387961"/>
                <a:gd name="connsiteY1905" fmla="*/ 1991541 h 3980066"/>
                <a:gd name="connsiteX1906" fmla="*/ 3445858 w 8387961"/>
                <a:gd name="connsiteY1906" fmla="*/ 1996853 h 3980066"/>
                <a:gd name="connsiteX1907" fmla="*/ 3445877 w 8387961"/>
                <a:gd name="connsiteY1907" fmla="*/ 1996815 h 3980066"/>
                <a:gd name="connsiteX1908" fmla="*/ 6889465 w 8387961"/>
                <a:gd name="connsiteY1908" fmla="*/ 1985514 h 3980066"/>
                <a:gd name="connsiteX1909" fmla="*/ 6917514 w 8387961"/>
                <a:gd name="connsiteY1909" fmla="*/ 1992042 h 3980066"/>
                <a:gd name="connsiteX1910" fmla="*/ 6919164 w 8387961"/>
                <a:gd name="connsiteY1910" fmla="*/ 1998570 h 3980066"/>
                <a:gd name="connsiteX1911" fmla="*/ 6917514 w 8387961"/>
                <a:gd name="connsiteY1911" fmla="*/ 2000202 h 3980066"/>
                <a:gd name="connsiteX1912" fmla="*/ 6892765 w 8387961"/>
                <a:gd name="connsiteY1912" fmla="*/ 2024682 h 3980066"/>
                <a:gd name="connsiteX1913" fmla="*/ 6884515 w 8387961"/>
                <a:gd name="connsiteY1913" fmla="*/ 1987146 h 3980066"/>
                <a:gd name="connsiteX1914" fmla="*/ 2042015 w 8387961"/>
                <a:gd name="connsiteY1914" fmla="*/ 1971955 h 3980066"/>
                <a:gd name="connsiteX1915" fmla="*/ 2045775 w 8387961"/>
                <a:gd name="connsiteY1915" fmla="*/ 1971955 h 3980066"/>
                <a:gd name="connsiteX1916" fmla="*/ 2045775 w 8387961"/>
                <a:gd name="connsiteY1916" fmla="*/ 1974968 h 3980066"/>
                <a:gd name="connsiteX1917" fmla="*/ 2045775 w 8387961"/>
                <a:gd name="connsiteY1917" fmla="*/ 1976474 h 3980066"/>
                <a:gd name="connsiteX1918" fmla="*/ 2045775 w 8387961"/>
                <a:gd name="connsiteY1918" fmla="*/ 1977981 h 3980066"/>
                <a:gd name="connsiteX1919" fmla="*/ 2042015 w 8387961"/>
                <a:gd name="connsiteY1919" fmla="*/ 1977981 h 3980066"/>
                <a:gd name="connsiteX1920" fmla="*/ 2038242 w 8387961"/>
                <a:gd name="connsiteY1920" fmla="*/ 1977981 h 3980066"/>
                <a:gd name="connsiteX1921" fmla="*/ 2038242 w 8387961"/>
                <a:gd name="connsiteY1921" fmla="*/ 1976474 h 3980066"/>
                <a:gd name="connsiteX1922" fmla="*/ 2038242 w 8387961"/>
                <a:gd name="connsiteY1922" fmla="*/ 1974968 h 3980066"/>
                <a:gd name="connsiteX1923" fmla="*/ 2042015 w 8387961"/>
                <a:gd name="connsiteY1923" fmla="*/ 1974968 h 3980066"/>
                <a:gd name="connsiteX1924" fmla="*/ 6502907 w 8387961"/>
                <a:gd name="connsiteY1924" fmla="*/ 1970696 h 3980066"/>
                <a:gd name="connsiteX1925" fmla="*/ 6478063 w 8387961"/>
                <a:gd name="connsiteY1925" fmla="*/ 1983596 h 3980066"/>
                <a:gd name="connsiteX1926" fmla="*/ 6462871 w 8387961"/>
                <a:gd name="connsiteY1926" fmla="*/ 1990170 h 3980066"/>
                <a:gd name="connsiteX1927" fmla="*/ 6463423 w 8387961"/>
                <a:gd name="connsiteY1927" fmla="*/ 1991676 h 3980066"/>
                <a:gd name="connsiteX1928" fmla="*/ 6477935 w 8387961"/>
                <a:gd name="connsiteY1928" fmla="*/ 1985214 h 3980066"/>
                <a:gd name="connsiteX1929" fmla="*/ 6502988 w 8387961"/>
                <a:gd name="connsiteY1929" fmla="*/ 1971829 h 3980066"/>
                <a:gd name="connsiteX1930" fmla="*/ 3739454 w 8387961"/>
                <a:gd name="connsiteY1930" fmla="*/ 1970212 h 3980066"/>
                <a:gd name="connsiteX1931" fmla="*/ 3732599 w 8387961"/>
                <a:gd name="connsiteY1931" fmla="*/ 1978464 h 3980066"/>
                <a:gd name="connsiteX1932" fmla="*/ 3732599 w 8387961"/>
                <a:gd name="connsiteY1932" fmla="*/ 1978777 h 3980066"/>
                <a:gd name="connsiteX1933" fmla="*/ 1792169 w 8387961"/>
                <a:gd name="connsiteY1933" fmla="*/ 1968943 h 3980066"/>
                <a:gd name="connsiteX1934" fmla="*/ 1788791 w 8387961"/>
                <a:gd name="connsiteY1934" fmla="*/ 1985676 h 3980066"/>
                <a:gd name="connsiteX1935" fmla="*/ 1782743 w 8387961"/>
                <a:gd name="connsiteY1935" fmla="*/ 1986767 h 3980066"/>
                <a:gd name="connsiteX1936" fmla="*/ 1768485 w 8387961"/>
                <a:gd name="connsiteY1936" fmla="*/ 1996654 h 3980066"/>
                <a:gd name="connsiteX1937" fmla="*/ 1775225 w 8387961"/>
                <a:gd name="connsiteY1937" fmla="*/ 2021675 h 3980066"/>
                <a:gd name="connsiteX1938" fmla="*/ 1760069 w 8387961"/>
                <a:gd name="connsiteY1938" fmla="*/ 2046697 h 3980066"/>
                <a:gd name="connsiteX1939" fmla="*/ 1776903 w 8387961"/>
                <a:gd name="connsiteY1939" fmla="*/ 2068383 h 3980066"/>
                <a:gd name="connsiteX1940" fmla="*/ 1787006 w 8387961"/>
                <a:gd name="connsiteY1940" fmla="*/ 2051702 h 3980066"/>
                <a:gd name="connsiteX1941" fmla="*/ 1780269 w 8387961"/>
                <a:gd name="connsiteY1941" fmla="*/ 2015003 h 3980066"/>
                <a:gd name="connsiteX1942" fmla="*/ 1785319 w 8387961"/>
                <a:gd name="connsiteY1942" fmla="*/ 2008330 h 3980066"/>
                <a:gd name="connsiteX1943" fmla="*/ 1820667 w 8387961"/>
                <a:gd name="connsiteY1943" fmla="*/ 1994985 h 3980066"/>
                <a:gd name="connsiteX1944" fmla="*/ 1827407 w 8387961"/>
                <a:gd name="connsiteY1944" fmla="*/ 1994985 h 3980066"/>
                <a:gd name="connsiteX1945" fmla="*/ 1815624 w 8387961"/>
                <a:gd name="connsiteY1945" fmla="*/ 1986645 h 3980066"/>
                <a:gd name="connsiteX1946" fmla="*/ 1820667 w 8387961"/>
                <a:gd name="connsiteY1946" fmla="*/ 1974968 h 3980066"/>
                <a:gd name="connsiteX1947" fmla="*/ 1832451 w 8387961"/>
                <a:gd name="connsiteY1947" fmla="*/ 1994985 h 3980066"/>
                <a:gd name="connsiteX1948" fmla="*/ 1861065 w 8387961"/>
                <a:gd name="connsiteY1948" fmla="*/ 2006662 h 3980066"/>
                <a:gd name="connsiteX1949" fmla="*/ 1871170 w 8387961"/>
                <a:gd name="connsiteY1949" fmla="*/ 2025012 h 3980066"/>
                <a:gd name="connsiteX1950" fmla="*/ 1896415 w 8387961"/>
                <a:gd name="connsiteY1950" fmla="*/ 2025012 h 3980066"/>
                <a:gd name="connsiteX1951" fmla="*/ 1919988 w 8387961"/>
                <a:gd name="connsiteY1951" fmla="*/ 2025012 h 3980066"/>
                <a:gd name="connsiteX1952" fmla="*/ 1957012 w 8387961"/>
                <a:gd name="connsiteY1952" fmla="*/ 2036689 h 3980066"/>
                <a:gd name="connsiteX1953" fmla="*/ 1983951 w 8387961"/>
                <a:gd name="connsiteY1953" fmla="*/ 2025012 h 3980066"/>
                <a:gd name="connsiteX1954" fmla="*/ 1973845 w 8387961"/>
                <a:gd name="connsiteY1954" fmla="*/ 2020007 h 3980066"/>
                <a:gd name="connsiteX1955" fmla="*/ 2002462 w 8387961"/>
                <a:gd name="connsiteY1955" fmla="*/ 2020007 h 3980066"/>
                <a:gd name="connsiteX1956" fmla="*/ 2031079 w 8387961"/>
                <a:gd name="connsiteY1956" fmla="*/ 2020007 h 3980066"/>
                <a:gd name="connsiteX1957" fmla="*/ 2004152 w 8387961"/>
                <a:gd name="connsiteY1957" fmla="*/ 2028348 h 3980066"/>
                <a:gd name="connsiteX1958" fmla="*/ 2012560 w 8387961"/>
                <a:gd name="connsiteY1958" fmla="*/ 2036689 h 3980066"/>
                <a:gd name="connsiteX1959" fmla="*/ 2007515 w 8387961"/>
                <a:gd name="connsiteY1959" fmla="*/ 2038357 h 3980066"/>
                <a:gd name="connsiteX1960" fmla="*/ 2017610 w 8387961"/>
                <a:gd name="connsiteY1960" fmla="*/ 2036689 h 3980066"/>
                <a:gd name="connsiteX1961" fmla="*/ 2022661 w 8387961"/>
                <a:gd name="connsiteY1961" fmla="*/ 2045029 h 3980066"/>
                <a:gd name="connsiteX1962" fmla="*/ 2024351 w 8387961"/>
                <a:gd name="connsiteY1962" fmla="*/ 2048365 h 3980066"/>
                <a:gd name="connsiteX1963" fmla="*/ 2022661 w 8387961"/>
                <a:gd name="connsiteY1963" fmla="*/ 2040025 h 3980066"/>
                <a:gd name="connsiteX1964" fmla="*/ 2032760 w 8387961"/>
                <a:gd name="connsiteY1964" fmla="*/ 2046697 h 3980066"/>
                <a:gd name="connsiteX1965" fmla="*/ 2042861 w 8387961"/>
                <a:gd name="connsiteY1965" fmla="*/ 2046697 h 3980066"/>
                <a:gd name="connsiteX1966" fmla="*/ 2059697 w 8387961"/>
                <a:gd name="connsiteY1966" fmla="*/ 2060042 h 3980066"/>
                <a:gd name="connsiteX1967" fmla="*/ 2052959 w 8387961"/>
                <a:gd name="connsiteY1967" fmla="*/ 2066715 h 3980066"/>
                <a:gd name="connsiteX1968" fmla="*/ 2044542 w 8387961"/>
                <a:gd name="connsiteY1968" fmla="*/ 2080060 h 3980066"/>
                <a:gd name="connsiteX1969" fmla="*/ 2037809 w 8387961"/>
                <a:gd name="connsiteY1969" fmla="*/ 2081728 h 3980066"/>
                <a:gd name="connsiteX1970" fmla="*/ 2054643 w 8387961"/>
                <a:gd name="connsiteY1970" fmla="*/ 2081728 h 3980066"/>
                <a:gd name="connsiteX1971" fmla="*/ 2081574 w 8387961"/>
                <a:gd name="connsiteY1971" fmla="*/ 2081728 h 3980066"/>
                <a:gd name="connsiteX1972" fmla="*/ 2084941 w 8387961"/>
                <a:gd name="connsiteY1972" fmla="*/ 2090069 h 3980066"/>
                <a:gd name="connsiteX1973" fmla="*/ 2061375 w 8387961"/>
                <a:gd name="connsiteY1973" fmla="*/ 2111754 h 3980066"/>
                <a:gd name="connsiteX1974" fmla="*/ 2071479 w 8387961"/>
                <a:gd name="connsiteY1974" fmla="*/ 2125099 h 3980066"/>
                <a:gd name="connsiteX1975" fmla="*/ 2052959 w 8387961"/>
                <a:gd name="connsiteY1975" fmla="*/ 2136776 h 3980066"/>
                <a:gd name="connsiteX1976" fmla="*/ 2042861 w 8387961"/>
                <a:gd name="connsiteY1976" fmla="*/ 2158462 h 3980066"/>
                <a:gd name="connsiteX1977" fmla="*/ 2058009 w 8387961"/>
                <a:gd name="connsiteY1977" fmla="*/ 2181816 h 3980066"/>
                <a:gd name="connsiteX1978" fmla="*/ 2059697 w 8387961"/>
                <a:gd name="connsiteY1978" fmla="*/ 2181816 h 3980066"/>
                <a:gd name="connsiteX1979" fmla="*/ 2052959 w 8387961"/>
                <a:gd name="connsiteY1979" fmla="*/ 2198497 h 3980066"/>
                <a:gd name="connsiteX1980" fmla="*/ 2031079 w 8387961"/>
                <a:gd name="connsiteY1980" fmla="*/ 2208506 h 3980066"/>
                <a:gd name="connsiteX1981" fmla="*/ 2009194 w 8387961"/>
                <a:gd name="connsiteY1981" fmla="*/ 2218514 h 3980066"/>
                <a:gd name="connsiteX1982" fmla="*/ 2004152 w 8387961"/>
                <a:gd name="connsiteY1982" fmla="*/ 2228523 h 3980066"/>
                <a:gd name="connsiteX1983" fmla="*/ 1978897 w 8387961"/>
                <a:gd name="connsiteY1983" fmla="*/ 2220183 h 3980066"/>
                <a:gd name="connsiteX1984" fmla="*/ 1976613 w 8387961"/>
                <a:gd name="connsiteY1984" fmla="*/ 2219333 h 3980066"/>
                <a:gd name="connsiteX1985" fmla="*/ 1981907 w 8387961"/>
                <a:gd name="connsiteY1985" fmla="*/ 2221320 h 3980066"/>
                <a:gd name="connsiteX1986" fmla="*/ 2006994 w 8387961"/>
                <a:gd name="connsiteY1986" fmla="*/ 2229681 h 3980066"/>
                <a:gd name="connsiteX1987" fmla="*/ 2012012 w 8387961"/>
                <a:gd name="connsiteY1987" fmla="*/ 2219648 h 3980066"/>
                <a:gd name="connsiteX1988" fmla="*/ 2033746 w 8387961"/>
                <a:gd name="connsiteY1988" fmla="*/ 2209615 h 3980066"/>
                <a:gd name="connsiteX1989" fmla="*/ 2055488 w 8387961"/>
                <a:gd name="connsiteY1989" fmla="*/ 2199582 h 3980066"/>
                <a:gd name="connsiteX1990" fmla="*/ 2062179 w 8387961"/>
                <a:gd name="connsiteY1990" fmla="*/ 2182860 h 3980066"/>
                <a:gd name="connsiteX1991" fmla="*/ 2075041 w 8387961"/>
                <a:gd name="connsiteY1991" fmla="*/ 2182860 h 3980066"/>
                <a:gd name="connsiteX1992" fmla="*/ 2075030 w 8387961"/>
                <a:gd name="connsiteY1992" fmla="*/ 2182744 h 3980066"/>
                <a:gd name="connsiteX1993" fmla="*/ 2060402 w 8387961"/>
                <a:gd name="connsiteY1993" fmla="*/ 2182744 h 3980066"/>
                <a:gd name="connsiteX1994" fmla="*/ 2045775 w 8387961"/>
                <a:gd name="connsiteY1994" fmla="*/ 2159220 h 3980066"/>
                <a:gd name="connsiteX1995" fmla="*/ 2055526 w 8387961"/>
                <a:gd name="connsiteY1995" fmla="*/ 2137376 h 3980066"/>
                <a:gd name="connsiteX1996" fmla="*/ 2073405 w 8387961"/>
                <a:gd name="connsiteY1996" fmla="*/ 2125614 h 3980066"/>
                <a:gd name="connsiteX1997" fmla="*/ 2063654 w 8387961"/>
                <a:gd name="connsiteY1997" fmla="*/ 2112172 h 3980066"/>
                <a:gd name="connsiteX1998" fmla="*/ 2086408 w 8387961"/>
                <a:gd name="connsiteY1998" fmla="*/ 2090328 h 3980066"/>
                <a:gd name="connsiteX1999" fmla="*/ 2083156 w 8387961"/>
                <a:gd name="connsiteY1999" fmla="*/ 2081927 h 3980066"/>
                <a:gd name="connsiteX2000" fmla="*/ 2094539 w 8387961"/>
                <a:gd name="connsiteY2000" fmla="*/ 2092009 h 3980066"/>
                <a:gd name="connsiteX2001" fmla="*/ 2089664 w 8387961"/>
                <a:gd name="connsiteY2001" fmla="*/ 2088648 h 3980066"/>
                <a:gd name="connsiteX2002" fmla="*/ 2102669 w 8387961"/>
                <a:gd name="connsiteY2002" fmla="*/ 2102090 h 3980066"/>
                <a:gd name="connsiteX2003" fmla="*/ 2118916 w 8387961"/>
                <a:gd name="connsiteY2003" fmla="*/ 2115533 h 3980066"/>
                <a:gd name="connsiteX2004" fmla="*/ 2115665 w 8387961"/>
                <a:gd name="connsiteY2004" fmla="*/ 2145778 h 3980066"/>
                <a:gd name="connsiteX2005" fmla="*/ 2122168 w 8387961"/>
                <a:gd name="connsiteY2005" fmla="*/ 2132335 h 3980066"/>
                <a:gd name="connsiteX2006" fmla="*/ 2149798 w 8387961"/>
                <a:gd name="connsiteY2006" fmla="*/ 2150819 h 3980066"/>
                <a:gd name="connsiteX2007" fmla="*/ 2149798 w 8387961"/>
                <a:gd name="connsiteY2007" fmla="*/ 2176023 h 3980066"/>
                <a:gd name="connsiteX2008" fmla="*/ 2145123 w 8387961"/>
                <a:gd name="connsiteY2008" fmla="*/ 2188910 h 3980066"/>
                <a:gd name="connsiteX2009" fmla="*/ 2145281 w 8387961"/>
                <a:gd name="connsiteY2009" fmla="*/ 2188804 h 3980066"/>
                <a:gd name="connsiteX2010" fmla="*/ 2150390 w 8387961"/>
                <a:gd name="connsiteY2010" fmla="*/ 2175286 h 3980066"/>
                <a:gd name="connsiteX2011" fmla="*/ 2155498 w 8387961"/>
                <a:gd name="connsiteY2011" fmla="*/ 2161769 h 3980066"/>
                <a:gd name="connsiteX2012" fmla="*/ 2186170 w 8387961"/>
                <a:gd name="connsiteY2012" fmla="*/ 2165148 h 3980066"/>
                <a:gd name="connsiteX2013" fmla="*/ 2211731 w 8387961"/>
                <a:gd name="connsiteY2013" fmla="*/ 2161769 h 3980066"/>
                <a:gd name="connsiteX2014" fmla="*/ 2235587 w 8387961"/>
                <a:gd name="connsiteY2014" fmla="*/ 2165148 h 3980066"/>
                <a:gd name="connsiteX2015" fmla="*/ 2234807 w 8387961"/>
                <a:gd name="connsiteY2015" fmla="*/ 2171335 h 3980066"/>
                <a:gd name="connsiteX2016" fmla="*/ 2237702 w 8387961"/>
                <a:gd name="connsiteY2016" fmla="*/ 2166289 h 3980066"/>
                <a:gd name="connsiteX2017" fmla="*/ 2254690 w 8387961"/>
                <a:gd name="connsiteY2017" fmla="*/ 2171365 h 3980066"/>
                <a:gd name="connsiteX2018" fmla="*/ 2280172 w 8387961"/>
                <a:gd name="connsiteY2018" fmla="*/ 2196743 h 3980066"/>
                <a:gd name="connsiteX2019" fmla="*/ 2290369 w 8387961"/>
                <a:gd name="connsiteY2019" fmla="*/ 2206894 h 3980066"/>
                <a:gd name="connsiteX2020" fmla="*/ 2290369 w 8387961"/>
                <a:gd name="connsiteY2020" fmla="*/ 2200126 h 3980066"/>
                <a:gd name="connsiteX2021" fmla="*/ 2298859 w 8387961"/>
                <a:gd name="connsiteY2021" fmla="*/ 2218737 h 3980066"/>
                <a:gd name="connsiteX2022" fmla="*/ 2280172 w 8387961"/>
                <a:gd name="connsiteY2022" fmla="*/ 2247499 h 3980066"/>
                <a:gd name="connsiteX2023" fmla="*/ 2261571 w 8387961"/>
                <a:gd name="connsiteY2023" fmla="*/ 2276133 h 3980066"/>
                <a:gd name="connsiteX2024" fmla="*/ 2264521 w 8387961"/>
                <a:gd name="connsiteY2024" fmla="*/ 2276501 h 3980066"/>
                <a:gd name="connsiteX2025" fmla="*/ 2282906 w 8387961"/>
                <a:gd name="connsiteY2025" fmla="*/ 2248075 h 3980066"/>
                <a:gd name="connsiteX2026" fmla="*/ 2301305 w 8387961"/>
                <a:gd name="connsiteY2026" fmla="*/ 2219648 h 3980066"/>
                <a:gd name="connsiteX2027" fmla="*/ 2301305 w 8387961"/>
                <a:gd name="connsiteY2027" fmla="*/ 2217975 h 3980066"/>
                <a:gd name="connsiteX2028" fmla="*/ 2304651 w 8387961"/>
                <a:gd name="connsiteY2028" fmla="*/ 2217975 h 3980066"/>
                <a:gd name="connsiteX2029" fmla="*/ 2302978 w 8387961"/>
                <a:gd name="connsiteY2029" fmla="*/ 2211287 h 3980066"/>
                <a:gd name="connsiteX2030" fmla="*/ 2313006 w 8387961"/>
                <a:gd name="connsiteY2030" fmla="*/ 2226336 h 3980066"/>
                <a:gd name="connsiteX2031" fmla="*/ 2314679 w 8387961"/>
                <a:gd name="connsiteY2031" fmla="*/ 2222992 h 3980066"/>
                <a:gd name="connsiteX2032" fmla="*/ 2321367 w 8387961"/>
                <a:gd name="connsiteY2032" fmla="*/ 2249747 h 3980066"/>
                <a:gd name="connsiteX2033" fmla="*/ 2324712 w 8387961"/>
                <a:gd name="connsiteY2033" fmla="*/ 2276501 h 3980066"/>
                <a:gd name="connsiteX2034" fmla="*/ 2338090 w 8387961"/>
                <a:gd name="connsiteY2034" fmla="*/ 2286534 h 3980066"/>
                <a:gd name="connsiteX2035" fmla="*/ 2344781 w 8387961"/>
                <a:gd name="connsiteY2035" fmla="*/ 2301584 h 3980066"/>
                <a:gd name="connsiteX2036" fmla="*/ 2328056 w 8387961"/>
                <a:gd name="connsiteY2036" fmla="*/ 2321650 h 3980066"/>
                <a:gd name="connsiteX2037" fmla="*/ 2311342 w 8387961"/>
                <a:gd name="connsiteY2037" fmla="*/ 2341716 h 3980066"/>
                <a:gd name="connsiteX2038" fmla="*/ 2294614 w 8387961"/>
                <a:gd name="connsiteY2038" fmla="*/ 2373488 h 3980066"/>
                <a:gd name="connsiteX2039" fmla="*/ 2274545 w 8387961"/>
                <a:gd name="connsiteY2039" fmla="*/ 2386865 h 3980066"/>
                <a:gd name="connsiteX2040" fmla="*/ 2284579 w 8387961"/>
                <a:gd name="connsiteY2040" fmla="*/ 2388537 h 3980066"/>
                <a:gd name="connsiteX2041" fmla="*/ 2302978 w 8387961"/>
                <a:gd name="connsiteY2041" fmla="*/ 2378504 h 3980066"/>
                <a:gd name="connsiteX2042" fmla="*/ 2321367 w 8387961"/>
                <a:gd name="connsiteY2042" fmla="*/ 2368471 h 3980066"/>
                <a:gd name="connsiteX2043" fmla="*/ 2322404 w 8387961"/>
                <a:gd name="connsiteY2043" fmla="*/ 2371570 h 3980066"/>
                <a:gd name="connsiteX2044" fmla="*/ 2323437 w 8387961"/>
                <a:gd name="connsiteY2044" fmla="*/ 2371570 h 3980066"/>
                <a:gd name="connsiteX2045" fmla="*/ 2321692 w 8387961"/>
                <a:gd name="connsiteY2045" fmla="*/ 2359618 h 3980066"/>
                <a:gd name="connsiteX2046" fmla="*/ 2330414 w 8387961"/>
                <a:gd name="connsiteY2046" fmla="*/ 2342545 h 3980066"/>
                <a:gd name="connsiteX2047" fmla="*/ 2356581 w 8387961"/>
                <a:gd name="connsiteY2047" fmla="*/ 2345960 h 3980066"/>
                <a:gd name="connsiteX2048" fmla="*/ 2386232 w 8387961"/>
                <a:gd name="connsiteY2048" fmla="*/ 2349374 h 3980066"/>
                <a:gd name="connsiteX2049" fmla="*/ 2372284 w 8387961"/>
                <a:gd name="connsiteY2049" fmla="*/ 2376692 h 3980066"/>
                <a:gd name="connsiteX2050" fmla="*/ 2370539 w 8387961"/>
                <a:gd name="connsiteY2050" fmla="*/ 2378399 h 3980066"/>
                <a:gd name="connsiteX2051" fmla="*/ 2367050 w 8387961"/>
                <a:gd name="connsiteY2051" fmla="*/ 2386936 h 3980066"/>
                <a:gd name="connsiteX2052" fmla="*/ 2363560 w 8387961"/>
                <a:gd name="connsiteY2052" fmla="*/ 2386936 h 3980066"/>
                <a:gd name="connsiteX2053" fmla="*/ 2353091 w 8387961"/>
                <a:gd name="connsiteY2053" fmla="*/ 2390350 h 3980066"/>
                <a:gd name="connsiteX2054" fmla="*/ 2349602 w 8387961"/>
                <a:gd name="connsiteY2054" fmla="*/ 2392058 h 3980066"/>
                <a:gd name="connsiteX2055" fmla="*/ 2333903 w 8387961"/>
                <a:gd name="connsiteY2055" fmla="*/ 2386936 h 3980066"/>
                <a:gd name="connsiteX2056" fmla="*/ 2329457 w 8387961"/>
                <a:gd name="connsiteY2056" fmla="*/ 2392738 h 3980066"/>
                <a:gd name="connsiteX2057" fmla="*/ 2331401 w 8387961"/>
                <a:gd name="connsiteY2057" fmla="*/ 2398570 h 3980066"/>
                <a:gd name="connsiteX2058" fmla="*/ 2338090 w 8387961"/>
                <a:gd name="connsiteY2058" fmla="*/ 2398570 h 3980066"/>
                <a:gd name="connsiteX2059" fmla="*/ 2348127 w 8387961"/>
                <a:gd name="connsiteY2059" fmla="*/ 2401914 h 3980066"/>
                <a:gd name="connsiteX2060" fmla="*/ 2356491 w 8387961"/>
                <a:gd name="connsiteY2060" fmla="*/ 2396898 h 3980066"/>
                <a:gd name="connsiteX2061" fmla="*/ 2354818 w 8387961"/>
                <a:gd name="connsiteY2061" fmla="*/ 2418636 h 3980066"/>
                <a:gd name="connsiteX2062" fmla="*/ 2373206 w 8387961"/>
                <a:gd name="connsiteY2062" fmla="*/ 2391881 h 3980066"/>
                <a:gd name="connsiteX2063" fmla="*/ 2383240 w 8387961"/>
                <a:gd name="connsiteY2063" fmla="*/ 2388537 h 3980066"/>
                <a:gd name="connsiteX2064" fmla="*/ 2383240 w 8387961"/>
                <a:gd name="connsiteY2064" fmla="*/ 2383521 h 3980066"/>
                <a:gd name="connsiteX2065" fmla="*/ 2393275 w 8387961"/>
                <a:gd name="connsiteY2065" fmla="*/ 2366799 h 3980066"/>
                <a:gd name="connsiteX2066" fmla="*/ 2408331 w 8387961"/>
                <a:gd name="connsiteY2066" fmla="*/ 2361782 h 3980066"/>
                <a:gd name="connsiteX2067" fmla="*/ 2411667 w 8387961"/>
                <a:gd name="connsiteY2067" fmla="*/ 2358438 h 3980066"/>
                <a:gd name="connsiteX2068" fmla="*/ 2425042 w 8387961"/>
                <a:gd name="connsiteY2068" fmla="*/ 2366799 h 3980066"/>
                <a:gd name="connsiteX2069" fmla="*/ 2433403 w 8387961"/>
                <a:gd name="connsiteY2069" fmla="*/ 2368471 h 3980066"/>
                <a:gd name="connsiteX2070" fmla="*/ 2443436 w 8387961"/>
                <a:gd name="connsiteY2070" fmla="*/ 2371815 h 3980066"/>
                <a:gd name="connsiteX2071" fmla="*/ 2455142 w 8387961"/>
                <a:gd name="connsiteY2071" fmla="*/ 2378504 h 3980066"/>
                <a:gd name="connsiteX2072" fmla="*/ 2465175 w 8387961"/>
                <a:gd name="connsiteY2072" fmla="*/ 2381848 h 3980066"/>
                <a:gd name="connsiteX2073" fmla="*/ 2466847 w 8387961"/>
                <a:gd name="connsiteY2073" fmla="*/ 2386865 h 3980066"/>
                <a:gd name="connsiteX2074" fmla="*/ 2476880 w 8387961"/>
                <a:gd name="connsiteY2074" fmla="*/ 2386865 h 3980066"/>
                <a:gd name="connsiteX2075" fmla="*/ 2486914 w 8387961"/>
                <a:gd name="connsiteY2075" fmla="*/ 2393554 h 3980066"/>
                <a:gd name="connsiteX2076" fmla="*/ 2485241 w 8387961"/>
                <a:gd name="connsiteY2076" fmla="*/ 2408603 h 3980066"/>
                <a:gd name="connsiteX2077" fmla="*/ 2486914 w 8387961"/>
                <a:gd name="connsiteY2077" fmla="*/ 2406931 h 3980066"/>
                <a:gd name="connsiteX2078" fmla="*/ 2491930 w 8387961"/>
                <a:gd name="connsiteY2078" fmla="*/ 2411947 h 3980066"/>
                <a:gd name="connsiteX2079" fmla="*/ 2483569 w 8387961"/>
                <a:gd name="connsiteY2079" fmla="*/ 2437030 h 3980066"/>
                <a:gd name="connsiteX2080" fmla="*/ 2495275 w 8387961"/>
                <a:gd name="connsiteY2080" fmla="*/ 2416964 h 3980066"/>
                <a:gd name="connsiteX2081" fmla="*/ 2498619 w 8387961"/>
                <a:gd name="connsiteY2081" fmla="*/ 2411947 h 3980066"/>
                <a:gd name="connsiteX2082" fmla="*/ 2496947 w 8387961"/>
                <a:gd name="connsiteY2082" fmla="*/ 2421980 h 3980066"/>
                <a:gd name="connsiteX2083" fmla="*/ 2517014 w 8387961"/>
                <a:gd name="connsiteY2083" fmla="*/ 2413620 h 3980066"/>
                <a:gd name="connsiteX2084" fmla="*/ 2542097 w 8387961"/>
                <a:gd name="connsiteY2084" fmla="*/ 2420308 h 3980066"/>
                <a:gd name="connsiteX2085" fmla="*/ 2563836 w 8387961"/>
                <a:gd name="connsiteY2085" fmla="*/ 2426997 h 3980066"/>
                <a:gd name="connsiteX2086" fmla="*/ 2588919 w 8387961"/>
                <a:gd name="connsiteY2086" fmla="*/ 2423653 h 3980066"/>
                <a:gd name="connsiteX2087" fmla="*/ 2625708 w 8387961"/>
                <a:gd name="connsiteY2087" fmla="*/ 2437030 h 3980066"/>
                <a:gd name="connsiteX2088" fmla="*/ 2655808 w 8387961"/>
                <a:gd name="connsiteY2088" fmla="*/ 2460440 h 3980066"/>
                <a:gd name="connsiteX2089" fmla="*/ 2684235 w 8387961"/>
                <a:gd name="connsiteY2089" fmla="*/ 2487195 h 3980066"/>
                <a:gd name="connsiteX2090" fmla="*/ 2704302 w 8387961"/>
                <a:gd name="connsiteY2090" fmla="*/ 2490539 h 3980066"/>
                <a:gd name="connsiteX2091" fmla="*/ 2726041 w 8387961"/>
                <a:gd name="connsiteY2091" fmla="*/ 2493884 h 3980066"/>
                <a:gd name="connsiteX2092" fmla="*/ 2737746 w 8387961"/>
                <a:gd name="connsiteY2092" fmla="*/ 2523983 h 3980066"/>
                <a:gd name="connsiteX2093" fmla="*/ 2747780 w 8387961"/>
                <a:gd name="connsiteY2093" fmla="*/ 2554082 h 3980066"/>
                <a:gd name="connsiteX2094" fmla="*/ 2744435 w 8387961"/>
                <a:gd name="connsiteY2094" fmla="*/ 2597558 h 3980066"/>
                <a:gd name="connsiteX2095" fmla="*/ 2722697 w 8387961"/>
                <a:gd name="connsiteY2095" fmla="*/ 2631002 h 3980066"/>
                <a:gd name="connsiteX2096" fmla="*/ 2705974 w 8387961"/>
                <a:gd name="connsiteY2096" fmla="*/ 2652740 h 3980066"/>
                <a:gd name="connsiteX2097" fmla="*/ 2689252 w 8387961"/>
                <a:gd name="connsiteY2097" fmla="*/ 2672806 h 3980066"/>
                <a:gd name="connsiteX2098" fmla="*/ 2684235 w 8387961"/>
                <a:gd name="connsiteY2098" fmla="*/ 2681167 h 3980066"/>
                <a:gd name="connsiteX2099" fmla="*/ 2684235 w 8387961"/>
                <a:gd name="connsiteY2099" fmla="*/ 2682839 h 3980066"/>
                <a:gd name="connsiteX2100" fmla="*/ 2669186 w 8387961"/>
                <a:gd name="connsiteY2100" fmla="*/ 2707922 h 3980066"/>
                <a:gd name="connsiteX2101" fmla="*/ 2655808 w 8387961"/>
                <a:gd name="connsiteY2101" fmla="*/ 2731332 h 3980066"/>
                <a:gd name="connsiteX2102" fmla="*/ 2654136 w 8387961"/>
                <a:gd name="connsiteY2102" fmla="*/ 2721299 h 3980066"/>
                <a:gd name="connsiteX2103" fmla="*/ 2645774 w 8387961"/>
                <a:gd name="connsiteY2103" fmla="*/ 2724643 h 3980066"/>
                <a:gd name="connsiteX2104" fmla="*/ 2642430 w 8387961"/>
                <a:gd name="connsiteY2104" fmla="*/ 2753070 h 3980066"/>
                <a:gd name="connsiteX2105" fmla="*/ 2645774 w 8387961"/>
                <a:gd name="connsiteY2105" fmla="*/ 2761431 h 3980066"/>
                <a:gd name="connsiteX2106" fmla="*/ 2645774 w 8387961"/>
                <a:gd name="connsiteY2106" fmla="*/ 2783169 h 3980066"/>
                <a:gd name="connsiteX2107" fmla="*/ 2647447 w 8387961"/>
                <a:gd name="connsiteY2107" fmla="*/ 2804907 h 3980066"/>
                <a:gd name="connsiteX2108" fmla="*/ 2645774 w 8387961"/>
                <a:gd name="connsiteY2108" fmla="*/ 2835006 h 3980066"/>
                <a:gd name="connsiteX2109" fmla="*/ 2644102 w 8387961"/>
                <a:gd name="connsiteY2109" fmla="*/ 2863433 h 3980066"/>
                <a:gd name="connsiteX2110" fmla="*/ 2637413 w 8387961"/>
                <a:gd name="connsiteY2110" fmla="*/ 2880155 h 3980066"/>
                <a:gd name="connsiteX2111" fmla="*/ 2634069 w 8387961"/>
                <a:gd name="connsiteY2111" fmla="*/ 2920287 h 3980066"/>
                <a:gd name="connsiteX2112" fmla="*/ 2622363 w 8387961"/>
                <a:gd name="connsiteY2112" fmla="*/ 2942025 h 3980066"/>
                <a:gd name="connsiteX2113" fmla="*/ 2608986 w 8387961"/>
                <a:gd name="connsiteY2113" fmla="*/ 2965436 h 3980066"/>
                <a:gd name="connsiteX2114" fmla="*/ 2605641 w 8387961"/>
                <a:gd name="connsiteY2114" fmla="*/ 3000551 h 3980066"/>
                <a:gd name="connsiteX2115" fmla="*/ 2588919 w 8387961"/>
                <a:gd name="connsiteY2115" fmla="*/ 3008912 h 3980066"/>
                <a:gd name="connsiteX2116" fmla="*/ 2582230 w 8387961"/>
                <a:gd name="connsiteY2116" fmla="*/ 3023962 h 3980066"/>
                <a:gd name="connsiteX2117" fmla="*/ 2553802 w 8387961"/>
                <a:gd name="connsiteY2117" fmla="*/ 3023962 h 3980066"/>
                <a:gd name="connsiteX2118" fmla="*/ 2548786 w 8387961"/>
                <a:gd name="connsiteY2118" fmla="*/ 3025634 h 3980066"/>
                <a:gd name="connsiteX2119" fmla="*/ 2536245 w 8387961"/>
                <a:gd name="connsiteY2119" fmla="*/ 3030650 h 3980066"/>
                <a:gd name="connsiteX2120" fmla="*/ 2522030 w 8387961"/>
                <a:gd name="connsiteY2120" fmla="*/ 3030650 h 3980066"/>
                <a:gd name="connsiteX2121" fmla="*/ 2513669 w 8387961"/>
                <a:gd name="connsiteY2121" fmla="*/ 3039011 h 3980066"/>
                <a:gd name="connsiteX2122" fmla="*/ 2493603 w 8387961"/>
                <a:gd name="connsiteY2122" fmla="*/ 3052389 h 3980066"/>
                <a:gd name="connsiteX2123" fmla="*/ 2471864 w 8387961"/>
                <a:gd name="connsiteY2123" fmla="*/ 3059077 h 3980066"/>
                <a:gd name="connsiteX2124" fmla="*/ 2448453 w 8387961"/>
                <a:gd name="connsiteY2124" fmla="*/ 3080816 h 3980066"/>
                <a:gd name="connsiteX2125" fmla="*/ 2425042 w 8387961"/>
                <a:gd name="connsiteY2125" fmla="*/ 3102554 h 3980066"/>
                <a:gd name="connsiteX2126" fmla="*/ 2415012 w 8387961"/>
                <a:gd name="connsiteY2126" fmla="*/ 3104226 h 3980066"/>
                <a:gd name="connsiteX2127" fmla="*/ 2418356 w 8387961"/>
                <a:gd name="connsiteY2127" fmla="*/ 3105898 h 3980066"/>
                <a:gd name="connsiteX2128" fmla="*/ 2415012 w 8387961"/>
                <a:gd name="connsiteY2128" fmla="*/ 3115931 h 3980066"/>
                <a:gd name="connsiteX2129" fmla="*/ 2415012 w 8387961"/>
                <a:gd name="connsiteY2129" fmla="*/ 3125964 h 3980066"/>
                <a:gd name="connsiteX2130" fmla="*/ 2421700 w 8387961"/>
                <a:gd name="connsiteY2130" fmla="*/ 3144358 h 3980066"/>
                <a:gd name="connsiteX2131" fmla="*/ 2421700 w 8387961"/>
                <a:gd name="connsiteY2131" fmla="*/ 3169441 h 3980066"/>
                <a:gd name="connsiteX2132" fmla="*/ 2421700 w 8387961"/>
                <a:gd name="connsiteY2132" fmla="*/ 3192851 h 3980066"/>
                <a:gd name="connsiteX2133" fmla="*/ 2418356 w 8387961"/>
                <a:gd name="connsiteY2133" fmla="*/ 3192851 h 3980066"/>
                <a:gd name="connsiteX2134" fmla="*/ 2411667 w 8387961"/>
                <a:gd name="connsiteY2134" fmla="*/ 3206228 h 3980066"/>
                <a:gd name="connsiteX2135" fmla="*/ 2401639 w 8387961"/>
                <a:gd name="connsiteY2135" fmla="*/ 3231311 h 3980066"/>
                <a:gd name="connsiteX2136" fmla="*/ 2391603 w 8387961"/>
                <a:gd name="connsiteY2136" fmla="*/ 3254721 h 3980066"/>
                <a:gd name="connsiteX2137" fmla="*/ 2373206 w 8387961"/>
                <a:gd name="connsiteY2137" fmla="*/ 3279804 h 3980066"/>
                <a:gd name="connsiteX2138" fmla="*/ 2361761 w 8387961"/>
                <a:gd name="connsiteY2138" fmla="*/ 3294371 h 3980066"/>
                <a:gd name="connsiteX2139" fmla="*/ 2373206 w 8387961"/>
                <a:gd name="connsiteY2139" fmla="*/ 3273115 h 3980066"/>
                <a:gd name="connsiteX2140" fmla="*/ 2383240 w 8387961"/>
                <a:gd name="connsiteY2140" fmla="*/ 3251377 h 3980066"/>
                <a:gd name="connsiteX2141" fmla="*/ 2376550 w 8387961"/>
                <a:gd name="connsiteY2141" fmla="*/ 3251377 h 3980066"/>
                <a:gd name="connsiteX2142" fmla="*/ 2364845 w 8387961"/>
                <a:gd name="connsiteY2142" fmla="*/ 3246360 h 3980066"/>
                <a:gd name="connsiteX2143" fmla="*/ 2366517 w 8387961"/>
                <a:gd name="connsiteY2143" fmla="*/ 3264754 h 3980066"/>
                <a:gd name="connsiteX2144" fmla="*/ 2356491 w 8387961"/>
                <a:gd name="connsiteY2144" fmla="*/ 3279804 h 3980066"/>
                <a:gd name="connsiteX2145" fmla="*/ 2348127 w 8387961"/>
                <a:gd name="connsiteY2145" fmla="*/ 3296525 h 3980066"/>
                <a:gd name="connsiteX2146" fmla="*/ 2346454 w 8387961"/>
                <a:gd name="connsiteY2146" fmla="*/ 3314919 h 3980066"/>
                <a:gd name="connsiteX2147" fmla="*/ 2338090 w 8387961"/>
                <a:gd name="connsiteY2147" fmla="*/ 3334985 h 3980066"/>
                <a:gd name="connsiteX2148" fmla="*/ 2328056 w 8387961"/>
                <a:gd name="connsiteY2148" fmla="*/ 3353379 h 3980066"/>
                <a:gd name="connsiteX2149" fmla="*/ 2323039 w 8387961"/>
                <a:gd name="connsiteY2149" fmla="*/ 3333313 h 3980066"/>
                <a:gd name="connsiteX2150" fmla="*/ 2324712 w 8387961"/>
                <a:gd name="connsiteY2150" fmla="*/ 3319936 h 3980066"/>
                <a:gd name="connsiteX2151" fmla="*/ 2297959 w 8387961"/>
                <a:gd name="connsiteY2151" fmla="*/ 3299870 h 3980066"/>
                <a:gd name="connsiteX2152" fmla="*/ 2271201 w 8387961"/>
                <a:gd name="connsiteY2152" fmla="*/ 3279804 h 3980066"/>
                <a:gd name="connsiteX2153" fmla="*/ 2254484 w 8387961"/>
                <a:gd name="connsiteY2153" fmla="*/ 3269771 h 3980066"/>
                <a:gd name="connsiteX2154" fmla="*/ 2247792 w 8387961"/>
                <a:gd name="connsiteY2154" fmla="*/ 3269771 h 3980066"/>
                <a:gd name="connsiteX2155" fmla="*/ 2216017 w 8387961"/>
                <a:gd name="connsiteY2155" fmla="*/ 3244688 h 3980066"/>
                <a:gd name="connsiteX2156" fmla="*/ 2202841 w 8387961"/>
                <a:gd name="connsiteY2156" fmla="*/ 3246336 h 3980066"/>
                <a:gd name="connsiteX2157" fmla="*/ 2201474 w 8387961"/>
                <a:gd name="connsiteY2157" fmla="*/ 3248040 h 3980066"/>
                <a:gd name="connsiteX2158" fmla="*/ 2214425 w 8387961"/>
                <a:gd name="connsiteY2158" fmla="*/ 3246420 h 3980066"/>
                <a:gd name="connsiteX2159" fmla="*/ 2246053 w 8387961"/>
                <a:gd name="connsiteY2159" fmla="*/ 3271410 h 3980066"/>
                <a:gd name="connsiteX2160" fmla="*/ 2252721 w 8387961"/>
                <a:gd name="connsiteY2160" fmla="*/ 3271410 h 3980066"/>
                <a:gd name="connsiteX2161" fmla="*/ 2269364 w 8387961"/>
                <a:gd name="connsiteY2161" fmla="*/ 3281406 h 3980066"/>
                <a:gd name="connsiteX2162" fmla="*/ 2296005 w 8387961"/>
                <a:gd name="connsiteY2162" fmla="*/ 3301397 h 3980066"/>
                <a:gd name="connsiteX2163" fmla="*/ 2322645 w 8387961"/>
                <a:gd name="connsiteY2163" fmla="*/ 3321389 h 3980066"/>
                <a:gd name="connsiteX2164" fmla="*/ 2320984 w 8387961"/>
                <a:gd name="connsiteY2164" fmla="*/ 3334716 h 3980066"/>
                <a:gd name="connsiteX2165" fmla="*/ 2325975 w 8387961"/>
                <a:gd name="connsiteY2165" fmla="*/ 3354708 h 3980066"/>
                <a:gd name="connsiteX2166" fmla="*/ 2309328 w 8387961"/>
                <a:gd name="connsiteY2166" fmla="*/ 3381363 h 3980066"/>
                <a:gd name="connsiteX2167" fmla="*/ 2284349 w 8387961"/>
                <a:gd name="connsiteY2167" fmla="*/ 3388027 h 3980066"/>
                <a:gd name="connsiteX2168" fmla="*/ 2242723 w 8387961"/>
                <a:gd name="connsiteY2168" fmla="*/ 3383029 h 3980066"/>
                <a:gd name="connsiteX2169" fmla="*/ 2211087 w 8387961"/>
                <a:gd name="connsiteY2169" fmla="*/ 3368036 h 3980066"/>
                <a:gd name="connsiteX2170" fmla="*/ 2199432 w 8387961"/>
                <a:gd name="connsiteY2170" fmla="*/ 3344712 h 3980066"/>
                <a:gd name="connsiteX2171" fmla="*/ 2199658 w 8387961"/>
                <a:gd name="connsiteY2171" fmla="*/ 3341569 h 3980066"/>
                <a:gd name="connsiteX2172" fmla="*/ 2196122 w 8387961"/>
                <a:gd name="connsiteY2172" fmla="*/ 3348622 h 3980066"/>
                <a:gd name="connsiteX2173" fmla="*/ 2206169 w 8387961"/>
                <a:gd name="connsiteY2173" fmla="*/ 3383683 h 3980066"/>
                <a:gd name="connsiteX2174" fmla="*/ 2241299 w 8387961"/>
                <a:gd name="connsiteY2174" fmla="*/ 3407056 h 3980066"/>
                <a:gd name="connsiteX2175" fmla="*/ 2244644 w 8387961"/>
                <a:gd name="connsiteY2175" fmla="*/ 3427091 h 3980066"/>
                <a:gd name="connsiteX2176" fmla="*/ 2261376 w 8387961"/>
                <a:gd name="connsiteY2176" fmla="*/ 3438778 h 3980066"/>
                <a:gd name="connsiteX2177" fmla="*/ 2251337 w 8387961"/>
                <a:gd name="connsiteY2177" fmla="*/ 3465490 h 3980066"/>
                <a:gd name="connsiteX2178" fmla="*/ 2241299 w 8387961"/>
                <a:gd name="connsiteY2178" fmla="*/ 3492203 h 3980066"/>
                <a:gd name="connsiteX2179" fmla="*/ 2219552 w 8387961"/>
                <a:gd name="connsiteY2179" fmla="*/ 3497212 h 3980066"/>
                <a:gd name="connsiteX2180" fmla="*/ 2199469 w 8387961"/>
                <a:gd name="connsiteY2180" fmla="*/ 3503890 h 3980066"/>
                <a:gd name="connsiteX2181" fmla="*/ 2176045 w 8387961"/>
                <a:gd name="connsiteY2181" fmla="*/ 3507229 h 3980066"/>
                <a:gd name="connsiteX2182" fmla="*/ 2155966 w 8387961"/>
                <a:gd name="connsiteY2182" fmla="*/ 3513907 h 3980066"/>
                <a:gd name="connsiteX2183" fmla="*/ 2135892 w 8387961"/>
                <a:gd name="connsiteY2183" fmla="*/ 3512238 h 3980066"/>
                <a:gd name="connsiteX2184" fmla="*/ 2142584 w 8387961"/>
                <a:gd name="connsiteY2184" fmla="*/ 3522255 h 3980066"/>
                <a:gd name="connsiteX2185" fmla="*/ 2149275 w 8387961"/>
                <a:gd name="connsiteY2185" fmla="*/ 3558985 h 3980066"/>
                <a:gd name="connsiteX2186" fmla="*/ 2142584 w 8387961"/>
                <a:gd name="connsiteY2186" fmla="*/ 3574011 h 3980066"/>
                <a:gd name="connsiteX2187" fmla="*/ 2109127 w 8387961"/>
                <a:gd name="connsiteY2187" fmla="*/ 3572341 h 3980066"/>
                <a:gd name="connsiteX2188" fmla="*/ 2082349 w 8387961"/>
                <a:gd name="connsiteY2188" fmla="*/ 3567333 h 3980066"/>
                <a:gd name="connsiteX2189" fmla="*/ 2102426 w 8387961"/>
                <a:gd name="connsiteY2189" fmla="*/ 3607402 h 3980066"/>
                <a:gd name="connsiteX2190" fmla="*/ 2110799 w 8387961"/>
                <a:gd name="connsiteY2190" fmla="*/ 3612410 h 3980066"/>
                <a:gd name="connsiteX2191" fmla="*/ 2120836 w 8387961"/>
                <a:gd name="connsiteY2191" fmla="*/ 3609071 h 3980066"/>
                <a:gd name="connsiteX2192" fmla="*/ 2125855 w 8387961"/>
                <a:gd name="connsiteY2192" fmla="*/ 3604063 h 3980066"/>
                <a:gd name="connsiteX2193" fmla="*/ 2134219 w 8387961"/>
                <a:gd name="connsiteY2193" fmla="*/ 3625767 h 3980066"/>
                <a:gd name="connsiteX2194" fmla="*/ 2120836 w 8387961"/>
                <a:gd name="connsiteY2194" fmla="*/ 3622428 h 3980066"/>
                <a:gd name="connsiteX2195" fmla="*/ 2102426 w 8387961"/>
                <a:gd name="connsiteY2195" fmla="*/ 3622428 h 3980066"/>
                <a:gd name="connsiteX2196" fmla="*/ 2122510 w 8387961"/>
                <a:gd name="connsiteY2196" fmla="*/ 3632445 h 3980066"/>
                <a:gd name="connsiteX2197" fmla="*/ 2104098 w 8387961"/>
                <a:gd name="connsiteY2197" fmla="*/ 3654149 h 3980066"/>
                <a:gd name="connsiteX2198" fmla="*/ 2105772 w 8387961"/>
                <a:gd name="connsiteY2198" fmla="*/ 3677523 h 3980066"/>
                <a:gd name="connsiteX2199" fmla="*/ 2102426 w 8387961"/>
                <a:gd name="connsiteY2199" fmla="*/ 3692548 h 3980066"/>
                <a:gd name="connsiteX2200" fmla="*/ 2075655 w 8387961"/>
                <a:gd name="connsiteY2200" fmla="*/ 3704235 h 3980066"/>
                <a:gd name="connsiteX2201" fmla="*/ 2075655 w 8387961"/>
                <a:gd name="connsiteY2201" fmla="*/ 3732618 h 3980066"/>
                <a:gd name="connsiteX2202" fmla="*/ 2114145 w 8387961"/>
                <a:gd name="connsiteY2202" fmla="*/ 3752652 h 3980066"/>
                <a:gd name="connsiteX2203" fmla="*/ 2129201 w 8387961"/>
                <a:gd name="connsiteY2203" fmla="*/ 3759330 h 3980066"/>
                <a:gd name="connsiteX2204" fmla="*/ 2120836 w 8387961"/>
                <a:gd name="connsiteY2204" fmla="*/ 3774356 h 3980066"/>
                <a:gd name="connsiteX2205" fmla="*/ 2129201 w 8387961"/>
                <a:gd name="connsiteY2205" fmla="*/ 3777695 h 3980066"/>
                <a:gd name="connsiteX2206" fmla="*/ 2115818 w 8387961"/>
                <a:gd name="connsiteY2206" fmla="*/ 3796060 h 3980066"/>
                <a:gd name="connsiteX2207" fmla="*/ 2102426 w 8387961"/>
                <a:gd name="connsiteY2207" fmla="*/ 3816095 h 3980066"/>
                <a:gd name="connsiteX2208" fmla="*/ 2100752 w 8387961"/>
                <a:gd name="connsiteY2208" fmla="*/ 3837799 h 3980066"/>
                <a:gd name="connsiteX2209" fmla="*/ 2089041 w 8387961"/>
                <a:gd name="connsiteY2209" fmla="*/ 3834460 h 3980066"/>
                <a:gd name="connsiteX2210" fmla="*/ 2082349 w 8387961"/>
                <a:gd name="connsiteY2210" fmla="*/ 3836129 h 3980066"/>
                <a:gd name="connsiteX2211" fmla="*/ 2094060 w 8387961"/>
                <a:gd name="connsiteY2211" fmla="*/ 3842808 h 3980066"/>
                <a:gd name="connsiteX2212" fmla="*/ 2084021 w 8387961"/>
                <a:gd name="connsiteY2212" fmla="*/ 3857833 h 3980066"/>
                <a:gd name="connsiteX2213" fmla="*/ 2084021 w 8387961"/>
                <a:gd name="connsiteY2213" fmla="*/ 3866181 h 3980066"/>
                <a:gd name="connsiteX2214" fmla="*/ 2095733 w 8387961"/>
                <a:gd name="connsiteY2214" fmla="*/ 3884546 h 3980066"/>
                <a:gd name="connsiteX2215" fmla="*/ 2090714 w 8387961"/>
                <a:gd name="connsiteY2215" fmla="*/ 3882877 h 3980066"/>
                <a:gd name="connsiteX2216" fmla="*/ 2105772 w 8387961"/>
                <a:gd name="connsiteY2216" fmla="*/ 3889555 h 3980066"/>
                <a:gd name="connsiteX2217" fmla="*/ 2120836 w 8387961"/>
                <a:gd name="connsiteY2217" fmla="*/ 3906250 h 3980066"/>
                <a:gd name="connsiteX2218" fmla="*/ 2080674 w 8387961"/>
                <a:gd name="connsiteY2218" fmla="*/ 3894563 h 3980066"/>
                <a:gd name="connsiteX2219" fmla="*/ 2033831 w 8387961"/>
                <a:gd name="connsiteY2219" fmla="*/ 3889555 h 3980066"/>
                <a:gd name="connsiteX2220" fmla="*/ 2020449 w 8387961"/>
                <a:gd name="connsiteY2220" fmla="*/ 3876198 h 3980066"/>
                <a:gd name="connsiteX2221" fmla="*/ 2005383 w 8387961"/>
                <a:gd name="connsiteY2221" fmla="*/ 3854494 h 3980066"/>
                <a:gd name="connsiteX2222" fmla="*/ 1991997 w 8387961"/>
                <a:gd name="connsiteY2222" fmla="*/ 3856164 h 3980066"/>
                <a:gd name="connsiteX2223" fmla="*/ 1968573 w 8387961"/>
                <a:gd name="connsiteY2223" fmla="*/ 3816095 h 3980066"/>
                <a:gd name="connsiteX2224" fmla="*/ 1983631 w 8387961"/>
                <a:gd name="connsiteY2224" fmla="*/ 3799399 h 3980066"/>
                <a:gd name="connsiteX2225" fmla="*/ 1980285 w 8387961"/>
                <a:gd name="connsiteY2225" fmla="*/ 3759330 h 3980066"/>
                <a:gd name="connsiteX2226" fmla="*/ 1973593 w 8387961"/>
                <a:gd name="connsiteY2226" fmla="*/ 3725939 h 3980066"/>
                <a:gd name="connsiteX2227" fmla="*/ 1971919 w 8387961"/>
                <a:gd name="connsiteY2227" fmla="*/ 3704235 h 3980066"/>
                <a:gd name="connsiteX2228" fmla="*/ 1965227 w 8387961"/>
                <a:gd name="connsiteY2228" fmla="*/ 3689209 h 3980066"/>
                <a:gd name="connsiteX2229" fmla="*/ 1955442 w 8387961"/>
                <a:gd name="connsiteY2229" fmla="*/ 3684323 h 3980066"/>
                <a:gd name="connsiteX2230" fmla="*/ 1953607 w 8387961"/>
                <a:gd name="connsiteY2230" fmla="*/ 3685061 h 3980066"/>
                <a:gd name="connsiteX2231" fmla="*/ 1963572 w 8387961"/>
                <a:gd name="connsiteY2231" fmla="*/ 3690090 h 3980066"/>
                <a:gd name="connsiteX2232" fmla="*/ 1970218 w 8387961"/>
                <a:gd name="connsiteY2232" fmla="*/ 3705178 h 3980066"/>
                <a:gd name="connsiteX2233" fmla="*/ 1971882 w 8387961"/>
                <a:gd name="connsiteY2233" fmla="*/ 3726972 h 3980066"/>
                <a:gd name="connsiteX2234" fmla="*/ 1978524 w 8387961"/>
                <a:gd name="connsiteY2234" fmla="*/ 3760500 h 3980066"/>
                <a:gd name="connsiteX2235" fmla="*/ 1981848 w 8387961"/>
                <a:gd name="connsiteY2235" fmla="*/ 3800735 h 3980066"/>
                <a:gd name="connsiteX2236" fmla="*/ 1966900 w 8387961"/>
                <a:gd name="connsiteY2236" fmla="*/ 3817499 h 3980066"/>
                <a:gd name="connsiteX2237" fmla="*/ 1990157 w 8387961"/>
                <a:gd name="connsiteY2237" fmla="*/ 3857734 h 3980066"/>
                <a:gd name="connsiteX2238" fmla="*/ 2003450 w 8387961"/>
                <a:gd name="connsiteY2238" fmla="*/ 3856057 h 3980066"/>
                <a:gd name="connsiteX2239" fmla="*/ 2018398 w 8387961"/>
                <a:gd name="connsiteY2239" fmla="*/ 3877851 h 3980066"/>
                <a:gd name="connsiteX2240" fmla="*/ 2031690 w 8387961"/>
                <a:gd name="connsiteY2240" fmla="*/ 3891262 h 3980066"/>
                <a:gd name="connsiteX2241" fmla="*/ 2078209 w 8387961"/>
                <a:gd name="connsiteY2241" fmla="*/ 3896291 h 3980066"/>
                <a:gd name="connsiteX2242" fmla="*/ 2118084 w 8387961"/>
                <a:gd name="connsiteY2242" fmla="*/ 3908026 h 3980066"/>
                <a:gd name="connsiteX2243" fmla="*/ 2093162 w 8387961"/>
                <a:gd name="connsiteY2243" fmla="*/ 3904674 h 3980066"/>
                <a:gd name="connsiteX2244" fmla="*/ 2073225 w 8387961"/>
                <a:gd name="connsiteY2244" fmla="*/ 3914732 h 3980066"/>
                <a:gd name="connsiteX2245" fmla="*/ 2071569 w 8387961"/>
                <a:gd name="connsiteY2245" fmla="*/ 3949937 h 3980066"/>
                <a:gd name="connsiteX2246" fmla="*/ 2038335 w 8387961"/>
                <a:gd name="connsiteY2246" fmla="*/ 3936526 h 3980066"/>
                <a:gd name="connsiteX2247" fmla="*/ 2023382 w 8387961"/>
                <a:gd name="connsiteY2247" fmla="*/ 3931496 h 3980066"/>
                <a:gd name="connsiteX2248" fmla="*/ 2028367 w 8387961"/>
                <a:gd name="connsiteY2248" fmla="*/ 3929820 h 3980066"/>
                <a:gd name="connsiteX2249" fmla="*/ 2023382 w 8387961"/>
                <a:gd name="connsiteY2249" fmla="*/ 3926467 h 3980066"/>
                <a:gd name="connsiteX2250" fmla="*/ 2011760 w 8387961"/>
                <a:gd name="connsiteY2250" fmla="*/ 3919761 h 3980066"/>
                <a:gd name="connsiteX2251" fmla="*/ 2008432 w 8387961"/>
                <a:gd name="connsiteY2251" fmla="*/ 3914732 h 3980066"/>
                <a:gd name="connsiteX2252" fmla="*/ 1998468 w 8387961"/>
                <a:gd name="connsiteY2252" fmla="*/ 3899644 h 3980066"/>
                <a:gd name="connsiteX2253" fmla="*/ 1996800 w 8387961"/>
                <a:gd name="connsiteY2253" fmla="*/ 3894615 h 3980066"/>
                <a:gd name="connsiteX2254" fmla="*/ 1983509 w 8387961"/>
                <a:gd name="connsiteY2254" fmla="*/ 3881204 h 3980066"/>
                <a:gd name="connsiteX2255" fmla="*/ 1991815 w 8387961"/>
                <a:gd name="connsiteY2255" fmla="*/ 3886233 h 3980066"/>
                <a:gd name="connsiteX2256" fmla="*/ 1986831 w 8387961"/>
                <a:gd name="connsiteY2256" fmla="*/ 3877851 h 3980066"/>
                <a:gd name="connsiteX2257" fmla="*/ 1973540 w 8387961"/>
                <a:gd name="connsiteY2257" fmla="*/ 3869469 h 3980066"/>
                <a:gd name="connsiteX2258" fmla="*/ 1973540 w 8387961"/>
                <a:gd name="connsiteY2258" fmla="*/ 3864439 h 3980066"/>
                <a:gd name="connsiteX2259" fmla="*/ 1966900 w 8387961"/>
                <a:gd name="connsiteY2259" fmla="*/ 3851028 h 3980066"/>
                <a:gd name="connsiteX2260" fmla="*/ 1951942 w 8387961"/>
                <a:gd name="connsiteY2260" fmla="*/ 3845998 h 3980066"/>
                <a:gd name="connsiteX2261" fmla="*/ 1958590 w 8387961"/>
                <a:gd name="connsiteY2261" fmla="*/ 3840969 h 3980066"/>
                <a:gd name="connsiteX2262" fmla="*/ 1951942 w 8387961"/>
                <a:gd name="connsiteY2262" fmla="*/ 3830911 h 3980066"/>
                <a:gd name="connsiteX2263" fmla="*/ 1951942 w 8387961"/>
                <a:gd name="connsiteY2263" fmla="*/ 3819176 h 3980066"/>
                <a:gd name="connsiteX2264" fmla="*/ 1940314 w 8387961"/>
                <a:gd name="connsiteY2264" fmla="*/ 3799058 h 3980066"/>
                <a:gd name="connsiteX2265" fmla="*/ 1928682 w 8387961"/>
                <a:gd name="connsiteY2265" fmla="*/ 3780618 h 3980066"/>
                <a:gd name="connsiteX2266" fmla="*/ 1936989 w 8387961"/>
                <a:gd name="connsiteY2266" fmla="*/ 3783971 h 3980066"/>
                <a:gd name="connsiteX2267" fmla="*/ 1951942 w 8387961"/>
                <a:gd name="connsiteY2267" fmla="*/ 3787323 h 3980066"/>
                <a:gd name="connsiteX2268" fmla="*/ 1951942 w 8387961"/>
                <a:gd name="connsiteY2268" fmla="*/ 3778941 h 3980066"/>
                <a:gd name="connsiteX2269" fmla="*/ 1943642 w 8387961"/>
                <a:gd name="connsiteY2269" fmla="*/ 3768883 h 3980066"/>
                <a:gd name="connsiteX2270" fmla="*/ 1941973 w 8387961"/>
                <a:gd name="connsiteY2270" fmla="*/ 3770559 h 3980066"/>
                <a:gd name="connsiteX2271" fmla="*/ 1920384 w 8387961"/>
                <a:gd name="connsiteY2271" fmla="*/ 3773912 h 3980066"/>
                <a:gd name="connsiteX2272" fmla="*/ 1932005 w 8387961"/>
                <a:gd name="connsiteY2272" fmla="*/ 3768883 h 3980066"/>
                <a:gd name="connsiteX2273" fmla="*/ 1923697 w 8387961"/>
                <a:gd name="connsiteY2273" fmla="*/ 3763853 h 3980066"/>
                <a:gd name="connsiteX2274" fmla="*/ 1932005 w 8387961"/>
                <a:gd name="connsiteY2274" fmla="*/ 3757148 h 3980066"/>
                <a:gd name="connsiteX2275" fmla="*/ 1913730 w 8387961"/>
                <a:gd name="connsiteY2275" fmla="*/ 3743736 h 3980066"/>
                <a:gd name="connsiteX2276" fmla="*/ 1900438 w 8387961"/>
                <a:gd name="connsiteY2276" fmla="*/ 3738707 h 3980066"/>
                <a:gd name="connsiteX2277" fmla="*/ 1892131 w 8387961"/>
                <a:gd name="connsiteY2277" fmla="*/ 3743736 h 3980066"/>
                <a:gd name="connsiteX2278" fmla="*/ 1888816 w 8387961"/>
                <a:gd name="connsiteY2278" fmla="*/ 3745413 h 3980066"/>
                <a:gd name="connsiteX2279" fmla="*/ 1900438 w 8387961"/>
                <a:gd name="connsiteY2279" fmla="*/ 3720266 h 3980066"/>
                <a:gd name="connsiteX2280" fmla="*/ 1908746 w 8387961"/>
                <a:gd name="connsiteY2280" fmla="*/ 3718590 h 3980066"/>
                <a:gd name="connsiteX2281" fmla="*/ 1913730 w 8387961"/>
                <a:gd name="connsiteY2281" fmla="*/ 3718590 h 3980066"/>
                <a:gd name="connsiteX2282" fmla="*/ 1912074 w 8387961"/>
                <a:gd name="connsiteY2282" fmla="*/ 3728648 h 3980066"/>
                <a:gd name="connsiteX2283" fmla="*/ 1922039 w 8387961"/>
                <a:gd name="connsiteY2283" fmla="*/ 3728648 h 3980066"/>
                <a:gd name="connsiteX2284" fmla="*/ 1923697 w 8387961"/>
                <a:gd name="connsiteY2284" fmla="*/ 3737030 h 3980066"/>
                <a:gd name="connsiteX2285" fmla="*/ 1932005 w 8387961"/>
                <a:gd name="connsiteY2285" fmla="*/ 3725295 h 3980066"/>
                <a:gd name="connsiteX2286" fmla="*/ 1930349 w 8387961"/>
                <a:gd name="connsiteY2286" fmla="*/ 3726972 h 3980066"/>
                <a:gd name="connsiteX2287" fmla="*/ 1928682 w 8387961"/>
                <a:gd name="connsiteY2287" fmla="*/ 3713560 h 3980066"/>
                <a:gd name="connsiteX2288" fmla="*/ 1928682 w 8387961"/>
                <a:gd name="connsiteY2288" fmla="*/ 3710208 h 3980066"/>
                <a:gd name="connsiteX2289" fmla="*/ 1928682 w 8387961"/>
                <a:gd name="connsiteY2289" fmla="*/ 3703502 h 3980066"/>
                <a:gd name="connsiteX2290" fmla="*/ 1933666 w 8387961"/>
                <a:gd name="connsiteY2290" fmla="*/ 3703502 h 3980066"/>
                <a:gd name="connsiteX2291" fmla="*/ 1923697 w 8387961"/>
                <a:gd name="connsiteY2291" fmla="*/ 3696796 h 3980066"/>
                <a:gd name="connsiteX2292" fmla="*/ 1932005 w 8387961"/>
                <a:gd name="connsiteY2292" fmla="*/ 3676679 h 3980066"/>
                <a:gd name="connsiteX2293" fmla="*/ 1918713 w 8387961"/>
                <a:gd name="connsiteY2293" fmla="*/ 3664944 h 3980066"/>
                <a:gd name="connsiteX2294" fmla="*/ 1918713 w 8387961"/>
                <a:gd name="connsiteY2294" fmla="*/ 3654885 h 3980066"/>
                <a:gd name="connsiteX2295" fmla="*/ 1917056 w 8387961"/>
                <a:gd name="connsiteY2295" fmla="*/ 3634768 h 3980066"/>
                <a:gd name="connsiteX2296" fmla="*/ 1913730 w 8387961"/>
                <a:gd name="connsiteY2296" fmla="*/ 3616327 h 3980066"/>
                <a:gd name="connsiteX2297" fmla="*/ 1912074 w 8387961"/>
                <a:gd name="connsiteY2297" fmla="*/ 3607945 h 3980066"/>
                <a:gd name="connsiteX2298" fmla="*/ 1917056 w 8387961"/>
                <a:gd name="connsiteY2298" fmla="*/ 3609622 h 3980066"/>
                <a:gd name="connsiteX2299" fmla="*/ 1908746 w 8387961"/>
                <a:gd name="connsiteY2299" fmla="*/ 3602916 h 3980066"/>
                <a:gd name="connsiteX2300" fmla="*/ 1912074 w 8387961"/>
                <a:gd name="connsiteY2300" fmla="*/ 3586152 h 3980066"/>
                <a:gd name="connsiteX2301" fmla="*/ 1903763 w 8387961"/>
                <a:gd name="connsiteY2301" fmla="*/ 3589505 h 3980066"/>
                <a:gd name="connsiteX2302" fmla="*/ 1893798 w 8387961"/>
                <a:gd name="connsiteY2302" fmla="*/ 3589505 h 3980066"/>
                <a:gd name="connsiteX2303" fmla="*/ 1884072 w 8387961"/>
                <a:gd name="connsiteY2303" fmla="*/ 3596043 h 3980066"/>
                <a:gd name="connsiteX2304" fmla="*/ 1894698 w 8387961"/>
                <a:gd name="connsiteY2304" fmla="*/ 3608186 h 3980066"/>
                <a:gd name="connsiteX2305" fmla="*/ 1891262 w 8387961"/>
                <a:gd name="connsiteY2305" fmla="*/ 3611629 h 3980066"/>
                <a:gd name="connsiteX2306" fmla="*/ 1898140 w 8387961"/>
                <a:gd name="connsiteY2306" fmla="*/ 3628846 h 3980066"/>
                <a:gd name="connsiteX2307" fmla="*/ 1894698 w 8387961"/>
                <a:gd name="connsiteY2307" fmla="*/ 3637454 h 3980066"/>
                <a:gd name="connsiteX2308" fmla="*/ 1884373 w 8387961"/>
                <a:gd name="connsiteY2308" fmla="*/ 3642619 h 3980066"/>
                <a:gd name="connsiteX2309" fmla="*/ 1874037 w 8387961"/>
                <a:gd name="connsiteY2309" fmla="*/ 3601299 h 3980066"/>
                <a:gd name="connsiteX2310" fmla="*/ 1882646 w 8387961"/>
                <a:gd name="connsiteY2310" fmla="*/ 3594412 h 3980066"/>
                <a:gd name="connsiteX2311" fmla="*/ 1883671 w 8387961"/>
                <a:gd name="connsiteY2311" fmla="*/ 3595582 h 3980066"/>
                <a:gd name="connsiteX2312" fmla="*/ 1882162 w 8387961"/>
                <a:gd name="connsiteY2312" fmla="*/ 3589505 h 3980066"/>
                <a:gd name="connsiteX2313" fmla="*/ 1867213 w 8387961"/>
                <a:gd name="connsiteY2313" fmla="*/ 3566034 h 3980066"/>
                <a:gd name="connsiteX2314" fmla="*/ 1870540 w 8387961"/>
                <a:gd name="connsiteY2314" fmla="*/ 3537535 h 3980066"/>
                <a:gd name="connsiteX2315" fmla="*/ 1863887 w 8387961"/>
                <a:gd name="connsiteY2315" fmla="*/ 3509036 h 3980066"/>
                <a:gd name="connsiteX2316" fmla="*/ 1853920 w 8387961"/>
                <a:gd name="connsiteY2316" fmla="*/ 3483889 h 3980066"/>
                <a:gd name="connsiteX2317" fmla="*/ 1847273 w 8387961"/>
                <a:gd name="connsiteY2317" fmla="*/ 3458743 h 3980066"/>
                <a:gd name="connsiteX2318" fmla="*/ 1852265 w 8387961"/>
                <a:gd name="connsiteY2318" fmla="*/ 3448684 h 3980066"/>
                <a:gd name="connsiteX2319" fmla="*/ 1853920 w 8387961"/>
                <a:gd name="connsiteY2319" fmla="*/ 3421861 h 3980066"/>
                <a:gd name="connsiteX2320" fmla="*/ 1857248 w 8387961"/>
                <a:gd name="connsiteY2320" fmla="*/ 3395038 h 3980066"/>
                <a:gd name="connsiteX2321" fmla="*/ 1860564 w 8387961"/>
                <a:gd name="connsiteY2321" fmla="*/ 3368216 h 3980066"/>
                <a:gd name="connsiteX2322" fmla="*/ 1862230 w 8387961"/>
                <a:gd name="connsiteY2322" fmla="*/ 3341393 h 3980066"/>
                <a:gd name="connsiteX2323" fmla="*/ 1860564 w 8387961"/>
                <a:gd name="connsiteY2323" fmla="*/ 3317923 h 3980066"/>
                <a:gd name="connsiteX2324" fmla="*/ 1857248 w 8387961"/>
                <a:gd name="connsiteY2324" fmla="*/ 3296129 h 3980066"/>
                <a:gd name="connsiteX2325" fmla="*/ 1852265 w 8387961"/>
                <a:gd name="connsiteY2325" fmla="*/ 3274335 h 3980066"/>
                <a:gd name="connsiteX2326" fmla="*/ 1847273 w 8387961"/>
                <a:gd name="connsiteY2326" fmla="*/ 3250865 h 3980066"/>
                <a:gd name="connsiteX2327" fmla="*/ 1847273 w 8387961"/>
                <a:gd name="connsiteY2327" fmla="*/ 3222366 h 3980066"/>
                <a:gd name="connsiteX2328" fmla="*/ 1843955 w 8387961"/>
                <a:gd name="connsiteY2328" fmla="*/ 3202249 h 3980066"/>
                <a:gd name="connsiteX2329" fmla="*/ 1843955 w 8387961"/>
                <a:gd name="connsiteY2329" fmla="*/ 3160338 h 3980066"/>
                <a:gd name="connsiteX2330" fmla="*/ 1847273 w 8387961"/>
                <a:gd name="connsiteY2330" fmla="*/ 3116751 h 3980066"/>
                <a:gd name="connsiteX2331" fmla="*/ 1843955 w 8387961"/>
                <a:gd name="connsiteY2331" fmla="*/ 3084899 h 3980066"/>
                <a:gd name="connsiteX2332" fmla="*/ 1840627 w 8387961"/>
                <a:gd name="connsiteY2332" fmla="*/ 3046341 h 3980066"/>
                <a:gd name="connsiteX2333" fmla="*/ 1840627 w 8387961"/>
                <a:gd name="connsiteY2333" fmla="*/ 3032929 h 3980066"/>
                <a:gd name="connsiteX2334" fmla="*/ 1842289 w 8387961"/>
                <a:gd name="connsiteY2334" fmla="*/ 3001077 h 3980066"/>
                <a:gd name="connsiteX2335" fmla="*/ 1842289 w 8387961"/>
                <a:gd name="connsiteY2335" fmla="*/ 2969225 h 3980066"/>
                <a:gd name="connsiteX2336" fmla="*/ 1833990 w 8387961"/>
                <a:gd name="connsiteY2336" fmla="*/ 2930667 h 3980066"/>
                <a:gd name="connsiteX2337" fmla="*/ 1827371 w 8387961"/>
                <a:gd name="connsiteY2337" fmla="*/ 2892287 h 3980066"/>
                <a:gd name="connsiteX2338" fmla="*/ 1827018 w 8387961"/>
                <a:gd name="connsiteY2338" fmla="*/ 2892403 h 3980066"/>
                <a:gd name="connsiteX2339" fmla="*/ 1810288 w 8387961"/>
                <a:gd name="connsiteY2339" fmla="*/ 2879033 h 3980066"/>
                <a:gd name="connsiteX2340" fmla="*/ 1798576 w 8387961"/>
                <a:gd name="connsiteY2340" fmla="*/ 2862320 h 3980066"/>
                <a:gd name="connsiteX2341" fmla="*/ 1776827 w 8387961"/>
                <a:gd name="connsiteY2341" fmla="*/ 2850621 h 3980066"/>
                <a:gd name="connsiteX2342" fmla="*/ 1751733 w 8387961"/>
                <a:gd name="connsiteY2342" fmla="*/ 2835579 h 3980066"/>
                <a:gd name="connsiteX2343" fmla="*/ 1729986 w 8387961"/>
                <a:gd name="connsiteY2343" fmla="*/ 2823880 h 3980066"/>
                <a:gd name="connsiteX2344" fmla="*/ 1708239 w 8387961"/>
                <a:gd name="connsiteY2344" fmla="*/ 2810509 h 3980066"/>
                <a:gd name="connsiteX2345" fmla="*/ 1683137 w 8387961"/>
                <a:gd name="connsiteY2345" fmla="*/ 2788782 h 3980066"/>
                <a:gd name="connsiteX2346" fmla="*/ 1661388 w 8387961"/>
                <a:gd name="connsiteY2346" fmla="*/ 2765384 h 3980066"/>
                <a:gd name="connsiteX2347" fmla="*/ 1661388 w 8387961"/>
                <a:gd name="connsiteY2347" fmla="*/ 2750343 h 3980066"/>
                <a:gd name="connsiteX2348" fmla="*/ 1642985 w 8387961"/>
                <a:gd name="connsiteY2348" fmla="*/ 2718588 h 3980066"/>
                <a:gd name="connsiteX2349" fmla="*/ 1627926 w 8387961"/>
                <a:gd name="connsiteY2349" fmla="*/ 2683491 h 3980066"/>
                <a:gd name="connsiteX2350" fmla="*/ 1612870 w 8387961"/>
                <a:gd name="connsiteY2350" fmla="*/ 2663435 h 3980066"/>
                <a:gd name="connsiteX2351" fmla="*/ 1601159 w 8387961"/>
                <a:gd name="connsiteY2351" fmla="*/ 2643379 h 3980066"/>
                <a:gd name="connsiteX2352" fmla="*/ 1591123 w 8387961"/>
                <a:gd name="connsiteY2352" fmla="*/ 2621652 h 3980066"/>
                <a:gd name="connsiteX2353" fmla="*/ 1579413 w 8387961"/>
                <a:gd name="connsiteY2353" fmla="*/ 2599925 h 3980066"/>
                <a:gd name="connsiteX2354" fmla="*/ 1569376 w 8387961"/>
                <a:gd name="connsiteY2354" fmla="*/ 2578199 h 3980066"/>
                <a:gd name="connsiteX2355" fmla="*/ 1557666 w 8387961"/>
                <a:gd name="connsiteY2355" fmla="*/ 2554800 h 3980066"/>
                <a:gd name="connsiteX2356" fmla="*/ 1539265 w 8387961"/>
                <a:gd name="connsiteY2356" fmla="*/ 2539759 h 3980066"/>
                <a:gd name="connsiteX2357" fmla="*/ 1519180 w 8387961"/>
                <a:gd name="connsiteY2357" fmla="*/ 2524717 h 3980066"/>
                <a:gd name="connsiteX2358" fmla="*/ 1520853 w 8387961"/>
                <a:gd name="connsiteY2358" fmla="*/ 2518032 h 3980066"/>
                <a:gd name="connsiteX2359" fmla="*/ 1512487 w 8387961"/>
                <a:gd name="connsiteY2359" fmla="*/ 2477921 h 3980066"/>
                <a:gd name="connsiteX2360" fmla="*/ 1525871 w 8387961"/>
                <a:gd name="connsiteY2360" fmla="*/ 2459536 h 3980066"/>
                <a:gd name="connsiteX2361" fmla="*/ 1537582 w 8387961"/>
                <a:gd name="connsiteY2361" fmla="*/ 2441152 h 3980066"/>
                <a:gd name="connsiteX2362" fmla="*/ 1539265 w 8387961"/>
                <a:gd name="connsiteY2362" fmla="*/ 2459536 h 3980066"/>
                <a:gd name="connsiteX2363" fmla="*/ 1532563 w 8387961"/>
                <a:gd name="connsiteY2363" fmla="*/ 2472907 h 3980066"/>
                <a:gd name="connsiteX2364" fmla="*/ 1542610 w 8387961"/>
                <a:gd name="connsiteY2364" fmla="*/ 2469564 h 3980066"/>
                <a:gd name="connsiteX2365" fmla="*/ 1571049 w 8387961"/>
                <a:gd name="connsiteY2365" fmla="*/ 2491291 h 3980066"/>
                <a:gd name="connsiteX2366" fmla="*/ 1572344 w 8387961"/>
                <a:gd name="connsiteY2366" fmla="*/ 2489477 h 3980066"/>
                <a:gd name="connsiteX2367" fmla="*/ 1544792 w 8387961"/>
                <a:gd name="connsiteY2367" fmla="*/ 2468209 h 3980066"/>
                <a:gd name="connsiteX2368" fmla="*/ 1534750 w 8387961"/>
                <a:gd name="connsiteY2368" fmla="*/ 2471589 h 3980066"/>
                <a:gd name="connsiteX2369" fmla="*/ 1541445 w 8387961"/>
                <a:gd name="connsiteY2369" fmla="*/ 2458070 h 3980066"/>
                <a:gd name="connsiteX2370" fmla="*/ 1539771 w 8387961"/>
                <a:gd name="connsiteY2370" fmla="*/ 2439482 h 3980066"/>
                <a:gd name="connsiteX2371" fmla="*/ 1549813 w 8387961"/>
                <a:gd name="connsiteY2371" fmla="*/ 2436102 h 3980066"/>
                <a:gd name="connsiteX2372" fmla="*/ 1549813 w 8387961"/>
                <a:gd name="connsiteY2372" fmla="*/ 2415824 h 3980066"/>
                <a:gd name="connsiteX2373" fmla="*/ 1548139 w 8387961"/>
                <a:gd name="connsiteY2373" fmla="*/ 2409064 h 3980066"/>
                <a:gd name="connsiteX2374" fmla="*/ 1541445 w 8387961"/>
                <a:gd name="connsiteY2374" fmla="*/ 2417513 h 3980066"/>
                <a:gd name="connsiteX2375" fmla="*/ 1523040 w 8387961"/>
                <a:gd name="connsiteY2375" fmla="*/ 2409064 h 3980066"/>
                <a:gd name="connsiteX2376" fmla="*/ 1528058 w 8387961"/>
                <a:gd name="connsiteY2376" fmla="*/ 2402305 h 3980066"/>
                <a:gd name="connsiteX2377" fmla="*/ 1523040 w 8387961"/>
                <a:gd name="connsiteY2377" fmla="*/ 2371887 h 3980066"/>
                <a:gd name="connsiteX2378" fmla="*/ 1534750 w 8387961"/>
                <a:gd name="connsiteY2378" fmla="*/ 2356679 h 3980066"/>
                <a:gd name="connsiteX2379" fmla="*/ 1538096 w 8387961"/>
                <a:gd name="connsiteY2379" fmla="*/ 2341470 h 3980066"/>
                <a:gd name="connsiteX2380" fmla="*/ 1543119 w 8387961"/>
                <a:gd name="connsiteY2380" fmla="*/ 2317812 h 3980066"/>
                <a:gd name="connsiteX2381" fmla="*/ 1568226 w 8387961"/>
                <a:gd name="connsiteY2381" fmla="*/ 2305983 h 3980066"/>
                <a:gd name="connsiteX2382" fmla="*/ 1575995 w 8387961"/>
                <a:gd name="connsiteY2382" fmla="*/ 2298141 h 3980066"/>
                <a:gd name="connsiteX2383" fmla="*/ 1572745 w 8387961"/>
                <a:gd name="connsiteY2383" fmla="*/ 2286866 h 3980066"/>
                <a:gd name="connsiteX2384" fmla="*/ 1581184 w 8387961"/>
                <a:gd name="connsiteY2384" fmla="*/ 2281847 h 3980066"/>
                <a:gd name="connsiteX2385" fmla="*/ 1587939 w 8387961"/>
                <a:gd name="connsiteY2385" fmla="*/ 2266787 h 3980066"/>
                <a:gd name="connsiteX2386" fmla="*/ 1603127 w 8387961"/>
                <a:gd name="connsiteY2386" fmla="*/ 2258421 h 3980066"/>
                <a:gd name="connsiteX2387" fmla="*/ 1621702 w 8387961"/>
                <a:gd name="connsiteY2387" fmla="*/ 2223282 h 3980066"/>
                <a:gd name="connsiteX2388" fmla="*/ 1618320 w 8387961"/>
                <a:gd name="connsiteY2388" fmla="*/ 2219935 h 3980066"/>
                <a:gd name="connsiteX2389" fmla="*/ 1616629 w 8387961"/>
                <a:gd name="connsiteY2389" fmla="*/ 2198182 h 3980066"/>
                <a:gd name="connsiteX2390" fmla="*/ 1613254 w 8387961"/>
                <a:gd name="connsiteY2390" fmla="*/ 2176430 h 3980066"/>
                <a:gd name="connsiteX2391" fmla="*/ 1620011 w 8387961"/>
                <a:gd name="connsiteY2391" fmla="*/ 2163044 h 3980066"/>
                <a:gd name="connsiteX2392" fmla="*/ 1613254 w 8387961"/>
                <a:gd name="connsiteY2392" fmla="*/ 2136271 h 3980066"/>
                <a:gd name="connsiteX2393" fmla="*/ 1606503 w 8387961"/>
                <a:gd name="connsiteY2393" fmla="*/ 2122885 h 3980066"/>
                <a:gd name="connsiteX2394" fmla="*/ 1607527 w 8387961"/>
                <a:gd name="connsiteY2394" fmla="*/ 2120516 h 3980066"/>
                <a:gd name="connsiteX2395" fmla="*/ 1602204 w 8387961"/>
                <a:gd name="connsiteY2395" fmla="*/ 2112433 h 3980066"/>
                <a:gd name="connsiteX2396" fmla="*/ 1598857 w 8387961"/>
                <a:gd name="connsiteY2396" fmla="*/ 2092096 h 3980066"/>
                <a:gd name="connsiteX2397" fmla="*/ 1608899 w 8387961"/>
                <a:gd name="connsiteY2397" fmla="*/ 2092096 h 3980066"/>
                <a:gd name="connsiteX2398" fmla="*/ 1605551 w 8387961"/>
                <a:gd name="connsiteY2398" fmla="*/ 2087012 h 3980066"/>
                <a:gd name="connsiteX2399" fmla="*/ 1598857 w 8387961"/>
                <a:gd name="connsiteY2399" fmla="*/ 2085317 h 3980066"/>
                <a:gd name="connsiteX2400" fmla="*/ 1590493 w 8387961"/>
                <a:gd name="connsiteY2400" fmla="*/ 2076843 h 3980066"/>
                <a:gd name="connsiteX2401" fmla="*/ 1572075 w 8387961"/>
                <a:gd name="connsiteY2401" fmla="*/ 2068369 h 3980066"/>
                <a:gd name="connsiteX2402" fmla="*/ 1563709 w 8387961"/>
                <a:gd name="connsiteY2402" fmla="*/ 2061590 h 3980066"/>
                <a:gd name="connsiteX2403" fmla="*/ 1563709 w 8387961"/>
                <a:gd name="connsiteY2403" fmla="*/ 2054811 h 3980066"/>
                <a:gd name="connsiteX2404" fmla="*/ 1588820 w 8387961"/>
                <a:gd name="connsiteY2404" fmla="*/ 2056506 h 3980066"/>
                <a:gd name="connsiteX2405" fmla="*/ 1605551 w 8387961"/>
                <a:gd name="connsiteY2405" fmla="*/ 2068369 h 3980066"/>
                <a:gd name="connsiteX2406" fmla="*/ 1623968 w 8387961"/>
                <a:gd name="connsiteY2406" fmla="*/ 2078538 h 3980066"/>
                <a:gd name="connsiteX2407" fmla="*/ 1623968 w 8387961"/>
                <a:gd name="connsiteY2407" fmla="*/ 2082194 h 3980066"/>
                <a:gd name="connsiteX2408" fmla="*/ 1628447 w 8387961"/>
                <a:gd name="connsiteY2408" fmla="*/ 2087746 h 3980066"/>
                <a:gd name="connsiteX2409" fmla="*/ 1631828 w 8387961"/>
                <a:gd name="connsiteY2409" fmla="*/ 2101132 h 3980066"/>
                <a:gd name="connsiteX2410" fmla="*/ 1636884 w 8387961"/>
                <a:gd name="connsiteY2410" fmla="*/ 2086073 h 3980066"/>
                <a:gd name="connsiteX2411" fmla="*/ 1667265 w 8387961"/>
                <a:gd name="connsiteY2411" fmla="*/ 2057627 h 3980066"/>
                <a:gd name="connsiteX2412" fmla="*/ 1668955 w 8387961"/>
                <a:gd name="connsiteY2412" fmla="*/ 2035874 h 3980066"/>
                <a:gd name="connsiteX2413" fmla="*/ 1689208 w 8387961"/>
                <a:gd name="connsiteY2413" fmla="*/ 2010775 h 3980066"/>
                <a:gd name="connsiteX2414" fmla="*/ 1702717 w 8387961"/>
                <a:gd name="connsiteY2414" fmla="*/ 2010775 h 3980066"/>
                <a:gd name="connsiteX2415" fmla="*/ 1701026 w 8387961"/>
                <a:gd name="connsiteY2415" fmla="*/ 2015795 h 3980066"/>
                <a:gd name="connsiteX2416" fmla="*/ 1709462 w 8387961"/>
                <a:gd name="connsiteY2416" fmla="*/ 2002409 h 3980066"/>
                <a:gd name="connsiteX2417" fmla="*/ 1724652 w 8387961"/>
                <a:gd name="connsiteY2417" fmla="*/ 2000735 h 3980066"/>
                <a:gd name="connsiteX2418" fmla="*/ 1749971 w 8387961"/>
                <a:gd name="connsiteY2418" fmla="*/ 1987349 h 3980066"/>
                <a:gd name="connsiteX2419" fmla="*/ 1773606 w 8387961"/>
                <a:gd name="connsiteY2419" fmla="*/ 1970616 h 3980066"/>
                <a:gd name="connsiteX2420" fmla="*/ 4788835 w 8387961"/>
                <a:gd name="connsiteY2420" fmla="*/ 1966629 h 3980066"/>
                <a:gd name="connsiteX2421" fmla="*/ 4788614 w 8387961"/>
                <a:gd name="connsiteY2421" fmla="*/ 1966704 h 3980066"/>
                <a:gd name="connsiteX2422" fmla="*/ 4781593 w 8387961"/>
                <a:gd name="connsiteY2422" fmla="*/ 1984973 h 3980066"/>
                <a:gd name="connsiteX2423" fmla="*/ 3427507 w 8387961"/>
                <a:gd name="connsiteY2423" fmla="*/ 1965083 h 3980066"/>
                <a:gd name="connsiteX2424" fmla="*/ 3424167 w 8387961"/>
                <a:gd name="connsiteY2424" fmla="*/ 1970094 h 3980066"/>
                <a:gd name="connsiteX2425" fmla="*/ 3405798 w 8387961"/>
                <a:gd name="connsiteY2425" fmla="*/ 1976774 h 3980066"/>
                <a:gd name="connsiteX2426" fmla="*/ 3389098 w 8387961"/>
                <a:gd name="connsiteY2426" fmla="*/ 1978444 h 3980066"/>
                <a:gd name="connsiteX2427" fmla="*/ 3380749 w 8387961"/>
                <a:gd name="connsiteY2427" fmla="*/ 1975104 h 3980066"/>
                <a:gd name="connsiteX2428" fmla="*/ 3366099 w 8387961"/>
                <a:gd name="connsiteY2428" fmla="*/ 1975104 h 3980066"/>
                <a:gd name="connsiteX2429" fmla="*/ 3366012 w 8387961"/>
                <a:gd name="connsiteY2429" fmla="*/ 1975325 h 3980066"/>
                <a:gd name="connsiteX2430" fmla="*/ 3381090 w 8387961"/>
                <a:gd name="connsiteY2430" fmla="*/ 1975325 h 3980066"/>
                <a:gd name="connsiteX2431" fmla="*/ 3389466 w 8387961"/>
                <a:gd name="connsiteY2431" fmla="*/ 1978711 h 3980066"/>
                <a:gd name="connsiteX2432" fmla="*/ 3406219 w 8387961"/>
                <a:gd name="connsiteY2432" fmla="*/ 1977018 h 3980066"/>
                <a:gd name="connsiteX2433" fmla="*/ 3424647 w 8387961"/>
                <a:gd name="connsiteY2433" fmla="*/ 1970247 h 3980066"/>
                <a:gd name="connsiteX2434" fmla="*/ 3427699 w 8387961"/>
                <a:gd name="connsiteY2434" fmla="*/ 1965620 h 3980066"/>
                <a:gd name="connsiteX2435" fmla="*/ 6920778 w 8387961"/>
                <a:gd name="connsiteY2435" fmla="*/ 1964423 h 3980066"/>
                <a:gd name="connsiteX2436" fmla="*/ 6941761 w 8387961"/>
                <a:gd name="connsiteY2436" fmla="*/ 1984818 h 3980066"/>
                <a:gd name="connsiteX2437" fmla="*/ 6941761 w 8387961"/>
                <a:gd name="connsiteY2437" fmla="*/ 1988526 h 3980066"/>
                <a:gd name="connsiteX2438" fmla="*/ 6922392 w 8387961"/>
                <a:gd name="connsiteY2438" fmla="*/ 1975547 h 3980066"/>
                <a:gd name="connsiteX2439" fmla="*/ 6919164 w 8387961"/>
                <a:gd name="connsiteY2439" fmla="*/ 1977401 h 3980066"/>
                <a:gd name="connsiteX2440" fmla="*/ 6967427 w 8387961"/>
                <a:gd name="connsiteY2440" fmla="*/ 1961410 h 3980066"/>
                <a:gd name="connsiteX2441" fmla="*/ 6977135 w 8387961"/>
                <a:gd name="connsiteY2441" fmla="*/ 1979756 h 3980066"/>
                <a:gd name="connsiteX2442" fmla="*/ 6988461 w 8387961"/>
                <a:gd name="connsiteY2442" fmla="*/ 2008110 h 3980066"/>
                <a:gd name="connsiteX2443" fmla="*/ 6977135 w 8387961"/>
                <a:gd name="connsiteY2443" fmla="*/ 2006442 h 3980066"/>
                <a:gd name="connsiteX2444" fmla="*/ 6964190 w 8387961"/>
                <a:gd name="connsiteY2444" fmla="*/ 1991431 h 3980066"/>
                <a:gd name="connsiteX2445" fmla="*/ 6944774 w 8387961"/>
                <a:gd name="connsiteY2445" fmla="*/ 1966413 h 3980066"/>
                <a:gd name="connsiteX2446" fmla="*/ 1824331 w 8387961"/>
                <a:gd name="connsiteY2446" fmla="*/ 1961410 h 3980066"/>
                <a:gd name="connsiteX2447" fmla="*/ 1827336 w 8387961"/>
                <a:gd name="connsiteY2447" fmla="*/ 1964423 h 3980066"/>
                <a:gd name="connsiteX2448" fmla="*/ 1824331 w 8387961"/>
                <a:gd name="connsiteY2448" fmla="*/ 1962163 h 3980066"/>
                <a:gd name="connsiteX2449" fmla="*/ 3306917 w 8387961"/>
                <a:gd name="connsiteY2449" fmla="*/ 1960258 h 3980066"/>
                <a:gd name="connsiteX2450" fmla="*/ 3306215 w 8387961"/>
                <a:gd name="connsiteY2450" fmla="*/ 1960312 h 3980066"/>
                <a:gd name="connsiteX2451" fmla="*/ 3303405 w 8387961"/>
                <a:gd name="connsiteY2451" fmla="*/ 1972004 h 3980066"/>
                <a:gd name="connsiteX2452" fmla="*/ 3303405 w 8387961"/>
                <a:gd name="connsiteY2452" fmla="*/ 1989012 h 3980066"/>
                <a:gd name="connsiteX2453" fmla="*/ 3294520 w 8387961"/>
                <a:gd name="connsiteY2453" fmla="*/ 1992710 h 3980066"/>
                <a:gd name="connsiteX2454" fmla="*/ 3304026 w 8387961"/>
                <a:gd name="connsiteY2454" fmla="*/ 1988868 h 3980066"/>
                <a:gd name="connsiteX2455" fmla="*/ 3304026 w 8387961"/>
                <a:gd name="connsiteY2455" fmla="*/ 1971939 h 3980066"/>
                <a:gd name="connsiteX2456" fmla="*/ 4049723 w 8387961"/>
                <a:gd name="connsiteY2456" fmla="*/ 1946229 h 3980066"/>
                <a:gd name="connsiteX2457" fmla="*/ 4060863 w 8387961"/>
                <a:gd name="connsiteY2457" fmla="*/ 1975012 h 3980066"/>
                <a:gd name="connsiteX2458" fmla="*/ 4065868 w 8387961"/>
                <a:gd name="connsiteY2458" fmla="*/ 2008538 h 3980066"/>
                <a:gd name="connsiteX2459" fmla="*/ 4082551 w 8387961"/>
                <a:gd name="connsiteY2459" fmla="*/ 2038712 h 3980066"/>
                <a:gd name="connsiteX2460" fmla="*/ 4050853 w 8387961"/>
                <a:gd name="connsiteY2460" fmla="*/ 2038712 h 3980066"/>
                <a:gd name="connsiteX2461" fmla="*/ 4039175 w 8387961"/>
                <a:gd name="connsiteY2461" fmla="*/ 2045417 h 3980066"/>
                <a:gd name="connsiteX2462" fmla="*/ 4040143 w 8387961"/>
                <a:gd name="connsiteY2462" fmla="*/ 2046689 h 3980066"/>
                <a:gd name="connsiteX2463" fmla="*/ 4051716 w 8387961"/>
                <a:gd name="connsiteY2463" fmla="*/ 2040030 h 3980066"/>
                <a:gd name="connsiteX2464" fmla="*/ 4083324 w 8387961"/>
                <a:gd name="connsiteY2464" fmla="*/ 2040030 h 3980066"/>
                <a:gd name="connsiteX2465" fmla="*/ 4066689 w 8387961"/>
                <a:gd name="connsiteY2465" fmla="*/ 2009880 h 3980066"/>
                <a:gd name="connsiteX2466" fmla="*/ 4061698 w 8387961"/>
                <a:gd name="connsiteY2466" fmla="*/ 1976380 h 3980066"/>
                <a:gd name="connsiteX2467" fmla="*/ 4050053 w 8387961"/>
                <a:gd name="connsiteY2467" fmla="*/ 1946229 h 3980066"/>
                <a:gd name="connsiteX2468" fmla="*/ 2098500 w 8387961"/>
                <a:gd name="connsiteY2468" fmla="*/ 1941826 h 3980066"/>
                <a:gd name="connsiteX2469" fmla="*/ 2106033 w 8387961"/>
                <a:gd name="connsiteY2469" fmla="*/ 1944086 h 3980066"/>
                <a:gd name="connsiteX2470" fmla="*/ 2106033 w 8387961"/>
                <a:gd name="connsiteY2470" fmla="*/ 1944839 h 3980066"/>
                <a:gd name="connsiteX2471" fmla="*/ 2101014 w 8387961"/>
                <a:gd name="connsiteY2471" fmla="*/ 1944839 h 3980066"/>
                <a:gd name="connsiteX2472" fmla="*/ 2057826 w 8387961"/>
                <a:gd name="connsiteY2472" fmla="*/ 1938813 h 3980066"/>
                <a:gd name="connsiteX2473" fmla="*/ 2057826 w 8387961"/>
                <a:gd name="connsiteY2473" fmla="*/ 1944839 h 3980066"/>
                <a:gd name="connsiteX2474" fmla="*/ 2054812 w 8387961"/>
                <a:gd name="connsiteY2474" fmla="*/ 1941826 h 3980066"/>
                <a:gd name="connsiteX2475" fmla="*/ 3561103 w 8387961"/>
                <a:gd name="connsiteY2475" fmla="*/ 1936692 h 3980066"/>
                <a:gd name="connsiteX2476" fmla="*/ 3557831 w 8387961"/>
                <a:gd name="connsiteY2476" fmla="*/ 1954693 h 3980066"/>
                <a:gd name="connsiteX2477" fmla="*/ 3558400 w 8387961"/>
                <a:gd name="connsiteY2477" fmla="*/ 1953684 h 3980066"/>
                <a:gd name="connsiteX2478" fmla="*/ 3561422 w 8387961"/>
                <a:gd name="connsiteY2478" fmla="*/ 1936851 h 3980066"/>
                <a:gd name="connsiteX2479" fmla="*/ 3697984 w 8387961"/>
                <a:gd name="connsiteY2479" fmla="*/ 1935258 h 3980066"/>
                <a:gd name="connsiteX2480" fmla="*/ 3694880 w 8387961"/>
                <a:gd name="connsiteY2480" fmla="*/ 1936830 h 3980066"/>
                <a:gd name="connsiteX2481" fmla="*/ 3694880 w 8387961"/>
                <a:gd name="connsiteY2481" fmla="*/ 1946942 h 3980066"/>
                <a:gd name="connsiteX2482" fmla="*/ 3695819 w 8387961"/>
                <a:gd name="connsiteY2482" fmla="*/ 1947682 h 3980066"/>
                <a:gd name="connsiteX2483" fmla="*/ 3695819 w 8387961"/>
                <a:gd name="connsiteY2483" fmla="*/ 1938216 h 3980066"/>
                <a:gd name="connsiteX2484" fmla="*/ 3699163 w 8387961"/>
                <a:gd name="connsiteY2484" fmla="*/ 1936539 h 3980066"/>
                <a:gd name="connsiteX2485" fmla="*/ 6834802 w 8387961"/>
                <a:gd name="connsiteY2485" fmla="*/ 1934294 h 3980066"/>
                <a:gd name="connsiteX2486" fmla="*/ 6862740 w 8387961"/>
                <a:gd name="connsiteY2486" fmla="*/ 1938060 h 3980066"/>
                <a:gd name="connsiteX2487" fmla="*/ 6870957 w 8387961"/>
                <a:gd name="connsiteY2487" fmla="*/ 1960657 h 3980066"/>
                <a:gd name="connsiteX2488" fmla="*/ 6864383 w 8387961"/>
                <a:gd name="connsiteY2488" fmla="*/ 1971955 h 3980066"/>
                <a:gd name="connsiteX2489" fmla="*/ 6851236 w 8387961"/>
                <a:gd name="connsiteY2489" fmla="*/ 1955007 h 3980066"/>
                <a:gd name="connsiteX2490" fmla="*/ 3581319 w 8387961"/>
                <a:gd name="connsiteY2490" fmla="*/ 1931638 h 3980066"/>
                <a:gd name="connsiteX2491" fmla="*/ 3581143 w 8387961"/>
                <a:gd name="connsiteY2491" fmla="*/ 1931682 h 3980066"/>
                <a:gd name="connsiteX2492" fmla="*/ 3578193 w 8387961"/>
                <a:gd name="connsiteY2492" fmla="*/ 1943481 h 3980066"/>
                <a:gd name="connsiteX2493" fmla="*/ 3578372 w 8387961"/>
                <a:gd name="connsiteY2493" fmla="*/ 1943571 h 3980066"/>
                <a:gd name="connsiteX2494" fmla="*/ 3354740 w 8387961"/>
                <a:gd name="connsiteY2494" fmla="*/ 1927915 h 3980066"/>
                <a:gd name="connsiteX2495" fmla="*/ 3354819 w 8387961"/>
                <a:gd name="connsiteY2495" fmla="*/ 1928269 h 3980066"/>
                <a:gd name="connsiteX2496" fmla="*/ 3360837 w 8387961"/>
                <a:gd name="connsiteY2496" fmla="*/ 1938797 h 3980066"/>
                <a:gd name="connsiteX2497" fmla="*/ 3360709 w 8387961"/>
                <a:gd name="connsiteY2497" fmla="*/ 1938362 h 3980066"/>
                <a:gd name="connsiteX2498" fmla="*/ 2065363 w 8387961"/>
                <a:gd name="connsiteY2498" fmla="*/ 1917723 h 3980066"/>
                <a:gd name="connsiteX2499" fmla="*/ 2063852 w 8387961"/>
                <a:gd name="connsiteY2499" fmla="*/ 1928268 h 3980066"/>
                <a:gd name="connsiteX2500" fmla="*/ 2062344 w 8387961"/>
                <a:gd name="connsiteY2500" fmla="*/ 1921238 h 3980066"/>
                <a:gd name="connsiteX2501" fmla="*/ 6459495 w 8387961"/>
                <a:gd name="connsiteY2501" fmla="*/ 1911681 h 3980066"/>
                <a:gd name="connsiteX2502" fmla="*/ 6458475 w 8387961"/>
                <a:gd name="connsiteY2502" fmla="*/ 1912356 h 3980066"/>
                <a:gd name="connsiteX2503" fmla="*/ 6458475 w 8387961"/>
                <a:gd name="connsiteY2503" fmla="*/ 1918968 h 3980066"/>
                <a:gd name="connsiteX2504" fmla="*/ 6459495 w 8387961"/>
                <a:gd name="connsiteY2504" fmla="*/ 1919503 h 3980066"/>
                <a:gd name="connsiteX2505" fmla="*/ 6381325 w 8387961"/>
                <a:gd name="connsiteY2505" fmla="*/ 1910288 h 3980066"/>
                <a:gd name="connsiteX2506" fmla="*/ 6377257 w 8387961"/>
                <a:gd name="connsiteY2506" fmla="*/ 1916958 h 3980066"/>
                <a:gd name="connsiteX2507" fmla="*/ 6381443 w 8387961"/>
                <a:gd name="connsiteY2507" fmla="*/ 1910288 h 3980066"/>
                <a:gd name="connsiteX2508" fmla="*/ 3616435 w 8387961"/>
                <a:gd name="connsiteY2508" fmla="*/ 1901520 h 3980066"/>
                <a:gd name="connsiteX2509" fmla="*/ 3616212 w 8387961"/>
                <a:gd name="connsiteY2509" fmla="*/ 1901620 h 3980066"/>
                <a:gd name="connsiteX2510" fmla="*/ 3614760 w 8387961"/>
                <a:gd name="connsiteY2510" fmla="*/ 1913233 h 3980066"/>
                <a:gd name="connsiteX2511" fmla="*/ 3614989 w 8387961"/>
                <a:gd name="connsiteY2511" fmla="*/ 1913233 h 3980066"/>
                <a:gd name="connsiteX2512" fmla="*/ 3346615 w 8387961"/>
                <a:gd name="connsiteY2512" fmla="*/ 1896543 h 3980066"/>
                <a:gd name="connsiteX2513" fmla="*/ 3347541 w 8387961"/>
                <a:gd name="connsiteY2513" fmla="*/ 1897469 h 3980066"/>
                <a:gd name="connsiteX2514" fmla="*/ 3347425 w 8387961"/>
                <a:gd name="connsiteY2514" fmla="*/ 1896947 h 3980066"/>
                <a:gd name="connsiteX2515" fmla="*/ 2057826 w 8387961"/>
                <a:gd name="connsiteY2515" fmla="*/ 1895126 h 3980066"/>
                <a:gd name="connsiteX2516" fmla="*/ 2068370 w 8387961"/>
                <a:gd name="connsiteY2516" fmla="*/ 1904165 h 3980066"/>
                <a:gd name="connsiteX2517" fmla="*/ 2066864 w 8387961"/>
                <a:gd name="connsiteY2517" fmla="*/ 1904165 h 3980066"/>
                <a:gd name="connsiteX2518" fmla="*/ 3675168 w 8387961"/>
                <a:gd name="connsiteY2518" fmla="*/ 1889930 h 3980066"/>
                <a:gd name="connsiteX2519" fmla="*/ 3678236 w 8387961"/>
                <a:gd name="connsiteY2519" fmla="*/ 1913233 h 3980066"/>
                <a:gd name="connsiteX2520" fmla="*/ 3679015 w 8387961"/>
                <a:gd name="connsiteY2520" fmla="*/ 1914087 h 3980066"/>
                <a:gd name="connsiteX2521" fmla="*/ 3675804 w 8387961"/>
                <a:gd name="connsiteY2521" fmla="*/ 1889930 h 3980066"/>
                <a:gd name="connsiteX2522" fmla="*/ 3701379 w 8387961"/>
                <a:gd name="connsiteY2522" fmla="*/ 1879909 h 3980066"/>
                <a:gd name="connsiteX2523" fmla="*/ 3678809 w 8387961"/>
                <a:gd name="connsiteY2523" fmla="*/ 1889583 h 3980066"/>
                <a:gd name="connsiteX2524" fmla="*/ 3679101 w 8387961"/>
                <a:gd name="connsiteY2524" fmla="*/ 1889583 h 3980066"/>
                <a:gd name="connsiteX2525" fmla="*/ 3701604 w 8387961"/>
                <a:gd name="connsiteY2525" fmla="*/ 1879909 h 3980066"/>
                <a:gd name="connsiteX2526" fmla="*/ 3423984 w 8387961"/>
                <a:gd name="connsiteY2526" fmla="*/ 1874715 h 3980066"/>
                <a:gd name="connsiteX2527" fmla="*/ 3424167 w 8387961"/>
                <a:gd name="connsiteY2527" fmla="*/ 1874899 h 3980066"/>
                <a:gd name="connsiteX2528" fmla="*/ 3449217 w 8387961"/>
                <a:gd name="connsiteY2528" fmla="*/ 1874899 h 3980066"/>
                <a:gd name="connsiteX2529" fmla="*/ 3474266 w 8387961"/>
                <a:gd name="connsiteY2529" fmla="*/ 1874899 h 3980066"/>
                <a:gd name="connsiteX2530" fmla="*/ 3499315 w 8387961"/>
                <a:gd name="connsiteY2530" fmla="*/ 1874899 h 3980066"/>
                <a:gd name="connsiteX2531" fmla="*/ 3524364 w 8387961"/>
                <a:gd name="connsiteY2531" fmla="*/ 1874899 h 3980066"/>
                <a:gd name="connsiteX2532" fmla="*/ 3524389 w 8387961"/>
                <a:gd name="connsiteY2532" fmla="*/ 1874715 h 3980066"/>
                <a:gd name="connsiteX2533" fmla="*/ 3499337 w 8387961"/>
                <a:gd name="connsiteY2533" fmla="*/ 1874715 h 3980066"/>
                <a:gd name="connsiteX2534" fmla="*/ 3474138 w 8387961"/>
                <a:gd name="connsiteY2534" fmla="*/ 1874715 h 3980066"/>
                <a:gd name="connsiteX2535" fmla="*/ 3448938 w 8387961"/>
                <a:gd name="connsiteY2535" fmla="*/ 1874715 h 3980066"/>
                <a:gd name="connsiteX2536" fmla="*/ 3420378 w 8387961"/>
                <a:gd name="connsiteY2536" fmla="*/ 1871369 h 3980066"/>
                <a:gd name="connsiteX2537" fmla="*/ 3383419 w 8387961"/>
                <a:gd name="connsiteY2537" fmla="*/ 1879735 h 3980066"/>
                <a:gd name="connsiteX2538" fmla="*/ 3378674 w 8387961"/>
                <a:gd name="connsiteY2538" fmla="*/ 1881310 h 3980066"/>
                <a:gd name="connsiteX2539" fmla="*/ 3379079 w 8387961"/>
                <a:gd name="connsiteY2539" fmla="*/ 1881579 h 3980066"/>
                <a:gd name="connsiteX2540" fmla="*/ 3384089 w 8387961"/>
                <a:gd name="connsiteY2540" fmla="*/ 1879909 h 3980066"/>
                <a:gd name="connsiteX2541" fmla="*/ 3420617 w 8387961"/>
                <a:gd name="connsiteY2541" fmla="*/ 1871607 h 3980066"/>
                <a:gd name="connsiteX2542" fmla="*/ 3363259 w 8387961"/>
                <a:gd name="connsiteY2542" fmla="*/ 1871369 h 3980066"/>
                <a:gd name="connsiteX2543" fmla="*/ 3349937 w 8387961"/>
                <a:gd name="connsiteY2543" fmla="*/ 1897904 h 3980066"/>
                <a:gd name="connsiteX2544" fmla="*/ 3350690 w 8387961"/>
                <a:gd name="connsiteY2544" fmla="*/ 1898280 h 3980066"/>
                <a:gd name="connsiteX2545" fmla="*/ 3363924 w 8387961"/>
                <a:gd name="connsiteY2545" fmla="*/ 1871810 h 3980066"/>
                <a:gd name="connsiteX2546" fmla="*/ 2054812 w 8387961"/>
                <a:gd name="connsiteY2546" fmla="*/ 1871023 h 3980066"/>
                <a:gd name="connsiteX2547" fmla="*/ 2057072 w 8387961"/>
                <a:gd name="connsiteY2547" fmla="*/ 1871023 h 3980066"/>
                <a:gd name="connsiteX2548" fmla="*/ 2057826 w 8387961"/>
                <a:gd name="connsiteY2548" fmla="*/ 1879497 h 3980066"/>
                <a:gd name="connsiteX2549" fmla="*/ 2055566 w 8387961"/>
                <a:gd name="connsiteY2549" fmla="*/ 1884581 h 3980066"/>
                <a:gd name="connsiteX2550" fmla="*/ 6257866 w 8387961"/>
                <a:gd name="connsiteY2550" fmla="*/ 1867959 h 3980066"/>
                <a:gd name="connsiteX2551" fmla="*/ 6252938 w 8387961"/>
                <a:gd name="connsiteY2551" fmla="*/ 1879418 h 3980066"/>
                <a:gd name="connsiteX2552" fmla="*/ 6252938 w 8387961"/>
                <a:gd name="connsiteY2552" fmla="*/ 1879660 h 3980066"/>
                <a:gd name="connsiteX2553" fmla="*/ 6257730 w 8387961"/>
                <a:gd name="connsiteY2553" fmla="*/ 1868458 h 3980066"/>
                <a:gd name="connsiteX2554" fmla="*/ 4279626 w 8387961"/>
                <a:gd name="connsiteY2554" fmla="*/ 1867504 h 3980066"/>
                <a:gd name="connsiteX2555" fmla="*/ 4271309 w 8387961"/>
                <a:gd name="connsiteY2555" fmla="*/ 1875879 h 3980066"/>
                <a:gd name="connsiteX2556" fmla="*/ 4258000 w 8387961"/>
                <a:gd name="connsiteY2556" fmla="*/ 1899329 h 3980066"/>
                <a:gd name="connsiteX2557" fmla="*/ 4258000 w 8387961"/>
                <a:gd name="connsiteY2557" fmla="*/ 1909379 h 3980066"/>
                <a:gd name="connsiteX2558" fmla="*/ 4256336 w 8387961"/>
                <a:gd name="connsiteY2558" fmla="*/ 1917754 h 3980066"/>
                <a:gd name="connsiteX2559" fmla="*/ 4251346 w 8387961"/>
                <a:gd name="connsiteY2559" fmla="*/ 1931154 h 3980066"/>
                <a:gd name="connsiteX2560" fmla="*/ 4243028 w 8387961"/>
                <a:gd name="connsiteY2560" fmla="*/ 1954605 h 3980066"/>
                <a:gd name="connsiteX2561" fmla="*/ 4253009 w 8387961"/>
                <a:gd name="connsiteY2561" fmla="*/ 1956280 h 3980066"/>
                <a:gd name="connsiteX2562" fmla="*/ 4262991 w 8387961"/>
                <a:gd name="connsiteY2562" fmla="*/ 1978055 h 3980066"/>
                <a:gd name="connsiteX2563" fmla="*/ 4269645 w 8387961"/>
                <a:gd name="connsiteY2563" fmla="*/ 1994805 h 3980066"/>
                <a:gd name="connsiteX2564" fmla="*/ 4271309 w 8387961"/>
                <a:gd name="connsiteY2564" fmla="*/ 2011555 h 3980066"/>
                <a:gd name="connsiteX2565" fmla="*/ 4246355 w 8387961"/>
                <a:gd name="connsiteY2565" fmla="*/ 2018255 h 3980066"/>
                <a:gd name="connsiteX2566" fmla="*/ 4226392 w 8387961"/>
                <a:gd name="connsiteY2566" fmla="*/ 2041705 h 3980066"/>
                <a:gd name="connsiteX2567" fmla="*/ 4206429 w 8387961"/>
                <a:gd name="connsiteY2567" fmla="*/ 2066830 h 3980066"/>
                <a:gd name="connsiteX2568" fmla="*/ 4168167 w 8387961"/>
                <a:gd name="connsiteY2568" fmla="*/ 2075206 h 3980066"/>
                <a:gd name="connsiteX2569" fmla="*/ 4171494 w 8387961"/>
                <a:gd name="connsiteY2569" fmla="*/ 2081906 h 3980066"/>
                <a:gd name="connsiteX2570" fmla="*/ 4159849 w 8387961"/>
                <a:gd name="connsiteY2570" fmla="*/ 2098656 h 3980066"/>
                <a:gd name="connsiteX2571" fmla="*/ 4123250 w 8387961"/>
                <a:gd name="connsiteY2571" fmla="*/ 2107031 h 3980066"/>
                <a:gd name="connsiteX2572" fmla="*/ 4110380 w 8387961"/>
                <a:gd name="connsiteY2572" fmla="*/ 2108471 h 3980066"/>
                <a:gd name="connsiteX2573" fmla="*/ 4110542 w 8387961"/>
                <a:gd name="connsiteY2573" fmla="*/ 2108579 h 3980066"/>
                <a:gd name="connsiteX2574" fmla="*/ 4125541 w 8387961"/>
                <a:gd name="connsiteY2574" fmla="*/ 2106899 h 3980066"/>
                <a:gd name="connsiteX2575" fmla="*/ 4162205 w 8387961"/>
                <a:gd name="connsiteY2575" fmla="*/ 2098498 h 3980066"/>
                <a:gd name="connsiteX2576" fmla="*/ 4173871 w 8387961"/>
                <a:gd name="connsiteY2576" fmla="*/ 2081695 h 3980066"/>
                <a:gd name="connsiteX2577" fmla="*/ 4170538 w 8387961"/>
                <a:gd name="connsiteY2577" fmla="*/ 2074974 h 3980066"/>
                <a:gd name="connsiteX2578" fmla="*/ 4208869 w 8387961"/>
                <a:gd name="connsiteY2578" fmla="*/ 2066572 h 3980066"/>
                <a:gd name="connsiteX2579" fmla="*/ 4228868 w 8387961"/>
                <a:gd name="connsiteY2579" fmla="*/ 2041368 h 3980066"/>
                <a:gd name="connsiteX2580" fmla="*/ 4248867 w 8387961"/>
                <a:gd name="connsiteY2580" fmla="*/ 2017844 h 3980066"/>
                <a:gd name="connsiteX2581" fmla="*/ 4272626 w 8387961"/>
                <a:gd name="connsiteY2581" fmla="*/ 2011456 h 3980066"/>
                <a:gd name="connsiteX2582" fmla="*/ 4272292 w 8387961"/>
                <a:gd name="connsiteY2582" fmla="*/ 2010846 h 3980066"/>
                <a:gd name="connsiteX2583" fmla="*/ 4270610 w 8387961"/>
                <a:gd name="connsiteY2583" fmla="*/ 1994074 h 3980066"/>
                <a:gd name="connsiteX2584" fmla="*/ 4263880 w 8387961"/>
                <a:gd name="connsiteY2584" fmla="*/ 1977303 h 3980066"/>
                <a:gd name="connsiteX2585" fmla="*/ 4253787 w 8387961"/>
                <a:gd name="connsiteY2585" fmla="*/ 1955499 h 3980066"/>
                <a:gd name="connsiteX2586" fmla="*/ 4243693 w 8387961"/>
                <a:gd name="connsiteY2586" fmla="*/ 1953822 h 3980066"/>
                <a:gd name="connsiteX2587" fmla="*/ 4252104 w 8387961"/>
                <a:gd name="connsiteY2587" fmla="*/ 1930342 h 3980066"/>
                <a:gd name="connsiteX2588" fmla="*/ 4257151 w 8387961"/>
                <a:gd name="connsiteY2588" fmla="*/ 1916925 h 3980066"/>
                <a:gd name="connsiteX2589" fmla="*/ 4258834 w 8387961"/>
                <a:gd name="connsiteY2589" fmla="*/ 1908539 h 3980066"/>
                <a:gd name="connsiteX2590" fmla="*/ 4258834 w 8387961"/>
                <a:gd name="connsiteY2590" fmla="*/ 1898476 h 3980066"/>
                <a:gd name="connsiteX2591" fmla="*/ 4272292 w 8387961"/>
                <a:gd name="connsiteY2591" fmla="*/ 1874996 h 3980066"/>
                <a:gd name="connsiteX2592" fmla="*/ 4279807 w 8387961"/>
                <a:gd name="connsiteY2592" fmla="*/ 1867504 h 3980066"/>
                <a:gd name="connsiteX2593" fmla="*/ 6438172 w 8387961"/>
                <a:gd name="connsiteY2593" fmla="*/ 1867081 h 3980066"/>
                <a:gd name="connsiteX2594" fmla="*/ 6443123 w 8387961"/>
                <a:gd name="connsiteY2594" fmla="*/ 1891883 h 3980066"/>
                <a:gd name="connsiteX2595" fmla="*/ 6436668 w 8387961"/>
                <a:gd name="connsiteY2595" fmla="*/ 1908050 h 3980066"/>
                <a:gd name="connsiteX2596" fmla="*/ 6436889 w 8387961"/>
                <a:gd name="connsiteY2596" fmla="*/ 1908037 h 3980066"/>
                <a:gd name="connsiteX2597" fmla="*/ 6443261 w 8387961"/>
                <a:gd name="connsiteY2597" fmla="*/ 1892243 h 3980066"/>
                <a:gd name="connsiteX2598" fmla="*/ 6438189 w 8387961"/>
                <a:gd name="connsiteY2598" fmla="*/ 1867102 h 3980066"/>
                <a:gd name="connsiteX2599" fmla="*/ 2052808 w 8387961"/>
                <a:gd name="connsiteY2599" fmla="*/ 1851439 h 3980066"/>
                <a:gd name="connsiteX2600" fmla="*/ 2054812 w 8387961"/>
                <a:gd name="connsiteY2600" fmla="*/ 1852644 h 3980066"/>
                <a:gd name="connsiteX2601" fmla="*/ 2048786 w 8387961"/>
                <a:gd name="connsiteY2601" fmla="*/ 1857465 h 3980066"/>
                <a:gd name="connsiteX2602" fmla="*/ 3032500 w 8387961"/>
                <a:gd name="connsiteY2602" fmla="*/ 1840894 h 3980066"/>
                <a:gd name="connsiteX2603" fmla="*/ 3038526 w 8387961"/>
                <a:gd name="connsiteY2603" fmla="*/ 1843907 h 3980066"/>
                <a:gd name="connsiteX2604" fmla="*/ 3034508 w 8387961"/>
                <a:gd name="connsiteY2604" fmla="*/ 1843907 h 3980066"/>
                <a:gd name="connsiteX2605" fmla="*/ 2050795 w 8387961"/>
                <a:gd name="connsiteY2605" fmla="*/ 1824322 h 3980066"/>
                <a:gd name="connsiteX2606" fmla="*/ 2054812 w 8387961"/>
                <a:gd name="connsiteY2606" fmla="*/ 1827335 h 3980066"/>
                <a:gd name="connsiteX2607" fmla="*/ 2048786 w 8387961"/>
                <a:gd name="connsiteY2607" fmla="*/ 1827335 h 3980066"/>
                <a:gd name="connsiteX2608" fmla="*/ 2048786 w 8387961"/>
                <a:gd name="connsiteY2608" fmla="*/ 1825828 h 3980066"/>
                <a:gd name="connsiteX2609" fmla="*/ 4832339 w 8387961"/>
                <a:gd name="connsiteY2609" fmla="*/ 1818862 h 3980066"/>
                <a:gd name="connsiteX2610" fmla="*/ 4858085 w 8387961"/>
                <a:gd name="connsiteY2610" fmla="*/ 1828415 h 3980066"/>
                <a:gd name="connsiteX2611" fmla="*/ 4881664 w 8387961"/>
                <a:gd name="connsiteY2611" fmla="*/ 1840080 h 3980066"/>
                <a:gd name="connsiteX2612" fmla="*/ 4883348 w 8387961"/>
                <a:gd name="connsiteY2612" fmla="*/ 1870076 h 3980066"/>
                <a:gd name="connsiteX2613" fmla="*/ 4885004 w 8387961"/>
                <a:gd name="connsiteY2613" fmla="*/ 1867891 h 3980066"/>
                <a:gd name="connsiteX2614" fmla="*/ 4883505 w 8387961"/>
                <a:gd name="connsiteY2614" fmla="*/ 1840802 h 3980066"/>
                <a:gd name="connsiteX2615" fmla="*/ 4860078 w 8387961"/>
                <a:gd name="connsiteY2615" fmla="*/ 1829050 h 3980066"/>
                <a:gd name="connsiteX2616" fmla="*/ 4833304 w 8387961"/>
                <a:gd name="connsiteY2616" fmla="*/ 1818976 h 3980066"/>
                <a:gd name="connsiteX2617" fmla="*/ 2048786 w 8387961"/>
                <a:gd name="connsiteY2617" fmla="*/ 1807751 h 3980066"/>
                <a:gd name="connsiteX2618" fmla="*/ 2051800 w 8387961"/>
                <a:gd name="connsiteY2618" fmla="*/ 1809257 h 3980066"/>
                <a:gd name="connsiteX2619" fmla="*/ 2051800 w 8387961"/>
                <a:gd name="connsiteY2619" fmla="*/ 1810764 h 3980066"/>
                <a:gd name="connsiteX2620" fmla="*/ 2048786 w 8387961"/>
                <a:gd name="connsiteY2620" fmla="*/ 1809257 h 3980066"/>
                <a:gd name="connsiteX2621" fmla="*/ 1970952 w 8387961"/>
                <a:gd name="connsiteY2621" fmla="*/ 1804738 h 3980066"/>
                <a:gd name="connsiteX2622" fmla="*/ 1977982 w 8387961"/>
                <a:gd name="connsiteY2622" fmla="*/ 1804738 h 3980066"/>
                <a:gd name="connsiteX2623" fmla="*/ 1967439 w 8387961"/>
                <a:gd name="connsiteY2623" fmla="*/ 1807751 h 3980066"/>
                <a:gd name="connsiteX2624" fmla="*/ 1288811 w 8387961"/>
                <a:gd name="connsiteY2624" fmla="*/ 1804367 h 3980066"/>
                <a:gd name="connsiteX2625" fmla="*/ 1288774 w 8387961"/>
                <a:gd name="connsiteY2625" fmla="*/ 1804738 h 3980066"/>
                <a:gd name="connsiteX2626" fmla="*/ 1312265 w 8387961"/>
                <a:gd name="connsiteY2626" fmla="*/ 1804738 h 3980066"/>
                <a:gd name="connsiteX2627" fmla="*/ 1335776 w 8387961"/>
                <a:gd name="connsiteY2627" fmla="*/ 1804738 h 3980066"/>
                <a:gd name="connsiteX2628" fmla="*/ 1335862 w 8387961"/>
                <a:gd name="connsiteY2628" fmla="*/ 1804367 h 3980066"/>
                <a:gd name="connsiteX2629" fmla="*/ 1313997 w 8387961"/>
                <a:gd name="connsiteY2629" fmla="*/ 1804367 h 3980066"/>
                <a:gd name="connsiteX2630" fmla="*/ 6336762 w 8387961"/>
                <a:gd name="connsiteY2630" fmla="*/ 1795031 h 3980066"/>
                <a:gd name="connsiteX2631" fmla="*/ 6312808 w 8387961"/>
                <a:gd name="connsiteY2631" fmla="*/ 1810865 h 3980066"/>
                <a:gd name="connsiteX2632" fmla="*/ 6312847 w 8387961"/>
                <a:gd name="connsiteY2632" fmla="*/ 1811569 h 3980066"/>
                <a:gd name="connsiteX2633" fmla="*/ 6337328 w 8387961"/>
                <a:gd name="connsiteY2633" fmla="*/ 1795219 h 3980066"/>
                <a:gd name="connsiteX2634" fmla="*/ 2018657 w 8387961"/>
                <a:gd name="connsiteY2634" fmla="*/ 1792184 h 3980066"/>
                <a:gd name="connsiteX2635" fmla="*/ 2020164 w 8387961"/>
                <a:gd name="connsiteY2635" fmla="*/ 1792184 h 3980066"/>
                <a:gd name="connsiteX2636" fmla="*/ 2020164 w 8387961"/>
                <a:gd name="connsiteY2636" fmla="*/ 1794193 h 3980066"/>
                <a:gd name="connsiteX2637" fmla="*/ 2018657 w 8387961"/>
                <a:gd name="connsiteY2637" fmla="*/ 1794193 h 3980066"/>
                <a:gd name="connsiteX2638" fmla="*/ 6377333 w 8387961"/>
                <a:gd name="connsiteY2638" fmla="*/ 1788327 h 3980066"/>
                <a:gd name="connsiteX2639" fmla="*/ 6365500 w 8387961"/>
                <a:gd name="connsiteY2639" fmla="*/ 1796707 h 3980066"/>
                <a:gd name="connsiteX2640" fmla="*/ 6352874 w 8387961"/>
                <a:gd name="connsiteY2640" fmla="*/ 1799837 h 3980066"/>
                <a:gd name="connsiteX2641" fmla="*/ 6352932 w 8387961"/>
                <a:gd name="connsiteY2641" fmla="*/ 1799857 h 3980066"/>
                <a:gd name="connsiteX2642" fmla="*/ 6366293 w 8387961"/>
                <a:gd name="connsiteY2642" fmla="*/ 1796510 h 3980066"/>
                <a:gd name="connsiteX2643" fmla="*/ 6377516 w 8387961"/>
                <a:gd name="connsiteY2643" fmla="*/ 1788480 h 3980066"/>
                <a:gd name="connsiteX2644" fmla="*/ 1977982 w 8387961"/>
                <a:gd name="connsiteY2644" fmla="*/ 1783648 h 3980066"/>
                <a:gd name="connsiteX2645" fmla="*/ 1979491 w 8387961"/>
                <a:gd name="connsiteY2645" fmla="*/ 1783648 h 3980066"/>
                <a:gd name="connsiteX2646" fmla="*/ 1979491 w 8387961"/>
                <a:gd name="connsiteY2646" fmla="*/ 1788167 h 3980066"/>
                <a:gd name="connsiteX2647" fmla="*/ 1977982 w 8387961"/>
                <a:gd name="connsiteY2647" fmla="*/ 1788167 h 3980066"/>
                <a:gd name="connsiteX2648" fmla="*/ 1915194 w 8387961"/>
                <a:gd name="connsiteY2648" fmla="*/ 1783648 h 3980066"/>
                <a:gd name="connsiteX2649" fmla="*/ 1955388 w 8387961"/>
                <a:gd name="connsiteY2649" fmla="*/ 1791013 h 3980066"/>
                <a:gd name="connsiteX2650" fmla="*/ 1951898 w 8387961"/>
                <a:gd name="connsiteY2650" fmla="*/ 1794695 h 3980066"/>
                <a:gd name="connsiteX2651" fmla="*/ 1923931 w 8387961"/>
                <a:gd name="connsiteY2651" fmla="*/ 1800219 h 3980066"/>
                <a:gd name="connsiteX2652" fmla="*/ 1911699 w 8387961"/>
                <a:gd name="connsiteY2652" fmla="*/ 1796536 h 3980066"/>
                <a:gd name="connsiteX2653" fmla="*/ 1639783 w 8387961"/>
                <a:gd name="connsiteY2653" fmla="*/ 1783648 h 3980066"/>
                <a:gd name="connsiteX2654" fmla="*/ 1673685 w 8387961"/>
                <a:gd name="connsiteY2654" fmla="*/ 1799871 h 3980066"/>
                <a:gd name="connsiteX2655" fmla="*/ 1649960 w 8387961"/>
                <a:gd name="connsiteY2655" fmla="*/ 1804738 h 3980066"/>
                <a:gd name="connsiteX2656" fmla="*/ 1619453 w 8387961"/>
                <a:gd name="connsiteY2656" fmla="*/ 1790137 h 3980066"/>
                <a:gd name="connsiteX2657" fmla="*/ 6829847 w 8387961"/>
                <a:gd name="connsiteY2657" fmla="*/ 1780635 h 3980066"/>
                <a:gd name="connsiteX2658" fmla="*/ 6862354 w 8387961"/>
                <a:gd name="connsiteY2658" fmla="*/ 1789004 h 3980066"/>
                <a:gd name="connsiteX2659" fmla="*/ 6865605 w 8387961"/>
                <a:gd name="connsiteY2659" fmla="*/ 1795699 h 3980066"/>
                <a:gd name="connsiteX2660" fmla="*/ 6873732 w 8387961"/>
                <a:gd name="connsiteY2660" fmla="*/ 1819133 h 3980066"/>
                <a:gd name="connsiteX2661" fmla="*/ 6878608 w 8387961"/>
                <a:gd name="connsiteY2661" fmla="*/ 1837546 h 3980066"/>
                <a:gd name="connsiteX2662" fmla="*/ 6872107 w 8387961"/>
                <a:gd name="connsiteY2662" fmla="*/ 1855958 h 3980066"/>
                <a:gd name="connsiteX2663" fmla="*/ 6862354 w 8387961"/>
                <a:gd name="connsiteY2663" fmla="*/ 1867675 h 3980066"/>
                <a:gd name="connsiteX2664" fmla="*/ 6862354 w 8387961"/>
                <a:gd name="connsiteY2664" fmla="*/ 1889435 h 3980066"/>
                <a:gd name="connsiteX2665" fmla="*/ 6878608 w 8387961"/>
                <a:gd name="connsiteY2665" fmla="*/ 1921238 h 3980066"/>
                <a:gd name="connsiteX2666" fmla="*/ 6885110 w 8387961"/>
                <a:gd name="connsiteY2666" fmla="*/ 1919564 h 3980066"/>
                <a:gd name="connsiteX2667" fmla="*/ 6888361 w 8387961"/>
                <a:gd name="connsiteY2667" fmla="*/ 1916216 h 3980066"/>
                <a:gd name="connsiteX2668" fmla="*/ 6901364 w 8387961"/>
                <a:gd name="connsiteY2668" fmla="*/ 1911195 h 3980066"/>
                <a:gd name="connsiteX2669" fmla="*/ 6912742 w 8387961"/>
                <a:gd name="connsiteY2669" fmla="*/ 1927933 h 3980066"/>
                <a:gd name="connsiteX2670" fmla="*/ 6914367 w 8387961"/>
                <a:gd name="connsiteY2670" fmla="*/ 1921238 h 3980066"/>
                <a:gd name="connsiteX2671" fmla="*/ 6927370 w 8387961"/>
                <a:gd name="connsiteY2671" fmla="*/ 1929607 h 3980066"/>
                <a:gd name="connsiteX2672" fmla="*/ 6920869 w 8387961"/>
                <a:gd name="connsiteY2672" fmla="*/ 1932955 h 3980066"/>
                <a:gd name="connsiteX2673" fmla="*/ 6932246 w 8387961"/>
                <a:gd name="connsiteY2673" fmla="*/ 1948019 h 3980066"/>
                <a:gd name="connsiteX2674" fmla="*/ 6938748 w 8387961"/>
                <a:gd name="connsiteY2674" fmla="*/ 1949693 h 3980066"/>
                <a:gd name="connsiteX2675" fmla="*/ 6932246 w 8387961"/>
                <a:gd name="connsiteY2675" fmla="*/ 1961410 h 3980066"/>
                <a:gd name="connsiteX2676" fmla="*/ 6932246 w 8387961"/>
                <a:gd name="connsiteY2676" fmla="*/ 1953041 h 3980066"/>
                <a:gd name="connsiteX2677" fmla="*/ 6914367 w 8387961"/>
                <a:gd name="connsiteY2677" fmla="*/ 1942998 h 3980066"/>
                <a:gd name="connsiteX2678" fmla="*/ 6902989 w 8387961"/>
                <a:gd name="connsiteY2678" fmla="*/ 1929607 h 3980066"/>
                <a:gd name="connsiteX2679" fmla="*/ 6893237 w 8387961"/>
                <a:gd name="connsiteY2679" fmla="*/ 1926259 h 3980066"/>
                <a:gd name="connsiteX2680" fmla="*/ 6898113 w 8387961"/>
                <a:gd name="connsiteY2680" fmla="*/ 1946345 h 3980066"/>
                <a:gd name="connsiteX2681" fmla="*/ 6872107 w 8387961"/>
                <a:gd name="connsiteY2681" fmla="*/ 1922911 h 3980066"/>
                <a:gd name="connsiteX2682" fmla="*/ 6855853 w 8387961"/>
                <a:gd name="connsiteY2682" fmla="*/ 1931281 h 3980066"/>
                <a:gd name="connsiteX2683" fmla="*/ 6844475 w 8387961"/>
                <a:gd name="connsiteY2683" fmla="*/ 1926259 h 3980066"/>
                <a:gd name="connsiteX2684" fmla="*/ 6844475 w 8387961"/>
                <a:gd name="connsiteY2684" fmla="*/ 1911195 h 3980066"/>
                <a:gd name="connsiteX2685" fmla="*/ 6849351 w 8387961"/>
                <a:gd name="connsiteY2685" fmla="*/ 1899478 h 3980066"/>
                <a:gd name="connsiteX2686" fmla="*/ 6839599 w 8387961"/>
                <a:gd name="connsiteY2686" fmla="*/ 1896130 h 3980066"/>
                <a:gd name="connsiteX2687" fmla="*/ 6839599 w 8387961"/>
                <a:gd name="connsiteY2687" fmla="*/ 1907847 h 3980066"/>
                <a:gd name="connsiteX2688" fmla="*/ 6821720 w 8387961"/>
                <a:gd name="connsiteY2688" fmla="*/ 1877718 h 3980066"/>
                <a:gd name="connsiteX2689" fmla="*/ 6815218 w 8387961"/>
                <a:gd name="connsiteY2689" fmla="*/ 1852610 h 3980066"/>
                <a:gd name="connsiteX2690" fmla="*/ 6829847 w 8387961"/>
                <a:gd name="connsiteY2690" fmla="*/ 1855958 h 3980066"/>
                <a:gd name="connsiteX2691" fmla="*/ 6824970 w 8387961"/>
                <a:gd name="connsiteY2691" fmla="*/ 1825829 h 3980066"/>
                <a:gd name="connsiteX2692" fmla="*/ 6823345 w 8387961"/>
                <a:gd name="connsiteY2692" fmla="*/ 1792352 h 3980066"/>
                <a:gd name="connsiteX2693" fmla="*/ 1985516 w 8387961"/>
                <a:gd name="connsiteY2693" fmla="*/ 1774609 h 3980066"/>
                <a:gd name="connsiteX2694" fmla="*/ 1987531 w 8387961"/>
                <a:gd name="connsiteY2694" fmla="*/ 1774609 h 3980066"/>
                <a:gd name="connsiteX2695" fmla="*/ 1987531 w 8387961"/>
                <a:gd name="connsiteY2695" fmla="*/ 1777622 h 3980066"/>
                <a:gd name="connsiteX2696" fmla="*/ 1985516 w 8387961"/>
                <a:gd name="connsiteY2696" fmla="*/ 1777622 h 3980066"/>
                <a:gd name="connsiteX2697" fmla="*/ 3779409 w 8387961"/>
                <a:gd name="connsiteY2697" fmla="*/ 1763814 h 3980066"/>
                <a:gd name="connsiteX2698" fmla="*/ 3778320 w 8387961"/>
                <a:gd name="connsiteY2698" fmla="*/ 1764064 h 3980066"/>
                <a:gd name="connsiteX2699" fmla="*/ 3749764 w 8387961"/>
                <a:gd name="connsiteY2699" fmla="*/ 1764064 h 3980066"/>
                <a:gd name="connsiteX2700" fmla="*/ 3749808 w 8387961"/>
                <a:gd name="connsiteY2700" fmla="*/ 1764674 h 3980066"/>
                <a:gd name="connsiteX2701" fmla="*/ 3778197 w 8387961"/>
                <a:gd name="connsiteY2701" fmla="*/ 1764674 h 3980066"/>
                <a:gd name="connsiteX2702" fmla="*/ 3778197 w 8387961"/>
                <a:gd name="connsiteY2702" fmla="*/ 1786385 h 3980066"/>
                <a:gd name="connsiteX2703" fmla="*/ 3776527 w 8387961"/>
                <a:gd name="connsiteY2703" fmla="*/ 1808096 h 3980066"/>
                <a:gd name="connsiteX2704" fmla="*/ 3776527 w 8387961"/>
                <a:gd name="connsiteY2704" fmla="*/ 1829807 h 3980066"/>
                <a:gd name="connsiteX2705" fmla="*/ 3774857 w 8387961"/>
                <a:gd name="connsiteY2705" fmla="*/ 1851518 h 3980066"/>
                <a:gd name="connsiteX2706" fmla="*/ 3760016 w 8387961"/>
                <a:gd name="connsiteY2706" fmla="*/ 1877903 h 3980066"/>
                <a:gd name="connsiteX2707" fmla="*/ 3761020 w 8387961"/>
                <a:gd name="connsiteY2707" fmla="*/ 1877844 h 3980066"/>
                <a:gd name="connsiteX2708" fmla="*/ 3776066 w 8387961"/>
                <a:gd name="connsiteY2708" fmla="*/ 1851012 h 3980066"/>
                <a:gd name="connsiteX2709" fmla="*/ 3777738 w 8387961"/>
                <a:gd name="connsiteY2709" fmla="*/ 1829211 h 3980066"/>
                <a:gd name="connsiteX2710" fmla="*/ 3777738 w 8387961"/>
                <a:gd name="connsiteY2710" fmla="*/ 1807410 h 3980066"/>
                <a:gd name="connsiteX2711" fmla="*/ 3779409 w 8387961"/>
                <a:gd name="connsiteY2711" fmla="*/ 1785609 h 3980066"/>
                <a:gd name="connsiteX2712" fmla="*/ 1546837 w 8387961"/>
                <a:gd name="connsiteY2712" fmla="*/ 1759544 h 3980066"/>
                <a:gd name="connsiteX2713" fmla="*/ 1548943 w 8387961"/>
                <a:gd name="connsiteY2713" fmla="*/ 1759544 h 3980066"/>
                <a:gd name="connsiteX2714" fmla="*/ 1548943 w 8387961"/>
                <a:gd name="connsiteY2714" fmla="*/ 1761051 h 3980066"/>
                <a:gd name="connsiteX2715" fmla="*/ 1546837 w 8387961"/>
                <a:gd name="connsiteY2715" fmla="*/ 1761051 h 3980066"/>
                <a:gd name="connsiteX2716" fmla="*/ 1548943 w 8387961"/>
                <a:gd name="connsiteY2716" fmla="*/ 1758038 h 3980066"/>
                <a:gd name="connsiteX2717" fmla="*/ 1551053 w 8387961"/>
                <a:gd name="connsiteY2717" fmla="*/ 1758038 h 3980066"/>
                <a:gd name="connsiteX2718" fmla="*/ 1553169 w 8387961"/>
                <a:gd name="connsiteY2718" fmla="*/ 1758038 h 3980066"/>
                <a:gd name="connsiteX2719" fmla="*/ 1553169 w 8387961"/>
                <a:gd name="connsiteY2719" fmla="*/ 1759544 h 3980066"/>
                <a:gd name="connsiteX2720" fmla="*/ 1551053 w 8387961"/>
                <a:gd name="connsiteY2720" fmla="*/ 1759544 h 3980066"/>
                <a:gd name="connsiteX2721" fmla="*/ 1548943 w 8387961"/>
                <a:gd name="connsiteY2721" fmla="*/ 1759544 h 3980066"/>
                <a:gd name="connsiteX2722" fmla="*/ 5069263 w 8387961"/>
                <a:gd name="connsiteY2722" fmla="*/ 1753072 h 3980066"/>
                <a:gd name="connsiteX2723" fmla="*/ 5064226 w 8387961"/>
                <a:gd name="connsiteY2723" fmla="*/ 1755178 h 3980066"/>
                <a:gd name="connsiteX2724" fmla="*/ 5045819 w 8387961"/>
                <a:gd name="connsiteY2724" fmla="*/ 1761893 h 3980066"/>
                <a:gd name="connsiteX2725" fmla="*/ 5027412 w 8387961"/>
                <a:gd name="connsiteY2725" fmla="*/ 1770288 h 3980066"/>
                <a:gd name="connsiteX2726" fmla="*/ 5026383 w 8387961"/>
                <a:gd name="connsiteY2726" fmla="*/ 1770526 h 3980066"/>
                <a:gd name="connsiteX2727" fmla="*/ 5023140 w 8387961"/>
                <a:gd name="connsiteY2727" fmla="*/ 1781755 h 3980066"/>
                <a:gd name="connsiteX2728" fmla="*/ 5041667 w 8387961"/>
                <a:gd name="connsiteY2728" fmla="*/ 1811751 h 3980066"/>
                <a:gd name="connsiteX2729" fmla="*/ 5051350 w 8387961"/>
                <a:gd name="connsiteY2729" fmla="*/ 1826557 h 3980066"/>
                <a:gd name="connsiteX2730" fmla="*/ 5042281 w 8387961"/>
                <a:gd name="connsiteY2730" fmla="*/ 1812382 h 3980066"/>
                <a:gd name="connsiteX2731" fmla="*/ 5024039 w 8387961"/>
                <a:gd name="connsiteY2731" fmla="*/ 1782192 h 3980066"/>
                <a:gd name="connsiteX2732" fmla="*/ 5027355 w 8387961"/>
                <a:gd name="connsiteY2732" fmla="*/ 1770452 h 3980066"/>
                <a:gd name="connsiteX2733" fmla="*/ 5045598 w 8387961"/>
                <a:gd name="connsiteY2733" fmla="*/ 1762066 h 3980066"/>
                <a:gd name="connsiteX2734" fmla="*/ 5063840 w 8387961"/>
                <a:gd name="connsiteY2734" fmla="*/ 1755357 h 3980066"/>
                <a:gd name="connsiteX2735" fmla="*/ 6391077 w 8387961"/>
                <a:gd name="connsiteY2735" fmla="*/ 1747628 h 3980066"/>
                <a:gd name="connsiteX2736" fmla="*/ 6389166 w 8387961"/>
                <a:gd name="connsiteY2736" fmla="*/ 1748102 h 3980066"/>
                <a:gd name="connsiteX2737" fmla="*/ 6382404 w 8387961"/>
                <a:gd name="connsiteY2737" fmla="*/ 1756482 h 3980066"/>
                <a:gd name="connsiteX2738" fmla="*/ 6417904 w 8387961"/>
                <a:gd name="connsiteY2738" fmla="*/ 1781623 h 3980066"/>
                <a:gd name="connsiteX2739" fmla="*/ 6433118 w 8387961"/>
                <a:gd name="connsiteY2739" fmla="*/ 1801736 h 3980066"/>
                <a:gd name="connsiteX2740" fmla="*/ 6450023 w 8387961"/>
                <a:gd name="connsiteY2740" fmla="*/ 1821848 h 3980066"/>
                <a:gd name="connsiteX2741" fmla="*/ 6461856 w 8387961"/>
                <a:gd name="connsiteY2741" fmla="*/ 1838609 h 3980066"/>
                <a:gd name="connsiteX2742" fmla="*/ 6487213 w 8387961"/>
                <a:gd name="connsiteY2742" fmla="*/ 1858722 h 3980066"/>
                <a:gd name="connsiteX2743" fmla="*/ 6483832 w 8387961"/>
                <a:gd name="connsiteY2743" fmla="*/ 1865426 h 3980066"/>
                <a:gd name="connsiteX2744" fmla="*/ 6492284 w 8387961"/>
                <a:gd name="connsiteY2744" fmla="*/ 1875482 h 3980066"/>
                <a:gd name="connsiteX2745" fmla="*/ 6497298 w 8387961"/>
                <a:gd name="connsiteY2745" fmla="*/ 1898681 h 3980066"/>
                <a:gd name="connsiteX2746" fmla="*/ 6497985 w 8387961"/>
                <a:gd name="connsiteY2746" fmla="*/ 1898316 h 3980066"/>
                <a:gd name="connsiteX2747" fmla="*/ 6497978 w 8387961"/>
                <a:gd name="connsiteY2747" fmla="*/ 1898208 h 3980066"/>
                <a:gd name="connsiteX2748" fmla="*/ 6492967 w 8387961"/>
                <a:gd name="connsiteY2748" fmla="*/ 1874783 h 3980066"/>
                <a:gd name="connsiteX2749" fmla="*/ 6484616 w 8387961"/>
                <a:gd name="connsiteY2749" fmla="*/ 1864743 h 3980066"/>
                <a:gd name="connsiteX2750" fmla="*/ 6487956 w 8387961"/>
                <a:gd name="connsiteY2750" fmla="*/ 1858051 h 3980066"/>
                <a:gd name="connsiteX2751" fmla="*/ 6462903 w 8387961"/>
                <a:gd name="connsiteY2751" fmla="*/ 1837972 h 3980066"/>
                <a:gd name="connsiteX2752" fmla="*/ 6451212 w 8387961"/>
                <a:gd name="connsiteY2752" fmla="*/ 1821240 h 3980066"/>
                <a:gd name="connsiteX2753" fmla="*/ 6434510 w 8387961"/>
                <a:gd name="connsiteY2753" fmla="*/ 1801162 h 3980066"/>
                <a:gd name="connsiteX2754" fmla="*/ 6419478 w 8387961"/>
                <a:gd name="connsiteY2754" fmla="*/ 1781083 h 3980066"/>
                <a:gd name="connsiteX2755" fmla="*/ 6384403 w 8387961"/>
                <a:gd name="connsiteY2755" fmla="*/ 1755985 h 3980066"/>
                <a:gd name="connsiteX2756" fmla="*/ 1575761 w 8387961"/>
                <a:gd name="connsiteY2756" fmla="*/ 1747493 h 3980066"/>
                <a:gd name="connsiteX2757" fmla="*/ 1579525 w 8387961"/>
                <a:gd name="connsiteY2757" fmla="*/ 1747493 h 3980066"/>
                <a:gd name="connsiteX2758" fmla="*/ 1579525 w 8387961"/>
                <a:gd name="connsiteY2758" fmla="*/ 1750506 h 3980066"/>
                <a:gd name="connsiteX2759" fmla="*/ 1575761 w 8387961"/>
                <a:gd name="connsiteY2759" fmla="*/ 1750506 h 3980066"/>
                <a:gd name="connsiteX2760" fmla="*/ 1753783 w 8387961"/>
                <a:gd name="connsiteY2760" fmla="*/ 1744480 h 3980066"/>
                <a:gd name="connsiteX2761" fmla="*/ 1780513 w 8387961"/>
                <a:gd name="connsiteY2761" fmla="*/ 1746128 h 3980066"/>
                <a:gd name="connsiteX2762" fmla="*/ 1795946 w 8387961"/>
                <a:gd name="connsiteY2762" fmla="*/ 1747650 h 3980066"/>
                <a:gd name="connsiteX2763" fmla="*/ 1807646 w 8387961"/>
                <a:gd name="connsiteY2763" fmla="*/ 1744480 h 3980066"/>
                <a:gd name="connsiteX2764" fmla="*/ 1844368 w 8387961"/>
                <a:gd name="connsiteY2764" fmla="*/ 1754422 h 3980066"/>
                <a:gd name="connsiteX2765" fmla="*/ 1860108 w 8387961"/>
                <a:gd name="connsiteY2765" fmla="*/ 1759394 h 3980066"/>
                <a:gd name="connsiteX2766" fmla="*/ 1853111 w 8387961"/>
                <a:gd name="connsiteY2766" fmla="*/ 1766022 h 3980066"/>
                <a:gd name="connsiteX2767" fmla="*/ 1884589 w 8387961"/>
                <a:gd name="connsiteY2767" fmla="*/ 1779279 h 3980066"/>
                <a:gd name="connsiteX2768" fmla="*/ 1872342 w 8387961"/>
                <a:gd name="connsiteY2768" fmla="*/ 1790879 h 3980066"/>
                <a:gd name="connsiteX2769" fmla="*/ 1837372 w 8387961"/>
                <a:gd name="connsiteY2769" fmla="*/ 1789222 h 3980066"/>
                <a:gd name="connsiteX2770" fmla="*/ 1821634 w 8387961"/>
                <a:gd name="connsiteY2770" fmla="*/ 1787564 h 3980066"/>
                <a:gd name="connsiteX2771" fmla="*/ 1809401 w 8387961"/>
                <a:gd name="connsiteY2771" fmla="*/ 1794193 h 3980066"/>
                <a:gd name="connsiteX2772" fmla="*/ 1797153 w 8387961"/>
                <a:gd name="connsiteY2772" fmla="*/ 1810764 h 3980066"/>
                <a:gd name="connsiteX2773" fmla="*/ 1788411 w 8387961"/>
                <a:gd name="connsiteY2773" fmla="*/ 1797507 h 3980066"/>
                <a:gd name="connsiteX2774" fmla="*/ 1788374 w 8387961"/>
                <a:gd name="connsiteY2774" fmla="*/ 1797073 h 3980066"/>
                <a:gd name="connsiteX2775" fmla="*/ 1763804 w 8387961"/>
                <a:gd name="connsiteY2775" fmla="*/ 1795558 h 3980066"/>
                <a:gd name="connsiteX2776" fmla="*/ 1737081 w 8387961"/>
                <a:gd name="connsiteY2776" fmla="*/ 1795558 h 3980066"/>
                <a:gd name="connsiteX2777" fmla="*/ 1720381 w 8387961"/>
                <a:gd name="connsiteY2777" fmla="*/ 1785672 h 3980066"/>
                <a:gd name="connsiteX2778" fmla="*/ 1733746 w 8387961"/>
                <a:gd name="connsiteY2778" fmla="*/ 1780729 h 3980066"/>
                <a:gd name="connsiteX2779" fmla="*/ 1757129 w 8387961"/>
                <a:gd name="connsiteY2779" fmla="*/ 1780729 h 3980066"/>
                <a:gd name="connsiteX2780" fmla="*/ 1777167 w 8387961"/>
                <a:gd name="connsiteY2780" fmla="*/ 1784024 h 3980066"/>
                <a:gd name="connsiteX2781" fmla="*/ 1768821 w 8387961"/>
                <a:gd name="connsiteY2781" fmla="*/ 1759309 h 3980066"/>
                <a:gd name="connsiteX2782" fmla="*/ 1758793 w 8387961"/>
                <a:gd name="connsiteY2782" fmla="*/ 1749423 h 3980066"/>
                <a:gd name="connsiteX2783" fmla="*/ 1586304 w 8387961"/>
                <a:gd name="connsiteY2783" fmla="*/ 1744480 h 3980066"/>
                <a:gd name="connsiteX2784" fmla="*/ 1586304 w 8387961"/>
                <a:gd name="connsiteY2784" fmla="*/ 1747493 h 3980066"/>
                <a:gd name="connsiteX2785" fmla="*/ 1585300 w 8387961"/>
                <a:gd name="connsiteY2785" fmla="*/ 1747493 h 3980066"/>
                <a:gd name="connsiteX2786" fmla="*/ 6551157 w 8387961"/>
                <a:gd name="connsiteY2786" fmla="*/ 1739961 h 3980066"/>
                <a:gd name="connsiteX2787" fmla="*/ 6561487 w 8387961"/>
                <a:gd name="connsiteY2787" fmla="*/ 1739961 h 3980066"/>
                <a:gd name="connsiteX2788" fmla="*/ 6566652 w 8387961"/>
                <a:gd name="connsiteY2788" fmla="*/ 1750205 h 3980066"/>
                <a:gd name="connsiteX2789" fmla="*/ 6556322 w 8387961"/>
                <a:gd name="connsiteY2789" fmla="*/ 1770693 h 3980066"/>
                <a:gd name="connsiteX2790" fmla="*/ 6539106 w 8387961"/>
                <a:gd name="connsiteY2790" fmla="*/ 1789474 h 3980066"/>
                <a:gd name="connsiteX2791" fmla="*/ 6528776 w 8387961"/>
                <a:gd name="connsiteY2791" fmla="*/ 1791181 h 3980066"/>
                <a:gd name="connsiteX2792" fmla="*/ 6508116 w 8387961"/>
                <a:gd name="connsiteY2792" fmla="*/ 1780937 h 3980066"/>
                <a:gd name="connsiteX2793" fmla="*/ 6506394 w 8387961"/>
                <a:gd name="connsiteY2793" fmla="*/ 1757034 h 3980066"/>
                <a:gd name="connsiteX2794" fmla="*/ 6525332 w 8387961"/>
                <a:gd name="connsiteY2794" fmla="*/ 1745083 h 3980066"/>
                <a:gd name="connsiteX2795" fmla="*/ 6276389 w 8387961"/>
                <a:gd name="connsiteY2795" fmla="*/ 1727351 h 3980066"/>
                <a:gd name="connsiteX2796" fmla="*/ 6263025 w 8387961"/>
                <a:gd name="connsiteY2796" fmla="*/ 1730310 h 3980066"/>
                <a:gd name="connsiteX2797" fmla="*/ 6251257 w 8387961"/>
                <a:gd name="connsiteY2797" fmla="*/ 1745388 h 3980066"/>
                <a:gd name="connsiteX2798" fmla="*/ 6227721 w 8387961"/>
                <a:gd name="connsiteY2798" fmla="*/ 1748739 h 3980066"/>
                <a:gd name="connsiteX2799" fmla="*/ 6220997 w 8387961"/>
                <a:gd name="connsiteY2799" fmla="*/ 1783922 h 3980066"/>
                <a:gd name="connsiteX2800" fmla="*/ 6212591 w 8387961"/>
                <a:gd name="connsiteY2800" fmla="*/ 1780571 h 3980066"/>
                <a:gd name="connsiteX2801" fmla="*/ 6213380 w 8387961"/>
                <a:gd name="connsiteY2801" fmla="*/ 1781750 h 3980066"/>
                <a:gd name="connsiteX2802" fmla="*/ 6220986 w 8387961"/>
                <a:gd name="connsiteY2802" fmla="*/ 1784798 h 3980066"/>
                <a:gd name="connsiteX2803" fmla="*/ 6227667 w 8387961"/>
                <a:gd name="connsiteY2803" fmla="*/ 1749661 h 3980066"/>
                <a:gd name="connsiteX2804" fmla="*/ 6251049 w 8387961"/>
                <a:gd name="connsiteY2804" fmla="*/ 1746314 h 3980066"/>
                <a:gd name="connsiteX2805" fmla="*/ 6262741 w 8387961"/>
                <a:gd name="connsiteY2805" fmla="*/ 1731255 h 3980066"/>
                <a:gd name="connsiteX2806" fmla="*/ 6276512 w 8387961"/>
                <a:gd name="connsiteY2806" fmla="*/ 1728190 h 3980066"/>
                <a:gd name="connsiteX2807" fmla="*/ 6275906 w 8387961"/>
                <a:gd name="connsiteY2807" fmla="*/ 1727989 h 3980066"/>
                <a:gd name="connsiteX2808" fmla="*/ 3698039 w 8387961"/>
                <a:gd name="connsiteY2808" fmla="*/ 1715878 h 3980066"/>
                <a:gd name="connsiteX2809" fmla="*/ 3698039 w 8387961"/>
                <a:gd name="connsiteY2809" fmla="*/ 1716241 h 3980066"/>
                <a:gd name="connsiteX2810" fmla="*/ 3711399 w 8387961"/>
                <a:gd name="connsiteY2810" fmla="*/ 1726262 h 3980066"/>
                <a:gd name="connsiteX2811" fmla="*/ 3748104 w 8387961"/>
                <a:gd name="connsiteY2811" fmla="*/ 1741278 h 3980066"/>
                <a:gd name="connsiteX2812" fmla="*/ 3748059 w 8387961"/>
                <a:gd name="connsiteY2812" fmla="*/ 1740652 h 3980066"/>
                <a:gd name="connsiteX2813" fmla="*/ 3711073 w 8387961"/>
                <a:gd name="connsiteY2813" fmla="*/ 1725602 h 3980066"/>
                <a:gd name="connsiteX2814" fmla="*/ 6379393 w 8387961"/>
                <a:gd name="connsiteY2814" fmla="*/ 1709135 h 3980066"/>
                <a:gd name="connsiteX2815" fmla="*/ 6377820 w 8387961"/>
                <a:gd name="connsiteY2815" fmla="*/ 1710036 h 3980066"/>
                <a:gd name="connsiteX2816" fmla="*/ 6392547 w 8387961"/>
                <a:gd name="connsiteY2816" fmla="*/ 1724637 h 3980066"/>
                <a:gd name="connsiteX2817" fmla="*/ 6400999 w 8387961"/>
                <a:gd name="connsiteY2817" fmla="*/ 1731341 h 3980066"/>
                <a:gd name="connsiteX2818" fmla="*/ 6402685 w 8387961"/>
                <a:gd name="connsiteY2818" fmla="*/ 1744714 h 3980066"/>
                <a:gd name="connsiteX2819" fmla="*/ 6404446 w 8387961"/>
                <a:gd name="connsiteY2819" fmla="*/ 1744273 h 3980066"/>
                <a:gd name="connsiteX2820" fmla="*/ 6402775 w 8387961"/>
                <a:gd name="connsiteY2820" fmla="*/ 1730887 h 3980066"/>
                <a:gd name="connsiteX2821" fmla="*/ 6394424 w 8387961"/>
                <a:gd name="connsiteY2821" fmla="*/ 1724194 h 3980066"/>
                <a:gd name="connsiteX2822" fmla="*/ 3869233 w 8387961"/>
                <a:gd name="connsiteY2822" fmla="*/ 1709084 h 3980066"/>
                <a:gd name="connsiteX2823" fmla="*/ 3862380 w 8387961"/>
                <a:gd name="connsiteY2823" fmla="*/ 1713896 h 3980066"/>
                <a:gd name="connsiteX2824" fmla="*/ 3840524 w 8387961"/>
                <a:gd name="connsiteY2824" fmla="*/ 1733963 h 3980066"/>
                <a:gd name="connsiteX2825" fmla="*/ 3820500 w 8387961"/>
                <a:gd name="connsiteY2825" fmla="*/ 1755541 h 3980066"/>
                <a:gd name="connsiteX2826" fmla="*/ 3821204 w 8387961"/>
                <a:gd name="connsiteY2826" fmla="*/ 1755423 h 3980066"/>
                <a:gd name="connsiteX2827" fmla="*/ 3841266 w 8387961"/>
                <a:gd name="connsiteY2827" fmla="*/ 1733622 h 3980066"/>
                <a:gd name="connsiteX2828" fmla="*/ 3862999 w 8387961"/>
                <a:gd name="connsiteY2828" fmla="*/ 1713498 h 3980066"/>
                <a:gd name="connsiteX2829" fmla="*/ 1767078 w 8387961"/>
                <a:gd name="connsiteY2829" fmla="*/ 1700793 h 3980066"/>
                <a:gd name="connsiteX2830" fmla="*/ 1767078 w 8387961"/>
                <a:gd name="connsiteY2830" fmla="*/ 1705312 h 3980066"/>
                <a:gd name="connsiteX2831" fmla="*/ 1753520 w 8387961"/>
                <a:gd name="connsiteY2831" fmla="*/ 1709832 h 3980066"/>
                <a:gd name="connsiteX2832" fmla="*/ 6298763 w 8387961"/>
                <a:gd name="connsiteY2832" fmla="*/ 1692585 h 3980066"/>
                <a:gd name="connsiteX2833" fmla="*/ 6298693 w 8387961"/>
                <a:gd name="connsiteY2833" fmla="*/ 1692725 h 3980066"/>
                <a:gd name="connsiteX2834" fmla="*/ 6301263 w 8387961"/>
                <a:gd name="connsiteY2834" fmla="*/ 1697820 h 3980066"/>
                <a:gd name="connsiteX2835" fmla="*/ 6301437 w 8387961"/>
                <a:gd name="connsiteY2835" fmla="*/ 1697935 h 3980066"/>
                <a:gd name="connsiteX2836" fmla="*/ 1786665 w 8387961"/>
                <a:gd name="connsiteY2836" fmla="*/ 1684222 h 3980066"/>
                <a:gd name="connsiteX2837" fmla="*/ 1794201 w 8387961"/>
                <a:gd name="connsiteY2837" fmla="*/ 1687235 h 3980066"/>
                <a:gd name="connsiteX2838" fmla="*/ 1791684 w 8387961"/>
                <a:gd name="connsiteY2838" fmla="*/ 1687235 h 3980066"/>
                <a:gd name="connsiteX2839" fmla="*/ 1786665 w 8387961"/>
                <a:gd name="connsiteY2839" fmla="*/ 1687235 h 3980066"/>
                <a:gd name="connsiteX2840" fmla="*/ 1510610 w 8387961"/>
                <a:gd name="connsiteY2840" fmla="*/ 1679702 h 3980066"/>
                <a:gd name="connsiteX2841" fmla="*/ 1523040 w 8387961"/>
                <a:gd name="connsiteY2841" fmla="*/ 1690247 h 3980066"/>
                <a:gd name="connsiteX2842" fmla="*/ 1506462 w 8387961"/>
                <a:gd name="connsiteY2842" fmla="*/ 1693260 h 3980066"/>
                <a:gd name="connsiteX2843" fmla="*/ 6631430 w 8387961"/>
                <a:gd name="connsiteY2843" fmla="*/ 1670664 h 3980066"/>
                <a:gd name="connsiteX2844" fmla="*/ 6629547 w 8387961"/>
                <a:gd name="connsiteY2844" fmla="*/ 1673677 h 3980066"/>
                <a:gd name="connsiteX2845" fmla="*/ 6623898 w 8387961"/>
                <a:gd name="connsiteY2845" fmla="*/ 1673677 h 3980066"/>
                <a:gd name="connsiteX2846" fmla="*/ 4484847 w 8387961"/>
                <a:gd name="connsiteY2846" fmla="*/ 1669293 h 3980066"/>
                <a:gd name="connsiteX2847" fmla="*/ 4484613 w 8387961"/>
                <a:gd name="connsiteY2847" fmla="*/ 1670446 h 3980066"/>
                <a:gd name="connsiteX2848" fmla="*/ 4485946 w 8387961"/>
                <a:gd name="connsiteY2848" fmla="*/ 1677090 h 3980066"/>
                <a:gd name="connsiteX2849" fmla="*/ 4486449 w 8387961"/>
                <a:gd name="connsiteY2849" fmla="*/ 1677165 h 3980066"/>
                <a:gd name="connsiteX2850" fmla="*/ 6345513 w 8387961"/>
                <a:gd name="connsiteY2850" fmla="*/ 1660656 h 3980066"/>
                <a:gd name="connsiteX2851" fmla="*/ 6342331 w 8387961"/>
                <a:gd name="connsiteY2851" fmla="*/ 1663840 h 3980066"/>
                <a:gd name="connsiteX2852" fmla="*/ 6342648 w 8387961"/>
                <a:gd name="connsiteY2852" fmla="*/ 1663959 h 3980066"/>
                <a:gd name="connsiteX2853" fmla="*/ 6345945 w 8387961"/>
                <a:gd name="connsiteY2853" fmla="*/ 1660656 h 3980066"/>
                <a:gd name="connsiteX2854" fmla="*/ 6327119 w 8387961"/>
                <a:gd name="connsiteY2854" fmla="*/ 1660656 h 3980066"/>
                <a:gd name="connsiteX2855" fmla="*/ 6320788 w 8387961"/>
                <a:gd name="connsiteY2855" fmla="*/ 1668574 h 3980066"/>
                <a:gd name="connsiteX2856" fmla="*/ 6340143 w 8387961"/>
                <a:gd name="connsiteY2856" fmla="*/ 1687764 h 3980066"/>
                <a:gd name="connsiteX2857" fmla="*/ 6345214 w 8387961"/>
                <a:gd name="connsiteY2857" fmla="*/ 1699496 h 3980066"/>
                <a:gd name="connsiteX2858" fmla="*/ 6365500 w 8387961"/>
                <a:gd name="connsiteY2858" fmla="*/ 1716257 h 3980066"/>
                <a:gd name="connsiteX2859" fmla="*/ 6367117 w 8387961"/>
                <a:gd name="connsiteY2859" fmla="*/ 1715340 h 3980066"/>
                <a:gd name="connsiteX2860" fmla="*/ 6347659 w 8387961"/>
                <a:gd name="connsiteY2860" fmla="*/ 1699096 h 3980066"/>
                <a:gd name="connsiteX2861" fmla="*/ 6342648 w 8387961"/>
                <a:gd name="connsiteY2861" fmla="*/ 1687384 h 3980066"/>
                <a:gd name="connsiteX2862" fmla="*/ 6322606 w 8387961"/>
                <a:gd name="connsiteY2862" fmla="*/ 1667305 h 3980066"/>
                <a:gd name="connsiteX2863" fmla="*/ 6327732 w 8387961"/>
                <a:gd name="connsiteY2863" fmla="*/ 1660886 h 3980066"/>
                <a:gd name="connsiteX2864" fmla="*/ 1750510 w 8387961"/>
                <a:gd name="connsiteY2864" fmla="*/ 1660118 h 3980066"/>
                <a:gd name="connsiteX2865" fmla="*/ 1753520 w 8387961"/>
                <a:gd name="connsiteY2865" fmla="*/ 1664336 h 3980066"/>
                <a:gd name="connsiteX2866" fmla="*/ 1744484 w 8387961"/>
                <a:gd name="connsiteY2866" fmla="*/ 1670663 h 3980066"/>
                <a:gd name="connsiteX2867" fmla="*/ 1553050 w 8387961"/>
                <a:gd name="connsiteY2867" fmla="*/ 1643547 h 3980066"/>
                <a:gd name="connsiteX2868" fmla="*/ 1563081 w 8387961"/>
                <a:gd name="connsiteY2868" fmla="*/ 1643547 h 3980066"/>
                <a:gd name="connsiteX2869" fmla="*/ 1581472 w 8387961"/>
                <a:gd name="connsiteY2869" fmla="*/ 1648621 h 3980066"/>
                <a:gd name="connsiteX2870" fmla="*/ 1601538 w 8387961"/>
                <a:gd name="connsiteY2870" fmla="*/ 1657079 h 3980066"/>
                <a:gd name="connsiteX2871" fmla="*/ 1629957 w 8387961"/>
                <a:gd name="connsiteY2871" fmla="*/ 1672302 h 3980066"/>
                <a:gd name="connsiteX2872" fmla="*/ 1656705 w 8387961"/>
                <a:gd name="connsiteY2872" fmla="*/ 1684142 h 3980066"/>
                <a:gd name="connsiteX2873" fmla="*/ 1656705 w 8387961"/>
                <a:gd name="connsiteY2873" fmla="*/ 1682450 h 3980066"/>
                <a:gd name="connsiteX2874" fmla="*/ 1658378 w 8387961"/>
                <a:gd name="connsiteY2874" fmla="*/ 1689216 h 3980066"/>
                <a:gd name="connsiteX2875" fmla="*/ 1678436 w 8387961"/>
                <a:gd name="connsiteY2875" fmla="*/ 1695982 h 3980066"/>
                <a:gd name="connsiteX2876" fmla="*/ 1696825 w 8387961"/>
                <a:gd name="connsiteY2876" fmla="*/ 1704439 h 3980066"/>
                <a:gd name="connsiteX2877" fmla="*/ 1698497 w 8387961"/>
                <a:gd name="connsiteY2877" fmla="*/ 1712897 h 3980066"/>
                <a:gd name="connsiteX2878" fmla="*/ 1716891 w 8387961"/>
                <a:gd name="connsiteY2878" fmla="*/ 1723045 h 3980066"/>
                <a:gd name="connsiteX2879" fmla="*/ 1736948 w 8387961"/>
                <a:gd name="connsiteY2879" fmla="*/ 1733194 h 3980066"/>
                <a:gd name="connsiteX2880" fmla="*/ 1713546 w 8387961"/>
                <a:gd name="connsiteY2880" fmla="*/ 1736577 h 3980066"/>
                <a:gd name="connsiteX2881" fmla="*/ 1693489 w 8387961"/>
                <a:gd name="connsiteY2881" fmla="*/ 1738268 h 3980066"/>
                <a:gd name="connsiteX2882" fmla="*/ 1668406 w 8387961"/>
                <a:gd name="connsiteY2882" fmla="*/ 1739960 h 3980066"/>
                <a:gd name="connsiteX2883" fmla="*/ 1641656 w 8387961"/>
                <a:gd name="connsiteY2883" fmla="*/ 1739960 h 3980066"/>
                <a:gd name="connsiteX2884" fmla="*/ 1658378 w 8387961"/>
                <a:gd name="connsiteY2884" fmla="*/ 1723045 h 3980066"/>
                <a:gd name="connsiteX2885" fmla="*/ 1626612 w 8387961"/>
                <a:gd name="connsiteY2885" fmla="*/ 1706131 h 3980066"/>
                <a:gd name="connsiteX2886" fmla="*/ 1618250 w 8387961"/>
                <a:gd name="connsiteY2886" fmla="*/ 1687525 h 3980066"/>
                <a:gd name="connsiteX2887" fmla="*/ 1581472 w 8387961"/>
                <a:gd name="connsiteY2887" fmla="*/ 1679067 h 3980066"/>
                <a:gd name="connsiteX2888" fmla="*/ 1573117 w 8387961"/>
                <a:gd name="connsiteY2888" fmla="*/ 1675685 h 3980066"/>
                <a:gd name="connsiteX2889" fmla="*/ 1559738 w 8387961"/>
                <a:gd name="connsiteY2889" fmla="*/ 1672302 h 3980066"/>
                <a:gd name="connsiteX2890" fmla="*/ 1538005 w 8387961"/>
                <a:gd name="connsiteY2890" fmla="*/ 1663844 h 3980066"/>
                <a:gd name="connsiteX2891" fmla="*/ 1549716 w 8387961"/>
                <a:gd name="connsiteY2891" fmla="*/ 1658770 h 3980066"/>
                <a:gd name="connsiteX2892" fmla="*/ 1516277 w 8387961"/>
                <a:gd name="connsiteY2892" fmla="*/ 1658770 h 3980066"/>
                <a:gd name="connsiteX2893" fmla="*/ 1496210 w 8387961"/>
                <a:gd name="connsiteY2893" fmla="*/ 1668919 h 3980066"/>
                <a:gd name="connsiteX2894" fmla="*/ 1472804 w 8387961"/>
                <a:gd name="connsiteY2894" fmla="*/ 1679067 h 3980066"/>
                <a:gd name="connsiteX2895" fmla="*/ 1462782 w 8387961"/>
                <a:gd name="connsiteY2895" fmla="*/ 1682450 h 3980066"/>
                <a:gd name="connsiteX2896" fmla="*/ 1477819 w 8387961"/>
                <a:gd name="connsiteY2896" fmla="*/ 1673993 h 3980066"/>
                <a:gd name="connsiteX2897" fmla="*/ 1491202 w 8387961"/>
                <a:gd name="connsiteY2897" fmla="*/ 1655387 h 3980066"/>
                <a:gd name="connsiteX2898" fmla="*/ 1521295 w 8387961"/>
                <a:gd name="connsiteY2898" fmla="*/ 1648621 h 3980066"/>
                <a:gd name="connsiteX2899" fmla="*/ 6390663 w 8387961"/>
                <a:gd name="connsiteY2899" fmla="*/ 1642253 h 3980066"/>
                <a:gd name="connsiteX2900" fmla="*/ 6378533 w 8387961"/>
                <a:gd name="connsiteY2900" fmla="*/ 1658939 h 3980066"/>
                <a:gd name="connsiteX2901" fmla="*/ 6379393 w 8387961"/>
                <a:gd name="connsiteY2901" fmla="*/ 1658939 h 3980066"/>
                <a:gd name="connsiteX2902" fmla="*/ 6391361 w 8387961"/>
                <a:gd name="connsiteY2902" fmla="*/ 1642453 h 3980066"/>
                <a:gd name="connsiteX2903" fmla="*/ 5013633 w 8387961"/>
                <a:gd name="connsiteY2903" fmla="*/ 1640028 h 3980066"/>
                <a:gd name="connsiteX2904" fmla="*/ 5017372 w 8387961"/>
                <a:gd name="connsiteY2904" fmla="*/ 1649406 h 3980066"/>
                <a:gd name="connsiteX2905" fmla="*/ 5055859 w 8387961"/>
                <a:gd name="connsiteY2905" fmla="*/ 1657801 h 3980066"/>
                <a:gd name="connsiteX2906" fmla="*/ 5096019 w 8387961"/>
                <a:gd name="connsiteY2906" fmla="*/ 1664516 h 3980066"/>
                <a:gd name="connsiteX2907" fmla="*/ 5097076 w 8387961"/>
                <a:gd name="connsiteY2907" fmla="*/ 1663102 h 3980066"/>
                <a:gd name="connsiteX2908" fmla="*/ 5056276 w 8387961"/>
                <a:gd name="connsiteY2908" fmla="*/ 1656502 h 3980066"/>
                <a:gd name="connsiteX2909" fmla="*/ 5017008 w 8387961"/>
                <a:gd name="connsiteY2909" fmla="*/ 1648217 h 3980066"/>
                <a:gd name="connsiteX2910" fmla="*/ 3600762 w 8387961"/>
                <a:gd name="connsiteY2910" fmla="*/ 1634057 h 3980066"/>
                <a:gd name="connsiteX2911" fmla="*/ 3601182 w 8387961"/>
                <a:gd name="connsiteY2911" fmla="*/ 1634407 h 3980066"/>
                <a:gd name="connsiteX2912" fmla="*/ 3621222 w 8387961"/>
                <a:gd name="connsiteY2912" fmla="*/ 1647768 h 3980066"/>
                <a:gd name="connsiteX2913" fmla="*/ 3639591 w 8387961"/>
                <a:gd name="connsiteY2913" fmla="*/ 1661128 h 3980066"/>
                <a:gd name="connsiteX2914" fmla="*/ 3659630 w 8387961"/>
                <a:gd name="connsiteY2914" fmla="*/ 1677829 h 3980066"/>
                <a:gd name="connsiteX2915" fmla="*/ 3679670 w 8387961"/>
                <a:gd name="connsiteY2915" fmla="*/ 1691190 h 3980066"/>
                <a:gd name="connsiteX2916" fmla="*/ 3697623 w 8387961"/>
                <a:gd name="connsiteY2916" fmla="*/ 1705880 h 3980066"/>
                <a:gd name="connsiteX2917" fmla="*/ 3697623 w 8387961"/>
                <a:gd name="connsiteY2917" fmla="*/ 1705535 h 3980066"/>
                <a:gd name="connsiteX2918" fmla="*/ 3679130 w 8387961"/>
                <a:gd name="connsiteY2918" fmla="*/ 1690484 h 3980066"/>
                <a:gd name="connsiteX2919" fmla="*/ 3658956 w 8387961"/>
                <a:gd name="connsiteY2919" fmla="*/ 1677106 h 3980066"/>
                <a:gd name="connsiteX2920" fmla="*/ 3638782 w 8387961"/>
                <a:gd name="connsiteY2920" fmla="*/ 1660383 h 3980066"/>
                <a:gd name="connsiteX2921" fmla="*/ 3620289 w 8387961"/>
                <a:gd name="connsiteY2921" fmla="*/ 1647005 h 3980066"/>
                <a:gd name="connsiteX2922" fmla="*/ 3979627 w 8387961"/>
                <a:gd name="connsiteY2922" fmla="*/ 1632699 h 3980066"/>
                <a:gd name="connsiteX2923" fmla="*/ 3979831 w 8387961"/>
                <a:gd name="connsiteY2923" fmla="*/ 1633132 h 3980066"/>
                <a:gd name="connsiteX2924" fmla="*/ 3980026 w 8387961"/>
                <a:gd name="connsiteY2924" fmla="*/ 1633002 h 3980066"/>
                <a:gd name="connsiteX2925" fmla="*/ 4016623 w 8387961"/>
                <a:gd name="connsiteY2925" fmla="*/ 1643014 h 3980066"/>
                <a:gd name="connsiteX2926" fmla="*/ 4016254 w 8387961"/>
                <a:gd name="connsiteY2926" fmla="*/ 1642729 h 3980066"/>
                <a:gd name="connsiteX2927" fmla="*/ 4083126 w 8387961"/>
                <a:gd name="connsiteY2927" fmla="*/ 1632657 h 3980066"/>
                <a:gd name="connsiteX2928" fmla="*/ 4056377 w 8387961"/>
                <a:gd name="connsiteY2928" fmla="*/ 1647765 h 3980066"/>
                <a:gd name="connsiteX2929" fmla="*/ 4038063 w 8387961"/>
                <a:gd name="connsiteY2929" fmla="*/ 1659467 h 3980066"/>
                <a:gd name="connsiteX2930" fmla="*/ 4038539 w 8387961"/>
                <a:gd name="connsiteY2930" fmla="*/ 1659834 h 3980066"/>
                <a:gd name="connsiteX2931" fmla="*/ 4056928 w 8387961"/>
                <a:gd name="connsiteY2931" fmla="*/ 1648095 h 3980066"/>
                <a:gd name="connsiteX2932" fmla="*/ 4058372 w 8387961"/>
                <a:gd name="connsiteY2932" fmla="*/ 1648095 h 3980066"/>
                <a:gd name="connsiteX2933" fmla="*/ 4058371 w 8387961"/>
                <a:gd name="connsiteY2933" fmla="*/ 1648077 h 3980066"/>
                <a:gd name="connsiteX2934" fmla="*/ 4083324 w 8387961"/>
                <a:gd name="connsiteY2934" fmla="*/ 1633002 h 3980066"/>
                <a:gd name="connsiteX2935" fmla="*/ 4109942 w 8387961"/>
                <a:gd name="connsiteY2935" fmla="*/ 1648077 h 3980066"/>
                <a:gd name="connsiteX2936" fmla="*/ 4136559 w 8387961"/>
                <a:gd name="connsiteY2936" fmla="*/ 1663152 h 3980066"/>
                <a:gd name="connsiteX2937" fmla="*/ 4161512 w 8387961"/>
                <a:gd name="connsiteY2937" fmla="*/ 1678227 h 3980066"/>
                <a:gd name="connsiteX2938" fmla="*/ 4188130 w 8387961"/>
                <a:gd name="connsiteY2938" fmla="*/ 1693302 h 3980066"/>
                <a:gd name="connsiteX2939" fmla="*/ 4213083 w 8387961"/>
                <a:gd name="connsiteY2939" fmla="*/ 1708378 h 3980066"/>
                <a:gd name="connsiteX2940" fmla="*/ 4241364 w 8387961"/>
                <a:gd name="connsiteY2940" fmla="*/ 1723453 h 3980066"/>
                <a:gd name="connsiteX2941" fmla="*/ 4267981 w 8387961"/>
                <a:gd name="connsiteY2941" fmla="*/ 1738528 h 3980066"/>
                <a:gd name="connsiteX2942" fmla="*/ 4292935 w 8387961"/>
                <a:gd name="connsiteY2942" fmla="*/ 1753603 h 3980066"/>
                <a:gd name="connsiteX2943" fmla="*/ 4292935 w 8387961"/>
                <a:gd name="connsiteY2943" fmla="*/ 1780403 h 3980066"/>
                <a:gd name="connsiteX2944" fmla="*/ 4296262 w 8387961"/>
                <a:gd name="connsiteY2944" fmla="*/ 1810553 h 3980066"/>
                <a:gd name="connsiteX2945" fmla="*/ 4296262 w 8387961"/>
                <a:gd name="connsiteY2945" fmla="*/ 1839029 h 3980066"/>
                <a:gd name="connsiteX2946" fmla="*/ 4297874 w 8387961"/>
                <a:gd name="connsiteY2946" fmla="*/ 1866610 h 3980066"/>
                <a:gd name="connsiteX2947" fmla="*/ 4299209 w 8387961"/>
                <a:gd name="connsiteY2947" fmla="*/ 1866610 h 3980066"/>
                <a:gd name="connsiteX2948" fmla="*/ 4297527 w 8387961"/>
                <a:gd name="connsiteY2948" fmla="*/ 1838098 h 3980066"/>
                <a:gd name="connsiteX2949" fmla="*/ 4297527 w 8387961"/>
                <a:gd name="connsiteY2949" fmla="*/ 1809586 h 3980066"/>
                <a:gd name="connsiteX2950" fmla="*/ 4294162 w 8387961"/>
                <a:gd name="connsiteY2950" fmla="*/ 1779397 h 3980066"/>
                <a:gd name="connsiteX2951" fmla="*/ 4294162 w 8387961"/>
                <a:gd name="connsiteY2951" fmla="*/ 1752563 h 3980066"/>
                <a:gd name="connsiteX2952" fmla="*/ 4294162 w 8387961"/>
                <a:gd name="connsiteY2952" fmla="*/ 1738410 h 3980066"/>
                <a:gd name="connsiteX2953" fmla="*/ 4293773 w 8387961"/>
                <a:gd name="connsiteY2953" fmla="*/ 1738410 h 3980066"/>
                <a:gd name="connsiteX2954" fmla="*/ 4293773 w 8387961"/>
                <a:gd name="connsiteY2954" fmla="*/ 1753518 h 3980066"/>
                <a:gd name="connsiteX2955" fmla="*/ 4268696 w 8387961"/>
                <a:gd name="connsiteY2955" fmla="*/ 1738410 h 3980066"/>
                <a:gd name="connsiteX2956" fmla="*/ 4241947 w 8387961"/>
                <a:gd name="connsiteY2956" fmla="*/ 1723303 h 3980066"/>
                <a:gd name="connsiteX2957" fmla="*/ 4213527 w 8387961"/>
                <a:gd name="connsiteY2957" fmla="*/ 1708195 h 3980066"/>
                <a:gd name="connsiteX2958" fmla="*/ 4188450 w 8387961"/>
                <a:gd name="connsiteY2958" fmla="*/ 1693087 h 3980066"/>
                <a:gd name="connsiteX2959" fmla="*/ 4161701 w 8387961"/>
                <a:gd name="connsiteY2959" fmla="*/ 1677980 h 3980066"/>
                <a:gd name="connsiteX2960" fmla="*/ 4136624 w 8387961"/>
                <a:gd name="connsiteY2960" fmla="*/ 1662872 h 3980066"/>
                <a:gd name="connsiteX2961" fmla="*/ 4109875 w 8387961"/>
                <a:gd name="connsiteY2961" fmla="*/ 1647765 h 3980066"/>
                <a:gd name="connsiteX2962" fmla="*/ 5116863 w 8387961"/>
                <a:gd name="connsiteY2962" fmla="*/ 1617449 h 3980066"/>
                <a:gd name="connsiteX2963" fmla="*/ 5107496 w 8387961"/>
                <a:gd name="connsiteY2963" fmla="*/ 1620046 h 3980066"/>
                <a:gd name="connsiteX2964" fmla="*/ 5107423 w 8387961"/>
                <a:gd name="connsiteY2964" fmla="*/ 1620568 h 3980066"/>
                <a:gd name="connsiteX2965" fmla="*/ 5116907 w 8387961"/>
                <a:gd name="connsiteY2965" fmla="*/ 1617827 h 3980066"/>
                <a:gd name="connsiteX2966" fmla="*/ 5000639 w 8387961"/>
                <a:gd name="connsiteY2966" fmla="*/ 1617415 h 3980066"/>
                <a:gd name="connsiteX2967" fmla="*/ 5000639 w 8387961"/>
                <a:gd name="connsiteY2967" fmla="*/ 1617507 h 3980066"/>
                <a:gd name="connsiteX2968" fmla="*/ 5006970 w 8387961"/>
                <a:gd name="connsiteY2968" fmla="*/ 1623859 h 3980066"/>
                <a:gd name="connsiteX2969" fmla="*/ 5006764 w 8387961"/>
                <a:gd name="connsiteY2969" fmla="*/ 1623360 h 3980066"/>
                <a:gd name="connsiteX2970" fmla="*/ 1654097 w 8387961"/>
                <a:gd name="connsiteY2970" fmla="*/ 1613418 h 3980066"/>
                <a:gd name="connsiteX2971" fmla="*/ 1659517 w 8387961"/>
                <a:gd name="connsiteY2971" fmla="*/ 1615175 h 3980066"/>
                <a:gd name="connsiteX2972" fmla="*/ 1663133 w 8387961"/>
                <a:gd name="connsiteY2972" fmla="*/ 1620448 h 3980066"/>
                <a:gd name="connsiteX2973" fmla="*/ 1659517 w 8387961"/>
                <a:gd name="connsiteY2973" fmla="*/ 1623963 h 3980066"/>
                <a:gd name="connsiteX2974" fmla="*/ 3497657 w 8387961"/>
                <a:gd name="connsiteY2974" fmla="*/ 1588615 h 3980066"/>
                <a:gd name="connsiteX2975" fmla="*/ 3497731 w 8387961"/>
                <a:gd name="connsiteY2975" fmla="*/ 1589315 h 3980066"/>
                <a:gd name="connsiteX2976" fmla="*/ 3521025 w 8387961"/>
                <a:gd name="connsiteY2976" fmla="*/ 1589315 h 3980066"/>
                <a:gd name="connsiteX2977" fmla="*/ 3544078 w 8387961"/>
                <a:gd name="connsiteY2977" fmla="*/ 1589315 h 3980066"/>
                <a:gd name="connsiteX2978" fmla="*/ 3543140 w 8387961"/>
                <a:gd name="connsiteY2978" fmla="*/ 1588615 h 3980066"/>
                <a:gd name="connsiteX2979" fmla="*/ 3521177 w 8387961"/>
                <a:gd name="connsiteY2979" fmla="*/ 1588615 h 3980066"/>
                <a:gd name="connsiteX2980" fmla="*/ 5116033 w 8387961"/>
                <a:gd name="connsiteY2980" fmla="*/ 1588561 h 3980066"/>
                <a:gd name="connsiteX2981" fmla="*/ 5116935 w 8387961"/>
                <a:gd name="connsiteY2981" fmla="*/ 1596002 h 3980066"/>
                <a:gd name="connsiteX2982" fmla="*/ 5119003 w 8387961"/>
                <a:gd name="connsiteY2982" fmla="*/ 1594328 h 3980066"/>
                <a:gd name="connsiteX2983" fmla="*/ 6803952 w 8387961"/>
                <a:gd name="connsiteY2983" fmla="*/ 1583289 h 3980066"/>
                <a:gd name="connsiteX2984" fmla="*/ 6821244 w 8387961"/>
                <a:gd name="connsiteY2984" fmla="*/ 1588363 h 3980066"/>
                <a:gd name="connsiteX2985" fmla="*/ 6818100 w 8387961"/>
                <a:gd name="connsiteY2985" fmla="*/ 1610352 h 3980066"/>
                <a:gd name="connsiteX2986" fmla="*/ 6814956 w 8387961"/>
                <a:gd name="connsiteY2986" fmla="*/ 1634033 h 3980066"/>
                <a:gd name="connsiteX2987" fmla="*/ 6811812 w 8387961"/>
                <a:gd name="connsiteY2987" fmla="*/ 1657713 h 3980066"/>
                <a:gd name="connsiteX2988" fmla="*/ 6810240 w 8387961"/>
                <a:gd name="connsiteY2988" fmla="*/ 1679702 h 3980066"/>
                <a:gd name="connsiteX2989" fmla="*/ 6789805 w 8387961"/>
                <a:gd name="connsiteY2989" fmla="*/ 1656021 h 3980066"/>
                <a:gd name="connsiteX2990" fmla="*/ 6785089 w 8387961"/>
                <a:gd name="connsiteY2990" fmla="*/ 1620501 h 3980066"/>
                <a:gd name="connsiteX2991" fmla="*/ 6794521 w 8387961"/>
                <a:gd name="connsiteY2991" fmla="*/ 1603586 h 3980066"/>
                <a:gd name="connsiteX2992" fmla="*/ 1652587 w 8387961"/>
                <a:gd name="connsiteY2992" fmla="*/ 1583289 h 3980066"/>
                <a:gd name="connsiteX2993" fmla="*/ 1657107 w 8387961"/>
                <a:gd name="connsiteY2993" fmla="*/ 1605670 h 3980066"/>
                <a:gd name="connsiteX2994" fmla="*/ 1648071 w 8387961"/>
                <a:gd name="connsiteY2994" fmla="*/ 1607392 h 3980066"/>
                <a:gd name="connsiteX2995" fmla="*/ 1643556 w 8387961"/>
                <a:gd name="connsiteY2995" fmla="*/ 1600505 h 3980066"/>
                <a:gd name="connsiteX2996" fmla="*/ 5963681 w 8387961"/>
                <a:gd name="connsiteY2996" fmla="*/ 1582089 h 3980066"/>
                <a:gd name="connsiteX2997" fmla="*/ 5953954 w 8387961"/>
                <a:gd name="connsiteY2997" fmla="*/ 1586968 h 3980066"/>
                <a:gd name="connsiteX2998" fmla="*/ 5945589 w 8387961"/>
                <a:gd name="connsiteY2998" fmla="*/ 1598715 h 3980066"/>
                <a:gd name="connsiteX2999" fmla="*/ 5946273 w 8387961"/>
                <a:gd name="connsiteY2999" fmla="*/ 1599287 h 3980066"/>
                <a:gd name="connsiteX3000" fmla="*/ 5954439 w 8387961"/>
                <a:gd name="connsiteY3000" fmla="*/ 1587763 h 3980066"/>
                <a:gd name="connsiteX3001" fmla="*/ 5964393 w 8387961"/>
                <a:gd name="connsiteY3001" fmla="*/ 1582747 h 3980066"/>
                <a:gd name="connsiteX3002" fmla="*/ 6205478 w 8387961"/>
                <a:gd name="connsiteY3002" fmla="*/ 1573407 h 3980066"/>
                <a:gd name="connsiteX3003" fmla="*/ 6192418 w 8387961"/>
                <a:gd name="connsiteY3003" fmla="*/ 1592930 h 3980066"/>
                <a:gd name="connsiteX3004" fmla="*/ 6192691 w 8387961"/>
                <a:gd name="connsiteY3004" fmla="*/ 1593882 h 3980066"/>
                <a:gd name="connsiteX3005" fmla="*/ 6205050 w 8387961"/>
                <a:gd name="connsiteY3005" fmla="*/ 1575334 h 3980066"/>
                <a:gd name="connsiteX3006" fmla="*/ 1690252 w 8387961"/>
                <a:gd name="connsiteY3006" fmla="*/ 1572744 h 3980066"/>
                <a:gd name="connsiteX3007" fmla="*/ 1703814 w 8387961"/>
                <a:gd name="connsiteY3007" fmla="*/ 1585722 h 3980066"/>
                <a:gd name="connsiteX3008" fmla="*/ 1699933 w 8387961"/>
                <a:gd name="connsiteY3008" fmla="*/ 1596847 h 3980066"/>
                <a:gd name="connsiteX3009" fmla="*/ 1698004 w 8387961"/>
                <a:gd name="connsiteY3009" fmla="*/ 1594993 h 3980066"/>
                <a:gd name="connsiteX3010" fmla="*/ 1701871 w 8387961"/>
                <a:gd name="connsiteY3010" fmla="*/ 1585722 h 3980066"/>
                <a:gd name="connsiteX3011" fmla="*/ 1698004 w 8387961"/>
                <a:gd name="connsiteY3011" fmla="*/ 1582014 h 3980066"/>
                <a:gd name="connsiteX3012" fmla="*/ 5482331 w 8387961"/>
                <a:gd name="connsiteY3012" fmla="*/ 1565180 h 3980066"/>
                <a:gd name="connsiteX3013" fmla="*/ 5482504 w 8387961"/>
                <a:gd name="connsiteY3013" fmla="*/ 1565698 h 3980066"/>
                <a:gd name="connsiteX3014" fmla="*/ 5492338 w 8387961"/>
                <a:gd name="connsiteY3014" fmla="*/ 1567328 h 3980066"/>
                <a:gd name="connsiteX3015" fmla="*/ 5492186 w 8387961"/>
                <a:gd name="connsiteY3015" fmla="*/ 1566828 h 3980066"/>
                <a:gd name="connsiteX3016" fmla="*/ 3911544 w 8387961"/>
                <a:gd name="connsiteY3016" fmla="*/ 1554623 h 3980066"/>
                <a:gd name="connsiteX3017" fmla="*/ 3911134 w 8387961"/>
                <a:gd name="connsiteY3017" fmla="*/ 1555031 h 3980066"/>
                <a:gd name="connsiteX3018" fmla="*/ 3927946 w 8387961"/>
                <a:gd name="connsiteY3018" fmla="*/ 1578443 h 3980066"/>
                <a:gd name="connsiteX3019" fmla="*/ 3938033 w 8387961"/>
                <a:gd name="connsiteY3019" fmla="*/ 1605199 h 3980066"/>
                <a:gd name="connsiteX3020" fmla="*/ 3968266 w 8387961"/>
                <a:gd name="connsiteY3020" fmla="*/ 1608540 h 3980066"/>
                <a:gd name="connsiteX3021" fmla="*/ 3967772 w 8387961"/>
                <a:gd name="connsiteY3021" fmla="*/ 1607478 h 3980066"/>
                <a:gd name="connsiteX3022" fmla="*/ 3937679 w 8387961"/>
                <a:gd name="connsiteY3022" fmla="*/ 1604120 h 3980066"/>
                <a:gd name="connsiteX3023" fmla="*/ 3927649 w 8387961"/>
                <a:gd name="connsiteY3023" fmla="*/ 1577262 h 3980066"/>
                <a:gd name="connsiteX3024" fmla="*/ 4969806 w 8387961"/>
                <a:gd name="connsiteY3024" fmla="*/ 1553160 h 3980066"/>
                <a:gd name="connsiteX3025" fmla="*/ 4974325 w 8387961"/>
                <a:gd name="connsiteY3025" fmla="*/ 1555169 h 3980066"/>
                <a:gd name="connsiteX3026" fmla="*/ 4969806 w 8387961"/>
                <a:gd name="connsiteY3026" fmla="*/ 1559186 h 3980066"/>
                <a:gd name="connsiteX3027" fmla="*/ 5943915 w 8387961"/>
                <a:gd name="connsiteY3027" fmla="*/ 1541654 h 3980066"/>
                <a:gd name="connsiteX3028" fmla="*/ 5943915 w 8387961"/>
                <a:gd name="connsiteY3028" fmla="*/ 1563472 h 3980066"/>
                <a:gd name="connsiteX3029" fmla="*/ 5944485 w 8387961"/>
                <a:gd name="connsiteY3029" fmla="*/ 1563995 h 3980066"/>
                <a:gd name="connsiteX3030" fmla="*/ 5944485 w 8387961"/>
                <a:gd name="connsiteY3030" fmla="*/ 1542615 h 3980066"/>
                <a:gd name="connsiteX3031" fmla="*/ 5961075 w 8387961"/>
                <a:gd name="connsiteY3031" fmla="*/ 1547631 h 3980066"/>
                <a:gd name="connsiteX3032" fmla="*/ 5969370 w 8387961"/>
                <a:gd name="connsiteY3032" fmla="*/ 1557664 h 3980066"/>
                <a:gd name="connsiteX3033" fmla="*/ 5976006 w 8387961"/>
                <a:gd name="connsiteY3033" fmla="*/ 1552648 h 3980066"/>
                <a:gd name="connsiteX3034" fmla="*/ 5985960 w 8387961"/>
                <a:gd name="connsiteY3034" fmla="*/ 1576058 h 3980066"/>
                <a:gd name="connsiteX3035" fmla="*/ 6014163 w 8387961"/>
                <a:gd name="connsiteY3035" fmla="*/ 1579403 h 3980066"/>
                <a:gd name="connsiteX3036" fmla="*/ 6040707 w 8387961"/>
                <a:gd name="connsiteY3036" fmla="*/ 1582747 h 3980066"/>
                <a:gd name="connsiteX3037" fmla="*/ 6055639 w 8387961"/>
                <a:gd name="connsiteY3037" fmla="*/ 1592780 h 3980066"/>
                <a:gd name="connsiteX3038" fmla="*/ 6050967 w 8387961"/>
                <a:gd name="connsiteY3038" fmla="*/ 1603767 h 3980066"/>
                <a:gd name="connsiteX3039" fmla="*/ 6050992 w 8387961"/>
                <a:gd name="connsiteY3039" fmla="*/ 1603750 h 3980066"/>
                <a:gd name="connsiteX3040" fmla="*/ 6056011 w 8387961"/>
                <a:gd name="connsiteY3040" fmla="*/ 1592002 h 3980066"/>
                <a:gd name="connsiteX3041" fmla="*/ 6040954 w 8387961"/>
                <a:gd name="connsiteY3041" fmla="*/ 1581933 h 3980066"/>
                <a:gd name="connsiteX3042" fmla="*/ 6014184 w 8387961"/>
                <a:gd name="connsiteY3042" fmla="*/ 1578576 h 3980066"/>
                <a:gd name="connsiteX3043" fmla="*/ 5985742 w 8387961"/>
                <a:gd name="connsiteY3043" fmla="*/ 1575220 h 3980066"/>
                <a:gd name="connsiteX3044" fmla="*/ 5975704 w 8387961"/>
                <a:gd name="connsiteY3044" fmla="*/ 1551724 h 3980066"/>
                <a:gd name="connsiteX3045" fmla="*/ 5969012 w 8387961"/>
                <a:gd name="connsiteY3045" fmla="*/ 1556759 h 3980066"/>
                <a:gd name="connsiteX3046" fmla="*/ 5960646 w 8387961"/>
                <a:gd name="connsiteY3046" fmla="*/ 1546689 h 3980066"/>
                <a:gd name="connsiteX3047" fmla="*/ 1636020 w 8387961"/>
                <a:gd name="connsiteY3047" fmla="*/ 1539602 h 3980066"/>
                <a:gd name="connsiteX3048" fmla="*/ 1645055 w 8387961"/>
                <a:gd name="connsiteY3048" fmla="*/ 1539602 h 3980066"/>
                <a:gd name="connsiteX3049" fmla="*/ 1663132 w 8387961"/>
                <a:gd name="connsiteY3049" fmla="*/ 1539602 h 3980066"/>
                <a:gd name="connsiteX3050" fmla="*/ 1652286 w 8387961"/>
                <a:gd name="connsiteY3050" fmla="*/ 1542615 h 3980066"/>
                <a:gd name="connsiteX3051" fmla="*/ 5455914 w 8387961"/>
                <a:gd name="connsiteY3051" fmla="*/ 1535210 h 3980066"/>
                <a:gd name="connsiteX3052" fmla="*/ 5455723 w 8387961"/>
                <a:gd name="connsiteY3052" fmla="*/ 1535734 h 3980066"/>
                <a:gd name="connsiteX3053" fmla="*/ 5475668 w 8387961"/>
                <a:gd name="connsiteY3053" fmla="*/ 1545652 h 3980066"/>
                <a:gd name="connsiteX3054" fmla="*/ 5475455 w 8387961"/>
                <a:gd name="connsiteY3054" fmla="*/ 1545011 h 3980066"/>
                <a:gd name="connsiteX3055" fmla="*/ 6965487 w 8387961"/>
                <a:gd name="connsiteY3055" fmla="*/ 1533576 h 3980066"/>
                <a:gd name="connsiteX3056" fmla="*/ 6968877 w 8387961"/>
                <a:gd name="connsiteY3056" fmla="*/ 1535208 h 3980066"/>
                <a:gd name="connsiteX3057" fmla="*/ 6955319 w 8387961"/>
                <a:gd name="connsiteY3057" fmla="*/ 1553160 h 3980066"/>
                <a:gd name="connsiteX3058" fmla="*/ 1666148 w 8387961"/>
                <a:gd name="connsiteY3058" fmla="*/ 1529056 h 3980066"/>
                <a:gd name="connsiteX3059" fmla="*/ 1687236 w 8387961"/>
                <a:gd name="connsiteY3059" fmla="*/ 1548551 h 3980066"/>
                <a:gd name="connsiteX3060" fmla="*/ 1675735 w 8387961"/>
                <a:gd name="connsiteY3060" fmla="*/ 1559185 h 3980066"/>
                <a:gd name="connsiteX3061" fmla="*/ 1679567 w 8387961"/>
                <a:gd name="connsiteY3061" fmla="*/ 1546779 h 3980066"/>
                <a:gd name="connsiteX3062" fmla="*/ 3443764 w 8387961"/>
                <a:gd name="connsiteY3062" fmla="*/ 1519913 h 3980066"/>
                <a:gd name="connsiteX3063" fmla="*/ 3443764 w 8387961"/>
                <a:gd name="connsiteY3063" fmla="*/ 1521038 h 3980066"/>
                <a:gd name="connsiteX3064" fmla="*/ 3443764 w 8387961"/>
                <a:gd name="connsiteY3064" fmla="*/ 1558499 h 3980066"/>
                <a:gd name="connsiteX3065" fmla="*/ 3445578 w 8387961"/>
                <a:gd name="connsiteY3065" fmla="*/ 1558499 h 3980066"/>
                <a:gd name="connsiteX3066" fmla="*/ 3445578 w 8387961"/>
                <a:gd name="connsiteY3066" fmla="*/ 1521116 h 3980066"/>
                <a:gd name="connsiteX3067" fmla="*/ 6020314 w 8387961"/>
                <a:gd name="connsiteY3067" fmla="*/ 1506404 h 3980066"/>
                <a:gd name="connsiteX3068" fmla="*/ 6019437 w 8387961"/>
                <a:gd name="connsiteY3068" fmla="*/ 1506741 h 3980066"/>
                <a:gd name="connsiteX3069" fmla="*/ 6018754 w 8387961"/>
                <a:gd name="connsiteY3069" fmla="*/ 1506741 h 3980066"/>
                <a:gd name="connsiteX3070" fmla="*/ 6024948 w 8387961"/>
                <a:gd name="connsiteY3070" fmla="*/ 1514051 h 3980066"/>
                <a:gd name="connsiteX3071" fmla="*/ 6034671 w 8387961"/>
                <a:gd name="connsiteY3071" fmla="*/ 1528397 h 3980066"/>
                <a:gd name="connsiteX3072" fmla="*/ 6035934 w 8387961"/>
                <a:gd name="connsiteY3072" fmla="*/ 1528228 h 3980066"/>
                <a:gd name="connsiteX3073" fmla="*/ 6025896 w 8387961"/>
                <a:gd name="connsiteY3073" fmla="*/ 1513123 h 3980066"/>
                <a:gd name="connsiteX3074" fmla="*/ 3262989 w 8387961"/>
                <a:gd name="connsiteY3074" fmla="*/ 1498927 h 3980066"/>
                <a:gd name="connsiteX3075" fmla="*/ 3273534 w 8387961"/>
                <a:gd name="connsiteY3075" fmla="*/ 1498927 h 3980066"/>
                <a:gd name="connsiteX3076" fmla="*/ 3271776 w 8387961"/>
                <a:gd name="connsiteY3076" fmla="*/ 1503446 h 3980066"/>
                <a:gd name="connsiteX3077" fmla="*/ 3253950 w 8387961"/>
                <a:gd name="connsiteY3077" fmla="*/ 1482356 h 3980066"/>
                <a:gd name="connsiteX3078" fmla="*/ 3240392 w 8387961"/>
                <a:gd name="connsiteY3078" fmla="*/ 1495914 h 3980066"/>
                <a:gd name="connsiteX3079" fmla="*/ 3240392 w 8387961"/>
                <a:gd name="connsiteY3079" fmla="*/ 1484293 h 3980066"/>
                <a:gd name="connsiteX3080" fmla="*/ 3320234 w 8387961"/>
                <a:gd name="connsiteY3080" fmla="*/ 1473317 h 3980066"/>
                <a:gd name="connsiteX3081" fmla="*/ 3318393 w 8387961"/>
                <a:gd name="connsiteY3081" fmla="*/ 1486205 h 3980066"/>
                <a:gd name="connsiteX3082" fmla="*/ 3303663 w 8387961"/>
                <a:gd name="connsiteY3082" fmla="*/ 1489888 h 3980066"/>
                <a:gd name="connsiteX3083" fmla="*/ 6134646 w 8387961"/>
                <a:gd name="connsiteY3083" fmla="*/ 1469907 h 3980066"/>
                <a:gd name="connsiteX3084" fmla="*/ 6134646 w 8387961"/>
                <a:gd name="connsiteY3084" fmla="*/ 1481236 h 3980066"/>
                <a:gd name="connsiteX3085" fmla="*/ 6134818 w 8387961"/>
                <a:gd name="connsiteY3085" fmla="*/ 1481301 h 3980066"/>
                <a:gd name="connsiteX3086" fmla="*/ 6134818 w 8387961"/>
                <a:gd name="connsiteY3086" fmla="*/ 1469935 h 3980066"/>
                <a:gd name="connsiteX3087" fmla="*/ 1387437 w 8387961"/>
                <a:gd name="connsiteY3087" fmla="*/ 1463783 h 3980066"/>
                <a:gd name="connsiteX3088" fmla="*/ 1387952 w 8387961"/>
                <a:gd name="connsiteY3088" fmla="*/ 1464170 h 3980066"/>
                <a:gd name="connsiteX3089" fmla="*/ 1382930 w 8387961"/>
                <a:gd name="connsiteY3089" fmla="*/ 1469203 h 3980066"/>
                <a:gd name="connsiteX3090" fmla="*/ 6125413 w 8387961"/>
                <a:gd name="connsiteY3090" fmla="*/ 1461222 h 3980066"/>
                <a:gd name="connsiteX3091" fmla="*/ 6124607 w 8387961"/>
                <a:gd name="connsiteY3091" fmla="*/ 1464453 h 3980066"/>
                <a:gd name="connsiteX3092" fmla="*/ 6125691 w 8387961"/>
                <a:gd name="connsiteY3092" fmla="*/ 1464635 h 3980066"/>
                <a:gd name="connsiteX3093" fmla="*/ 6126457 w 8387961"/>
                <a:gd name="connsiteY3093" fmla="*/ 1461570 h 3980066"/>
                <a:gd name="connsiteX3094" fmla="*/ 3330779 w 8387961"/>
                <a:gd name="connsiteY3094" fmla="*/ 1459759 h 3980066"/>
                <a:gd name="connsiteX3095" fmla="*/ 3327264 w 8387961"/>
                <a:gd name="connsiteY3095" fmla="*/ 1462772 h 3980066"/>
                <a:gd name="connsiteX3096" fmla="*/ 3320234 w 8387961"/>
                <a:gd name="connsiteY3096" fmla="*/ 1462772 h 3980066"/>
                <a:gd name="connsiteX3097" fmla="*/ 1255508 w 8387961"/>
                <a:gd name="connsiteY3097" fmla="*/ 1452269 h 3980066"/>
                <a:gd name="connsiteX3098" fmla="*/ 1255718 w 8387961"/>
                <a:gd name="connsiteY3098" fmla="*/ 1452426 h 3980066"/>
                <a:gd name="connsiteX3099" fmla="*/ 1252370 w 8387961"/>
                <a:gd name="connsiteY3099" fmla="*/ 1454104 h 3980066"/>
                <a:gd name="connsiteX3100" fmla="*/ 1001359 w 8387961"/>
                <a:gd name="connsiteY3100" fmla="*/ 1444089 h 3980066"/>
                <a:gd name="connsiteX3101" fmla="*/ 1001697 w 8387961"/>
                <a:gd name="connsiteY3101" fmla="*/ 1445598 h 3980066"/>
                <a:gd name="connsiteX3102" fmla="*/ 1016808 w 8387961"/>
                <a:gd name="connsiteY3102" fmla="*/ 1457279 h 3980066"/>
                <a:gd name="connsiteX3103" fmla="*/ 1031927 w 8387961"/>
                <a:gd name="connsiteY3103" fmla="*/ 1468960 h 3980066"/>
                <a:gd name="connsiteX3104" fmla="*/ 1050389 w 8387961"/>
                <a:gd name="connsiteY3104" fmla="*/ 1447267 h 3980066"/>
                <a:gd name="connsiteX3105" fmla="*/ 1087328 w 8387961"/>
                <a:gd name="connsiteY3105" fmla="*/ 1450604 h 3980066"/>
                <a:gd name="connsiteX3106" fmla="*/ 1087359 w 8387961"/>
                <a:gd name="connsiteY3106" fmla="*/ 1450673 h 3980066"/>
                <a:gd name="connsiteX3107" fmla="*/ 1086660 w 8387961"/>
                <a:gd name="connsiteY3107" fmla="*/ 1449071 h 3980066"/>
                <a:gd name="connsiteX3108" fmla="*/ 1049836 w 8387961"/>
                <a:gd name="connsiteY3108" fmla="*/ 1445715 h 3980066"/>
                <a:gd name="connsiteX3109" fmla="*/ 1031423 w 8387961"/>
                <a:gd name="connsiteY3109" fmla="*/ 1467526 h 3980066"/>
                <a:gd name="connsiteX3110" fmla="*/ 1016358 w 8387961"/>
                <a:gd name="connsiteY3110" fmla="*/ 1455781 h 3980066"/>
                <a:gd name="connsiteX3111" fmla="*/ 3909632 w 8387961"/>
                <a:gd name="connsiteY3111" fmla="*/ 1437437 h 3980066"/>
                <a:gd name="connsiteX3112" fmla="*/ 3909453 w 8387961"/>
                <a:gd name="connsiteY3112" fmla="*/ 1437972 h 3980066"/>
                <a:gd name="connsiteX3113" fmla="*/ 3920961 w 8387961"/>
                <a:gd name="connsiteY3113" fmla="*/ 1473949 h 3980066"/>
                <a:gd name="connsiteX3114" fmla="*/ 3920961 w 8387961"/>
                <a:gd name="connsiteY3114" fmla="*/ 1473188 h 3980066"/>
                <a:gd name="connsiteX3115" fmla="*/ 5731466 w 8387961"/>
                <a:gd name="connsiteY3115" fmla="*/ 1433451 h 3980066"/>
                <a:gd name="connsiteX3116" fmla="*/ 5718051 w 8387961"/>
                <a:gd name="connsiteY3116" fmla="*/ 1454384 h 3980066"/>
                <a:gd name="connsiteX3117" fmla="*/ 5718051 w 8387961"/>
                <a:gd name="connsiteY3117" fmla="*/ 1472845 h 3980066"/>
                <a:gd name="connsiteX3118" fmla="*/ 5749839 w 8387961"/>
                <a:gd name="connsiteY3118" fmla="*/ 1491306 h 3980066"/>
                <a:gd name="connsiteX3119" fmla="*/ 5783301 w 8387961"/>
                <a:gd name="connsiteY3119" fmla="*/ 1506410 h 3980066"/>
                <a:gd name="connsiteX3120" fmla="*/ 5808397 w 8387961"/>
                <a:gd name="connsiteY3120" fmla="*/ 1513123 h 3980066"/>
                <a:gd name="connsiteX3121" fmla="*/ 5840185 w 8387961"/>
                <a:gd name="connsiteY3121" fmla="*/ 1516480 h 3980066"/>
                <a:gd name="connsiteX3122" fmla="*/ 5855243 w 8387961"/>
                <a:gd name="connsiteY3122" fmla="*/ 1531584 h 3980066"/>
                <a:gd name="connsiteX3123" fmla="*/ 5873646 w 8387961"/>
                <a:gd name="connsiteY3123" fmla="*/ 1536619 h 3980066"/>
                <a:gd name="connsiteX3124" fmla="*/ 5907108 w 8387961"/>
                <a:gd name="connsiteY3124" fmla="*/ 1541654 h 3980066"/>
                <a:gd name="connsiteX3125" fmla="*/ 5935550 w 8387961"/>
                <a:gd name="connsiteY3125" fmla="*/ 1543332 h 3980066"/>
                <a:gd name="connsiteX3126" fmla="*/ 5927864 w 8387961"/>
                <a:gd name="connsiteY3126" fmla="*/ 1504784 h 3980066"/>
                <a:gd name="connsiteX3127" fmla="*/ 5927466 w 8387961"/>
                <a:gd name="connsiteY3127" fmla="*/ 1505068 h 3980066"/>
                <a:gd name="connsiteX3128" fmla="*/ 5926527 w 8387961"/>
                <a:gd name="connsiteY3128" fmla="*/ 1504912 h 3980066"/>
                <a:gd name="connsiteX3129" fmla="*/ 5933940 w 8387961"/>
                <a:gd name="connsiteY3129" fmla="*/ 1542615 h 3980066"/>
                <a:gd name="connsiteX3130" fmla="*/ 5905966 w 8387961"/>
                <a:gd name="connsiteY3130" fmla="*/ 1540941 h 3980066"/>
                <a:gd name="connsiteX3131" fmla="*/ 5873056 w 8387961"/>
                <a:gd name="connsiteY3131" fmla="*/ 1535919 h 3980066"/>
                <a:gd name="connsiteX3132" fmla="*/ 5854955 w 8387961"/>
                <a:gd name="connsiteY3132" fmla="*/ 1530898 h 3980066"/>
                <a:gd name="connsiteX3133" fmla="*/ 5840145 w 8387961"/>
                <a:gd name="connsiteY3133" fmla="*/ 1515833 h 3980066"/>
                <a:gd name="connsiteX3134" fmla="*/ 5808881 w 8387961"/>
                <a:gd name="connsiteY3134" fmla="*/ 1512486 h 3980066"/>
                <a:gd name="connsiteX3135" fmla="*/ 5784198 w 8387961"/>
                <a:gd name="connsiteY3135" fmla="*/ 1505790 h 3980066"/>
                <a:gd name="connsiteX3136" fmla="*/ 5751288 w 8387961"/>
                <a:gd name="connsiteY3136" fmla="*/ 1490726 h 3980066"/>
                <a:gd name="connsiteX3137" fmla="*/ 5720023 w 8387961"/>
                <a:gd name="connsiteY3137" fmla="*/ 1472313 h 3980066"/>
                <a:gd name="connsiteX3138" fmla="*/ 5720023 w 8387961"/>
                <a:gd name="connsiteY3138" fmla="*/ 1453901 h 3980066"/>
                <a:gd name="connsiteX3139" fmla="*/ 5732508 w 8387961"/>
                <a:gd name="connsiteY3139" fmla="*/ 1434146 h 3980066"/>
                <a:gd name="connsiteX3140" fmla="*/ 5356966 w 8387961"/>
                <a:gd name="connsiteY3140" fmla="*/ 1429195 h 3980066"/>
                <a:gd name="connsiteX3141" fmla="*/ 5356801 w 8387961"/>
                <a:gd name="connsiteY3141" fmla="*/ 1429965 h 3980066"/>
                <a:gd name="connsiteX3142" fmla="*/ 5356801 w 8387961"/>
                <a:gd name="connsiteY3142" fmla="*/ 1442543 h 3980066"/>
                <a:gd name="connsiteX3143" fmla="*/ 5356966 w 8387961"/>
                <a:gd name="connsiteY3143" fmla="*/ 1442510 h 3980066"/>
                <a:gd name="connsiteX3144" fmla="*/ 5361852 w 8387961"/>
                <a:gd name="connsiteY3144" fmla="*/ 1406517 h 3980066"/>
                <a:gd name="connsiteX3145" fmla="*/ 5361817 w 8387961"/>
                <a:gd name="connsiteY3145" fmla="*/ 1406531 h 3980066"/>
                <a:gd name="connsiteX3146" fmla="*/ 5357025 w 8387961"/>
                <a:gd name="connsiteY3146" fmla="*/ 1428919 h 3980066"/>
                <a:gd name="connsiteX3147" fmla="*/ 3925977 w 8387961"/>
                <a:gd name="connsiteY3147" fmla="*/ 1395294 h 3980066"/>
                <a:gd name="connsiteX3148" fmla="*/ 3925385 w 8387961"/>
                <a:gd name="connsiteY3148" fmla="*/ 1395818 h 3980066"/>
                <a:gd name="connsiteX3149" fmla="*/ 3925385 w 8387961"/>
                <a:gd name="connsiteY3149" fmla="*/ 1418321 h 3980066"/>
                <a:gd name="connsiteX3150" fmla="*/ 3925977 w 8387961"/>
                <a:gd name="connsiteY3150" fmla="*/ 1417793 h 3980066"/>
                <a:gd name="connsiteX3151" fmla="*/ 4622276 w 8387961"/>
                <a:gd name="connsiteY3151" fmla="*/ 1387375 h 3980066"/>
                <a:gd name="connsiteX3152" fmla="*/ 4604552 w 8387961"/>
                <a:gd name="connsiteY3152" fmla="*/ 1394506 h 3980066"/>
                <a:gd name="connsiteX3153" fmla="*/ 4635224 w 8387961"/>
                <a:gd name="connsiteY3153" fmla="*/ 1424477 h 3980066"/>
                <a:gd name="connsiteX3154" fmla="*/ 4623296 w 8387961"/>
                <a:gd name="connsiteY3154" fmla="*/ 1437797 h 3980066"/>
                <a:gd name="connsiteX3155" fmla="*/ 4604552 w 8387961"/>
                <a:gd name="connsiteY3155" fmla="*/ 1442792 h 3980066"/>
                <a:gd name="connsiteX3156" fmla="*/ 4589261 w 8387961"/>
                <a:gd name="connsiteY3156" fmla="*/ 1462714 h 3980066"/>
                <a:gd name="connsiteX3157" fmla="*/ 4590670 w 8387961"/>
                <a:gd name="connsiteY3157" fmla="*/ 1463046 h 3980066"/>
                <a:gd name="connsiteX3158" fmla="*/ 4605730 w 8387961"/>
                <a:gd name="connsiteY3158" fmla="*/ 1442899 h 3980066"/>
                <a:gd name="connsiteX3159" fmla="*/ 4624137 w 8387961"/>
                <a:gd name="connsiteY3159" fmla="*/ 1437863 h 3980066"/>
                <a:gd name="connsiteX3160" fmla="*/ 4635850 w 8387961"/>
                <a:gd name="connsiteY3160" fmla="*/ 1424431 h 3980066"/>
                <a:gd name="connsiteX3161" fmla="*/ 4605730 w 8387961"/>
                <a:gd name="connsiteY3161" fmla="*/ 1394211 h 3980066"/>
                <a:gd name="connsiteX3162" fmla="*/ 5556344 w 8387961"/>
                <a:gd name="connsiteY3162" fmla="*/ 1385790 h 3980066"/>
                <a:gd name="connsiteX3163" fmla="*/ 5556153 w 8387961"/>
                <a:gd name="connsiteY3163" fmla="*/ 1385911 h 3980066"/>
                <a:gd name="connsiteX3164" fmla="*/ 5562336 w 8387961"/>
                <a:gd name="connsiteY3164" fmla="*/ 1405894 h 3980066"/>
                <a:gd name="connsiteX3165" fmla="*/ 5562455 w 8387961"/>
                <a:gd name="connsiteY3165" fmla="*/ 1405714 h 3980066"/>
                <a:gd name="connsiteX3166" fmla="*/ 2035227 w 8387961"/>
                <a:gd name="connsiteY3166" fmla="*/ 1366359 h 3980066"/>
                <a:gd name="connsiteX3167" fmla="*/ 2035227 w 8387961"/>
                <a:gd name="connsiteY3167" fmla="*/ 1367865 h 3980066"/>
                <a:gd name="connsiteX3168" fmla="*/ 2031460 w 8387961"/>
                <a:gd name="connsiteY3168" fmla="*/ 1369372 h 3980066"/>
                <a:gd name="connsiteX3169" fmla="*/ 2031460 w 8387961"/>
                <a:gd name="connsiteY3169" fmla="*/ 1367865 h 3980066"/>
                <a:gd name="connsiteX3170" fmla="*/ 6957579 w 8387961"/>
                <a:gd name="connsiteY3170" fmla="*/ 1361839 h 3980066"/>
                <a:gd name="connsiteX3171" fmla="*/ 6958332 w 8387961"/>
                <a:gd name="connsiteY3171" fmla="*/ 1369371 h 3980066"/>
                <a:gd name="connsiteX3172" fmla="*/ 6955319 w 8387961"/>
                <a:gd name="connsiteY3172" fmla="*/ 1369371 h 3980066"/>
                <a:gd name="connsiteX3173" fmla="*/ 5418889 w 8387961"/>
                <a:gd name="connsiteY3173" fmla="*/ 1356116 h 3980066"/>
                <a:gd name="connsiteX3174" fmla="*/ 5418671 w 8387961"/>
                <a:gd name="connsiteY3174" fmla="*/ 1356316 h 3980066"/>
                <a:gd name="connsiteX3175" fmla="*/ 5417027 w 8387961"/>
                <a:gd name="connsiteY3175" fmla="*/ 1387575 h 3980066"/>
                <a:gd name="connsiteX3176" fmla="*/ 5417224 w 8387961"/>
                <a:gd name="connsiteY3176" fmla="*/ 1387575 h 3980066"/>
                <a:gd name="connsiteX3177" fmla="*/ 5671919 w 8387961"/>
                <a:gd name="connsiteY3177" fmla="*/ 1352574 h 3980066"/>
                <a:gd name="connsiteX3178" fmla="*/ 5667859 w 8387961"/>
                <a:gd name="connsiteY3178" fmla="*/ 1362079 h 3980066"/>
                <a:gd name="connsiteX3179" fmla="*/ 5652801 w 8387961"/>
                <a:gd name="connsiteY3179" fmla="*/ 1360400 h 3980066"/>
                <a:gd name="connsiteX3180" fmla="*/ 5654367 w 8387961"/>
                <a:gd name="connsiteY3180" fmla="*/ 1364664 h 3980066"/>
                <a:gd name="connsiteX3181" fmla="*/ 5668277 w 8387961"/>
                <a:gd name="connsiteY3181" fmla="*/ 1366210 h 3980066"/>
                <a:gd name="connsiteX3182" fmla="*/ 5673294 w 8387961"/>
                <a:gd name="connsiteY3182" fmla="*/ 1354499 h 3980066"/>
                <a:gd name="connsiteX3183" fmla="*/ 5534393 w 8387961"/>
                <a:gd name="connsiteY3183" fmla="*/ 1328107 h 3980066"/>
                <a:gd name="connsiteX3184" fmla="*/ 5534393 w 8387961"/>
                <a:gd name="connsiteY3184" fmla="*/ 1329311 h 3980066"/>
                <a:gd name="connsiteX3185" fmla="*/ 5539415 w 8387961"/>
                <a:gd name="connsiteY3185" fmla="*/ 1345958 h 3980066"/>
                <a:gd name="connsiteX3186" fmla="*/ 5552805 w 8387961"/>
                <a:gd name="connsiteY3186" fmla="*/ 1354281 h 3980066"/>
                <a:gd name="connsiteX3187" fmla="*/ 5562849 w 8387961"/>
                <a:gd name="connsiteY3187" fmla="*/ 1364269 h 3980066"/>
                <a:gd name="connsiteX3188" fmla="*/ 5572980 w 8387961"/>
                <a:gd name="connsiteY3188" fmla="*/ 1372906 h 3980066"/>
                <a:gd name="connsiteX3189" fmla="*/ 5574167 w 8387961"/>
                <a:gd name="connsiteY3189" fmla="*/ 1372148 h 3980066"/>
                <a:gd name="connsiteX3190" fmla="*/ 5562455 w 8387961"/>
                <a:gd name="connsiteY3190" fmla="*/ 1362079 h 3980066"/>
                <a:gd name="connsiteX3191" fmla="*/ 5552417 w 8387961"/>
                <a:gd name="connsiteY3191" fmla="*/ 1352009 h 3980066"/>
                <a:gd name="connsiteX3192" fmla="*/ 5539032 w 8387961"/>
                <a:gd name="connsiteY3192" fmla="*/ 1343618 h 3980066"/>
                <a:gd name="connsiteX3193" fmla="*/ 5425712 w 8387961"/>
                <a:gd name="connsiteY3193" fmla="*/ 1322785 h 3980066"/>
                <a:gd name="connsiteX3194" fmla="*/ 5425360 w 8387961"/>
                <a:gd name="connsiteY3194" fmla="*/ 1322839 h 3980066"/>
                <a:gd name="connsiteX3195" fmla="*/ 5438715 w 8387961"/>
                <a:gd name="connsiteY3195" fmla="*/ 1337880 h 3980066"/>
                <a:gd name="connsiteX3196" fmla="*/ 5438984 w 8387961"/>
                <a:gd name="connsiteY3196" fmla="*/ 1337634 h 3980066"/>
                <a:gd name="connsiteX3197" fmla="*/ 6961043 w 8387961"/>
                <a:gd name="connsiteY3197" fmla="*/ 1322671 h 3980066"/>
                <a:gd name="connsiteX3198" fmla="*/ 6975279 w 8387961"/>
                <a:gd name="connsiteY3198" fmla="*/ 1329189 h 3980066"/>
                <a:gd name="connsiteX3199" fmla="*/ 6983188 w 8387961"/>
                <a:gd name="connsiteY3199" fmla="*/ 1335706 h 3980066"/>
                <a:gd name="connsiteX3200" fmla="*/ 6984770 w 8387961"/>
                <a:gd name="connsiteY3200" fmla="*/ 1338965 h 3980066"/>
                <a:gd name="connsiteX3201" fmla="*/ 6999006 w 8387961"/>
                <a:gd name="connsiteY3201" fmla="*/ 1348742 h 3980066"/>
                <a:gd name="connsiteX3202" fmla="*/ 6997424 w 8387961"/>
                <a:gd name="connsiteY3202" fmla="*/ 1371554 h 3980066"/>
                <a:gd name="connsiteX3203" fmla="*/ 6994261 w 8387961"/>
                <a:gd name="connsiteY3203" fmla="*/ 1392736 h 3980066"/>
                <a:gd name="connsiteX3204" fmla="*/ 6987934 w 8387961"/>
                <a:gd name="connsiteY3204" fmla="*/ 1402513 h 3980066"/>
                <a:gd name="connsiteX3205" fmla="*/ 6978443 w 8387961"/>
                <a:gd name="connsiteY3205" fmla="*/ 1386219 h 3980066"/>
                <a:gd name="connsiteX3206" fmla="*/ 6980025 w 8387961"/>
                <a:gd name="connsiteY3206" fmla="*/ 1400883 h 3980066"/>
                <a:gd name="connsiteX3207" fmla="*/ 6972116 w 8387961"/>
                <a:gd name="connsiteY3207" fmla="*/ 1392736 h 3980066"/>
                <a:gd name="connsiteX3208" fmla="*/ 6965789 w 8387961"/>
                <a:gd name="connsiteY3208" fmla="*/ 1371554 h 3980066"/>
                <a:gd name="connsiteX3209" fmla="*/ 6965789 w 8387961"/>
                <a:gd name="connsiteY3209" fmla="*/ 1358518 h 3980066"/>
                <a:gd name="connsiteX3210" fmla="*/ 6951553 w 8387961"/>
                <a:gd name="connsiteY3210" fmla="*/ 1343853 h 3980066"/>
                <a:gd name="connsiteX3211" fmla="*/ 6959462 w 8387961"/>
                <a:gd name="connsiteY3211" fmla="*/ 1358518 h 3980066"/>
                <a:gd name="connsiteX3212" fmla="*/ 6949971 w 8387961"/>
                <a:gd name="connsiteY3212" fmla="*/ 1358518 h 3980066"/>
                <a:gd name="connsiteX3213" fmla="*/ 6943644 w 8387961"/>
                <a:gd name="connsiteY3213" fmla="*/ 1347112 h 3980066"/>
                <a:gd name="connsiteX3214" fmla="*/ 6946807 w 8387961"/>
                <a:gd name="connsiteY3214" fmla="*/ 1347112 h 3980066"/>
                <a:gd name="connsiteX3215" fmla="*/ 6935735 w 8387961"/>
                <a:gd name="connsiteY3215" fmla="*/ 1337336 h 3980066"/>
                <a:gd name="connsiteX3216" fmla="*/ 5656147 w 8387961"/>
                <a:gd name="connsiteY3216" fmla="*/ 1317241 h 3980066"/>
                <a:gd name="connsiteX3217" fmla="*/ 5656147 w 8387961"/>
                <a:gd name="connsiteY3217" fmla="*/ 1326835 h 3980066"/>
                <a:gd name="connsiteX3218" fmla="*/ 5656572 w 8387961"/>
                <a:gd name="connsiteY3218" fmla="*/ 1327432 h 3980066"/>
                <a:gd name="connsiteX3219" fmla="*/ 5656572 w 8387961"/>
                <a:gd name="connsiteY3219" fmla="*/ 1319366 h 3980066"/>
                <a:gd name="connsiteX3220" fmla="*/ 5654474 w 8387961"/>
                <a:gd name="connsiteY3220" fmla="*/ 1310789 h 3980066"/>
                <a:gd name="connsiteX3221" fmla="*/ 5654474 w 8387961"/>
                <a:gd name="connsiteY3221" fmla="*/ 1313409 h 3980066"/>
                <a:gd name="connsiteX3222" fmla="*/ 5655609 w 8387961"/>
                <a:gd name="connsiteY3222" fmla="*/ 1314547 h 3980066"/>
                <a:gd name="connsiteX3223" fmla="*/ 5654900 w 8387961"/>
                <a:gd name="connsiteY3223" fmla="*/ 1311001 h 3980066"/>
                <a:gd name="connsiteX3224" fmla="*/ 7039513 w 8387961"/>
                <a:gd name="connsiteY3224" fmla="*/ 1309113 h 3980066"/>
                <a:gd name="connsiteX3225" fmla="*/ 7051229 w 8387961"/>
                <a:gd name="connsiteY3225" fmla="*/ 1317165 h 3980066"/>
                <a:gd name="connsiteX3226" fmla="*/ 7056251 w 8387961"/>
                <a:gd name="connsiteY3226" fmla="*/ 1325216 h 3980066"/>
                <a:gd name="connsiteX3227" fmla="*/ 7044534 w 8387961"/>
                <a:gd name="connsiteY3227" fmla="*/ 1338099 h 3980066"/>
                <a:gd name="connsiteX3228" fmla="*/ 7024448 w 8387961"/>
                <a:gd name="connsiteY3228" fmla="*/ 1338099 h 3980066"/>
                <a:gd name="connsiteX3229" fmla="*/ 7022774 w 8387961"/>
                <a:gd name="connsiteY3229" fmla="*/ 1355813 h 3980066"/>
                <a:gd name="connsiteX3230" fmla="*/ 7006036 w 8387961"/>
                <a:gd name="connsiteY3230" fmla="*/ 1344540 h 3980066"/>
                <a:gd name="connsiteX3231" fmla="*/ 7001015 w 8387961"/>
                <a:gd name="connsiteY3231" fmla="*/ 1334878 h 3980066"/>
                <a:gd name="connsiteX3232" fmla="*/ 6995993 w 8387961"/>
                <a:gd name="connsiteY3232" fmla="*/ 1336489 h 3980066"/>
                <a:gd name="connsiteX3233" fmla="*/ 7011057 w 8387961"/>
                <a:gd name="connsiteY3233" fmla="*/ 1318775 h 3980066"/>
                <a:gd name="connsiteX3234" fmla="*/ 7024448 w 8387961"/>
                <a:gd name="connsiteY3234" fmla="*/ 1317165 h 3980066"/>
                <a:gd name="connsiteX3235" fmla="*/ 5522676 w 8387961"/>
                <a:gd name="connsiteY3235" fmla="*/ 1305501 h 3980066"/>
                <a:gd name="connsiteX3236" fmla="*/ 5522676 w 8387961"/>
                <a:gd name="connsiteY3236" fmla="*/ 1307670 h 3980066"/>
                <a:gd name="connsiteX3237" fmla="*/ 5534013 w 8387961"/>
                <a:gd name="connsiteY3237" fmla="*/ 1322165 h 3980066"/>
                <a:gd name="connsiteX3238" fmla="*/ 5534013 w 8387961"/>
                <a:gd name="connsiteY3238" fmla="*/ 1320122 h 3980066"/>
                <a:gd name="connsiteX3239" fmla="*/ 4258978 w 8387961"/>
                <a:gd name="connsiteY3239" fmla="*/ 1271452 h 3980066"/>
                <a:gd name="connsiteX3240" fmla="*/ 4271066 w 8387961"/>
                <a:gd name="connsiteY3240" fmla="*/ 1271452 h 3980066"/>
                <a:gd name="connsiteX3241" fmla="*/ 4310785 w 8387961"/>
                <a:gd name="connsiteY3241" fmla="*/ 1278817 h 3980066"/>
                <a:gd name="connsiteX3242" fmla="*/ 4328055 w 8387961"/>
                <a:gd name="connsiteY3242" fmla="*/ 1282499 h 3980066"/>
                <a:gd name="connsiteX3243" fmla="*/ 4307332 w 8387961"/>
                <a:gd name="connsiteY3243" fmla="*/ 1288023 h 3980066"/>
                <a:gd name="connsiteX3244" fmla="*/ 4281428 w 8387961"/>
                <a:gd name="connsiteY3244" fmla="*/ 1286182 h 3980066"/>
                <a:gd name="connsiteX3245" fmla="*/ 4257251 w 8387961"/>
                <a:gd name="connsiteY3245" fmla="*/ 1282499 h 3980066"/>
                <a:gd name="connsiteX3246" fmla="*/ 4531427 w 8387961"/>
                <a:gd name="connsiteY3246" fmla="*/ 1268439 h 3980066"/>
                <a:gd name="connsiteX3247" fmla="*/ 4514418 w 8387961"/>
                <a:gd name="connsiteY3247" fmla="*/ 1284296 h 3980066"/>
                <a:gd name="connsiteX3248" fmla="*/ 4517820 w 8387961"/>
                <a:gd name="connsiteY3248" fmla="*/ 1289053 h 3980066"/>
                <a:gd name="connsiteX3249" fmla="*/ 4487205 w 8387961"/>
                <a:gd name="connsiteY3249" fmla="*/ 1298568 h 3980066"/>
                <a:gd name="connsiteX3250" fmla="*/ 4478701 w 8387961"/>
                <a:gd name="connsiteY3250" fmla="*/ 1285882 h 3980066"/>
                <a:gd name="connsiteX3251" fmla="*/ 4499111 w 8387961"/>
                <a:gd name="connsiteY3251" fmla="*/ 1277953 h 3980066"/>
                <a:gd name="connsiteX3252" fmla="*/ 4822465 w 8387961"/>
                <a:gd name="connsiteY3252" fmla="*/ 1266335 h 3980066"/>
                <a:gd name="connsiteX3253" fmla="*/ 4822465 w 8387961"/>
                <a:gd name="connsiteY3253" fmla="*/ 1278492 h 3980066"/>
                <a:gd name="connsiteX3254" fmla="*/ 4814058 w 8387961"/>
                <a:gd name="connsiteY3254" fmla="*/ 1306715 h 3980066"/>
                <a:gd name="connsiteX3255" fmla="*/ 4814191 w 8387961"/>
                <a:gd name="connsiteY3255" fmla="*/ 1308028 h 3980066"/>
                <a:gd name="connsiteX3256" fmla="*/ 4822510 w 8387961"/>
                <a:gd name="connsiteY3256" fmla="*/ 1279700 h 3980066"/>
                <a:gd name="connsiteX3257" fmla="*/ 4822510 w 8387961"/>
                <a:gd name="connsiteY3257" fmla="*/ 1266355 h 3980066"/>
                <a:gd name="connsiteX3258" fmla="*/ 4026763 w 8387961"/>
                <a:gd name="connsiteY3258" fmla="*/ 1257894 h 3980066"/>
                <a:gd name="connsiteX3259" fmla="*/ 4032789 w 8387961"/>
                <a:gd name="connsiteY3259" fmla="*/ 1260907 h 3980066"/>
                <a:gd name="connsiteX3260" fmla="*/ 4030780 w 8387961"/>
                <a:gd name="connsiteY3260" fmla="*/ 1262413 h 3980066"/>
                <a:gd name="connsiteX3261" fmla="*/ 4571660 w 8387961"/>
                <a:gd name="connsiteY3261" fmla="*/ 1257135 h 3980066"/>
                <a:gd name="connsiteX3262" fmla="*/ 4567689 w 8387961"/>
                <a:gd name="connsiteY3262" fmla="*/ 1261144 h 3980066"/>
                <a:gd name="connsiteX3263" fmla="*/ 4567727 w 8387961"/>
                <a:gd name="connsiteY3263" fmla="*/ 1261222 h 3980066"/>
                <a:gd name="connsiteX3264" fmla="*/ 4580656 w 8387961"/>
                <a:gd name="connsiteY3264" fmla="*/ 1238388 h 3980066"/>
                <a:gd name="connsiteX3265" fmla="*/ 4579779 w 8387961"/>
                <a:gd name="connsiteY3265" fmla="*/ 1238831 h 3980066"/>
                <a:gd name="connsiteX3266" fmla="*/ 4576490 w 8387961"/>
                <a:gd name="connsiteY3266" fmla="*/ 1252118 h 3980066"/>
                <a:gd name="connsiteX3267" fmla="*/ 4577640 w 8387961"/>
                <a:gd name="connsiteY3267" fmla="*/ 1250922 h 3980066"/>
                <a:gd name="connsiteX3268" fmla="*/ 1782978 w 8387961"/>
                <a:gd name="connsiteY3268" fmla="*/ 1235999 h 3980066"/>
                <a:gd name="connsiteX3269" fmla="*/ 1784652 w 8387961"/>
                <a:gd name="connsiteY3269" fmla="*/ 1262843 h 3980066"/>
                <a:gd name="connsiteX3270" fmla="*/ 1781871 w 8387961"/>
                <a:gd name="connsiteY3270" fmla="*/ 1248208 h 3980066"/>
                <a:gd name="connsiteX3271" fmla="*/ 4718140 w 8387961"/>
                <a:gd name="connsiteY3271" fmla="*/ 1224994 h 3980066"/>
                <a:gd name="connsiteX3272" fmla="*/ 4696602 w 8387961"/>
                <a:gd name="connsiteY3272" fmla="*/ 1245772 h 3980066"/>
                <a:gd name="connsiteX3273" fmla="*/ 4696602 w 8387961"/>
                <a:gd name="connsiteY3273" fmla="*/ 1246727 h 3980066"/>
                <a:gd name="connsiteX3274" fmla="*/ 4719899 w 8387961"/>
                <a:gd name="connsiteY3274" fmla="*/ 1225367 h 3980066"/>
                <a:gd name="connsiteX3275" fmla="*/ 4719911 w 8387961"/>
                <a:gd name="connsiteY3275" fmla="*/ 1225351 h 3980066"/>
                <a:gd name="connsiteX3276" fmla="*/ 4724934 w 8387961"/>
                <a:gd name="connsiteY3276" fmla="*/ 1218617 h 3980066"/>
                <a:gd name="connsiteX3277" fmla="*/ 4720841 w 8387961"/>
                <a:gd name="connsiteY3277" fmla="*/ 1224127 h 3980066"/>
                <a:gd name="connsiteX3278" fmla="*/ 4724944 w 8387961"/>
                <a:gd name="connsiteY3278" fmla="*/ 1218726 h 3980066"/>
                <a:gd name="connsiteX3279" fmla="*/ 4760052 w 8387961"/>
                <a:gd name="connsiteY3279" fmla="*/ 1218726 h 3980066"/>
                <a:gd name="connsiteX3280" fmla="*/ 4759971 w 8387961"/>
                <a:gd name="connsiteY3280" fmla="*/ 1218617 h 3980066"/>
                <a:gd name="connsiteX3281" fmla="*/ 5498096 w 8387961"/>
                <a:gd name="connsiteY3281" fmla="*/ 1217050 h 3980066"/>
                <a:gd name="connsiteX3282" fmla="*/ 5477813 w 8387961"/>
                <a:gd name="connsiteY3282" fmla="*/ 1218709 h 3980066"/>
                <a:gd name="connsiteX3283" fmla="*/ 5477464 w 8387961"/>
                <a:gd name="connsiteY3283" fmla="*/ 1218899 h 3980066"/>
                <a:gd name="connsiteX3284" fmla="*/ 5495591 w 8387961"/>
                <a:gd name="connsiteY3284" fmla="*/ 1217387 h 3980066"/>
                <a:gd name="connsiteX3285" fmla="*/ 5503952 w 8387961"/>
                <a:gd name="connsiteY3285" fmla="*/ 1219061 h 3980066"/>
                <a:gd name="connsiteX3286" fmla="*/ 5525690 w 8387961"/>
                <a:gd name="connsiteY3286" fmla="*/ 1222408 h 3980066"/>
                <a:gd name="connsiteX3287" fmla="*/ 5524018 w 8387961"/>
                <a:gd name="connsiteY3287" fmla="*/ 1222408 h 3980066"/>
                <a:gd name="connsiteX3288" fmla="*/ 5517329 w 8387961"/>
                <a:gd name="connsiteY3288" fmla="*/ 1222408 h 3980066"/>
                <a:gd name="connsiteX3289" fmla="*/ 5517329 w 8387961"/>
                <a:gd name="connsiteY3289" fmla="*/ 1227430 h 3980066"/>
                <a:gd name="connsiteX3290" fmla="*/ 5509666 w 8387961"/>
                <a:gd name="connsiteY3290" fmla="*/ 1229135 h 3980066"/>
                <a:gd name="connsiteX3291" fmla="*/ 5487230 w 8387961"/>
                <a:gd name="connsiteY3291" fmla="*/ 1234125 h 3980066"/>
                <a:gd name="connsiteX3292" fmla="*/ 5457131 w 8387961"/>
                <a:gd name="connsiteY3292" fmla="*/ 1242495 h 3980066"/>
                <a:gd name="connsiteX3293" fmla="*/ 5445426 w 8387961"/>
                <a:gd name="connsiteY3293" fmla="*/ 1259233 h 3980066"/>
                <a:gd name="connsiteX3294" fmla="*/ 5458803 w 8387961"/>
                <a:gd name="connsiteY3294" fmla="*/ 1284341 h 3980066"/>
                <a:gd name="connsiteX3295" fmla="*/ 5452114 w 8387961"/>
                <a:gd name="connsiteY3295" fmla="*/ 1306101 h 3980066"/>
                <a:gd name="connsiteX3296" fmla="*/ 5447149 w 8387961"/>
                <a:gd name="connsiteY3296" fmla="*/ 1319354 h 3980066"/>
                <a:gd name="connsiteX3297" fmla="*/ 5447353 w 8387961"/>
                <a:gd name="connsiteY3297" fmla="*/ 1319322 h 3980066"/>
                <a:gd name="connsiteX3298" fmla="*/ 5452375 w 8387961"/>
                <a:gd name="connsiteY3298" fmla="*/ 1306005 h 3980066"/>
                <a:gd name="connsiteX3299" fmla="*/ 5459070 w 8387961"/>
                <a:gd name="connsiteY3299" fmla="*/ 1284364 h 3980066"/>
                <a:gd name="connsiteX3300" fmla="*/ 5445680 w 8387961"/>
                <a:gd name="connsiteY3300" fmla="*/ 1259393 h 3980066"/>
                <a:gd name="connsiteX3301" fmla="*/ 5457396 w 8387961"/>
                <a:gd name="connsiteY3301" fmla="*/ 1242746 h 3980066"/>
                <a:gd name="connsiteX3302" fmla="*/ 5487526 w 8387961"/>
                <a:gd name="connsiteY3302" fmla="*/ 1234423 h 3980066"/>
                <a:gd name="connsiteX3303" fmla="*/ 5509811 w 8387961"/>
                <a:gd name="connsiteY3303" fmla="*/ 1229497 h 3980066"/>
                <a:gd name="connsiteX3304" fmla="*/ 5517655 w 8387961"/>
                <a:gd name="connsiteY3304" fmla="*/ 1227764 h 3980066"/>
                <a:gd name="connsiteX3305" fmla="*/ 5517780 w 8387961"/>
                <a:gd name="connsiteY3305" fmla="*/ 1227799 h 3980066"/>
                <a:gd name="connsiteX3306" fmla="*/ 5517780 w 8387961"/>
                <a:gd name="connsiteY3306" fmla="*/ 1224006 h 3980066"/>
                <a:gd name="connsiteX3307" fmla="*/ 5524469 w 8387961"/>
                <a:gd name="connsiteY3307" fmla="*/ 1224006 h 3980066"/>
                <a:gd name="connsiteX3308" fmla="*/ 5526141 w 8387961"/>
                <a:gd name="connsiteY3308" fmla="*/ 1224006 h 3980066"/>
                <a:gd name="connsiteX3309" fmla="*/ 5527228 w 8387961"/>
                <a:gd name="connsiteY3309" fmla="*/ 1221832 h 3980066"/>
                <a:gd name="connsiteX3310" fmla="*/ 5506546 w 8387961"/>
                <a:gd name="connsiteY3310" fmla="*/ 1218709 h 3980066"/>
                <a:gd name="connsiteX3311" fmla="*/ 1798043 w 8387961"/>
                <a:gd name="connsiteY3311" fmla="*/ 1204122 h 3980066"/>
                <a:gd name="connsiteX3312" fmla="*/ 1784652 w 8387961"/>
                <a:gd name="connsiteY3312" fmla="*/ 1217544 h 3980066"/>
                <a:gd name="connsiteX3313" fmla="*/ 1791347 w 8387961"/>
                <a:gd name="connsiteY3313" fmla="*/ 1207478 h 3980066"/>
                <a:gd name="connsiteX3314" fmla="*/ 4764664 w 8387961"/>
                <a:gd name="connsiteY3314" fmla="*/ 1203552 h 3980066"/>
                <a:gd name="connsiteX3315" fmla="*/ 4779993 w 8387961"/>
                <a:gd name="connsiteY3315" fmla="*/ 1223670 h 3980066"/>
                <a:gd name="connsiteX3316" fmla="*/ 4765264 w 8387961"/>
                <a:gd name="connsiteY3316" fmla="*/ 1225323 h 3980066"/>
                <a:gd name="connsiteX3317" fmla="*/ 4765297 w 8387961"/>
                <a:gd name="connsiteY3317" fmla="*/ 1225367 h 3980066"/>
                <a:gd name="connsiteX3318" fmla="*/ 4780167 w 8387961"/>
                <a:gd name="connsiteY3318" fmla="*/ 1223735 h 3980066"/>
                <a:gd name="connsiteX3319" fmla="*/ 7086381 w 8387961"/>
                <a:gd name="connsiteY3319" fmla="*/ 1188597 h 3980066"/>
                <a:gd name="connsiteX3320" fmla="*/ 7089394 w 8387961"/>
                <a:gd name="connsiteY3320" fmla="*/ 1197636 h 3980066"/>
                <a:gd name="connsiteX3321" fmla="*/ 7086381 w 8387961"/>
                <a:gd name="connsiteY3321" fmla="*/ 1197636 h 3980066"/>
                <a:gd name="connsiteX3322" fmla="*/ 4174396 w 8387961"/>
                <a:gd name="connsiteY3322" fmla="*/ 1188597 h 3980066"/>
                <a:gd name="connsiteX3323" fmla="*/ 4180422 w 8387961"/>
                <a:gd name="connsiteY3323" fmla="*/ 1191610 h 3980066"/>
                <a:gd name="connsiteX3324" fmla="*/ 4175601 w 8387961"/>
                <a:gd name="connsiteY3324" fmla="*/ 1191610 h 3980066"/>
                <a:gd name="connsiteX3325" fmla="*/ 4053879 w 8387961"/>
                <a:gd name="connsiteY3325" fmla="*/ 1188597 h 3980066"/>
                <a:gd name="connsiteX3326" fmla="*/ 4043635 w 8387961"/>
                <a:gd name="connsiteY3326" fmla="*/ 1219453 h 3980066"/>
                <a:gd name="connsiteX3327" fmla="*/ 4043635 w 8387961"/>
                <a:gd name="connsiteY3327" fmla="*/ 1238310 h 3980066"/>
                <a:gd name="connsiteX3328" fmla="*/ 4012903 w 8387961"/>
                <a:gd name="connsiteY3328" fmla="*/ 1226310 h 3980066"/>
                <a:gd name="connsiteX3329" fmla="*/ 3982172 w 8387961"/>
                <a:gd name="connsiteY3329" fmla="*/ 1212596 h 3980066"/>
                <a:gd name="connsiteX3330" fmla="*/ 3977050 w 8387961"/>
                <a:gd name="connsiteY3330" fmla="*/ 1197168 h 3980066"/>
                <a:gd name="connsiteX3331" fmla="*/ 3999245 w 8387961"/>
                <a:gd name="connsiteY3331" fmla="*/ 1195454 h 3980066"/>
                <a:gd name="connsiteX3332" fmla="*/ 4026562 w 8387961"/>
                <a:gd name="connsiteY3332" fmla="*/ 1193740 h 3980066"/>
                <a:gd name="connsiteX3333" fmla="*/ 5423728 w 8387961"/>
                <a:gd name="connsiteY3333" fmla="*/ 1185533 h 3980066"/>
                <a:gd name="connsiteX3334" fmla="*/ 5422332 w 8387961"/>
                <a:gd name="connsiteY3334" fmla="*/ 1186218 h 3980066"/>
                <a:gd name="connsiteX3335" fmla="*/ 5428704 w 8387961"/>
                <a:gd name="connsiteY3335" fmla="*/ 1198975 h 3980066"/>
                <a:gd name="connsiteX3336" fmla="*/ 5435393 w 8387961"/>
                <a:gd name="connsiteY3336" fmla="*/ 1198975 h 3980066"/>
                <a:gd name="connsiteX3337" fmla="*/ 5445426 w 8387961"/>
                <a:gd name="connsiteY3337" fmla="*/ 1235799 h 3980066"/>
                <a:gd name="connsiteX3338" fmla="*/ 5447248 w 8387961"/>
                <a:gd name="connsiteY3338" fmla="*/ 1234786 h 3980066"/>
                <a:gd name="connsiteX3339" fmla="*/ 5437249 w 8387961"/>
                <a:gd name="connsiteY3339" fmla="*/ 1198803 h 3980066"/>
                <a:gd name="connsiteX3340" fmla="*/ 5430489 w 8387961"/>
                <a:gd name="connsiteY3340" fmla="*/ 1198803 h 3980066"/>
                <a:gd name="connsiteX3341" fmla="*/ 4314497 w 8387961"/>
                <a:gd name="connsiteY3341" fmla="*/ 1181064 h 3980066"/>
                <a:gd name="connsiteX3342" fmla="*/ 4312488 w 8387961"/>
                <a:gd name="connsiteY3342" fmla="*/ 1188596 h 3980066"/>
                <a:gd name="connsiteX3343" fmla="*/ 4308471 w 8387961"/>
                <a:gd name="connsiteY3343" fmla="*/ 1182947 h 3980066"/>
                <a:gd name="connsiteX3344" fmla="*/ 5348544 w 8387961"/>
                <a:gd name="connsiteY3344" fmla="*/ 1171782 h 3980066"/>
                <a:gd name="connsiteX3345" fmla="*/ 5354950 w 8387961"/>
                <a:gd name="connsiteY3345" fmla="*/ 1181384 h 3980066"/>
                <a:gd name="connsiteX3346" fmla="*/ 5348220 w 8387961"/>
                <a:gd name="connsiteY3346" fmla="*/ 1201561 h 3980066"/>
                <a:gd name="connsiteX3347" fmla="*/ 5343172 w 8387961"/>
                <a:gd name="connsiteY3347" fmla="*/ 1221738 h 3980066"/>
                <a:gd name="connsiteX3348" fmla="*/ 5317934 w 8387961"/>
                <a:gd name="connsiteY3348" fmla="*/ 1216694 h 3980066"/>
                <a:gd name="connsiteX3349" fmla="*/ 5295075 w 8387961"/>
                <a:gd name="connsiteY3349" fmla="*/ 1213430 h 3980066"/>
                <a:gd name="connsiteX3350" fmla="*/ 5295201 w 8387961"/>
                <a:gd name="connsiteY3350" fmla="*/ 1213655 h 3980066"/>
                <a:gd name="connsiteX3351" fmla="*/ 5285121 w 8387961"/>
                <a:gd name="connsiteY3351" fmla="*/ 1222031 h 3980066"/>
                <a:gd name="connsiteX3352" fmla="*/ 5276721 w 8387961"/>
                <a:gd name="connsiteY3352" fmla="*/ 1228731 h 3980066"/>
                <a:gd name="connsiteX3353" fmla="*/ 5276588 w 8387961"/>
                <a:gd name="connsiteY3353" fmla="*/ 1229063 h 3980066"/>
                <a:gd name="connsiteX3354" fmla="*/ 5284897 w 8387961"/>
                <a:gd name="connsiteY3354" fmla="*/ 1222408 h 3980066"/>
                <a:gd name="connsiteX3355" fmla="*/ 5294930 w 8387961"/>
                <a:gd name="connsiteY3355" fmla="*/ 1214039 h 3980066"/>
                <a:gd name="connsiteX3356" fmla="*/ 5318341 w 8387961"/>
                <a:gd name="connsiteY3356" fmla="*/ 1217387 h 3980066"/>
                <a:gd name="connsiteX3357" fmla="*/ 5343423 w 8387961"/>
                <a:gd name="connsiteY3357" fmla="*/ 1222408 h 3980066"/>
                <a:gd name="connsiteX3358" fmla="*/ 5351784 w 8387961"/>
                <a:gd name="connsiteY3358" fmla="*/ 1225756 h 3980066"/>
                <a:gd name="connsiteX3359" fmla="*/ 5365161 w 8387961"/>
                <a:gd name="connsiteY3359" fmla="*/ 1224082 h 3980066"/>
                <a:gd name="connsiteX3360" fmla="*/ 5381883 w 8387961"/>
                <a:gd name="connsiteY3360" fmla="*/ 1224082 h 3980066"/>
                <a:gd name="connsiteX3361" fmla="*/ 5382181 w 8387961"/>
                <a:gd name="connsiteY3361" fmla="*/ 1223685 h 3980066"/>
                <a:gd name="connsiteX3362" fmla="*/ 5366262 w 8387961"/>
                <a:gd name="connsiteY3362" fmla="*/ 1223685 h 3980066"/>
                <a:gd name="connsiteX3363" fmla="*/ 5352741 w 8387961"/>
                <a:gd name="connsiteY3363" fmla="*/ 1225344 h 3980066"/>
                <a:gd name="connsiteX3364" fmla="*/ 5344290 w 8387961"/>
                <a:gd name="connsiteY3364" fmla="*/ 1222026 h 3980066"/>
                <a:gd name="connsiteX3365" fmla="*/ 5349360 w 8387961"/>
                <a:gd name="connsiteY3365" fmla="*/ 1202121 h 3980066"/>
                <a:gd name="connsiteX3366" fmla="*/ 5356121 w 8387961"/>
                <a:gd name="connsiteY3366" fmla="*/ 1182215 h 3980066"/>
                <a:gd name="connsiteX3367" fmla="*/ 5349360 w 8387961"/>
                <a:gd name="connsiteY3367" fmla="*/ 1172263 h 3980066"/>
                <a:gd name="connsiteX3368" fmla="*/ 4234654 w 8387961"/>
                <a:gd name="connsiteY3368" fmla="*/ 1167506 h 3980066"/>
                <a:gd name="connsiteX3369" fmla="*/ 4252606 w 8387961"/>
                <a:gd name="connsiteY3369" fmla="*/ 1174285 h 3980066"/>
                <a:gd name="connsiteX3370" fmla="*/ 4273822 w 8387961"/>
                <a:gd name="connsiteY3370" fmla="*/ 1194622 h 3980066"/>
                <a:gd name="connsiteX3371" fmla="*/ 4254238 w 8387961"/>
                <a:gd name="connsiteY3371" fmla="*/ 1181064 h 3980066"/>
                <a:gd name="connsiteX3372" fmla="*/ 4303951 w 8387961"/>
                <a:gd name="connsiteY3372" fmla="*/ 1158467 h 3980066"/>
                <a:gd name="connsiteX3373" fmla="*/ 4318865 w 8387961"/>
                <a:gd name="connsiteY3373" fmla="*/ 1161480 h 3980066"/>
                <a:gd name="connsiteX3374" fmla="*/ 4320522 w 8387961"/>
                <a:gd name="connsiteY3374" fmla="*/ 1164493 h 3980066"/>
                <a:gd name="connsiteX3375" fmla="*/ 4310579 w 8387961"/>
                <a:gd name="connsiteY3375" fmla="*/ 1162986 h 3980066"/>
                <a:gd name="connsiteX3376" fmla="*/ 4783442 w 8387961"/>
                <a:gd name="connsiteY3376" fmla="*/ 1152647 h 3980066"/>
                <a:gd name="connsiteX3377" fmla="*/ 4783597 w 8387961"/>
                <a:gd name="connsiteY3377" fmla="*/ 1152742 h 3980066"/>
                <a:gd name="connsiteX3378" fmla="*/ 4789838 w 8387961"/>
                <a:gd name="connsiteY3378" fmla="*/ 1154349 h 3980066"/>
                <a:gd name="connsiteX3379" fmla="*/ 4793924 w 8387961"/>
                <a:gd name="connsiteY3379" fmla="*/ 1154349 h 3980066"/>
                <a:gd name="connsiteX3380" fmla="*/ 4792961 w 8387961"/>
                <a:gd name="connsiteY3380" fmla="*/ 1153847 h 3980066"/>
                <a:gd name="connsiteX3381" fmla="*/ 4788048 w 8387961"/>
                <a:gd name="connsiteY3381" fmla="*/ 1153847 h 3980066"/>
                <a:gd name="connsiteX3382" fmla="*/ 4763985 w 8387961"/>
                <a:gd name="connsiteY3382" fmla="*/ 1147018 h 3980066"/>
                <a:gd name="connsiteX3383" fmla="*/ 4754966 w 8387961"/>
                <a:gd name="connsiteY3383" fmla="*/ 1154606 h 3980066"/>
                <a:gd name="connsiteX3384" fmla="*/ 4756635 w 8387961"/>
                <a:gd name="connsiteY3384" fmla="*/ 1171451 h 3980066"/>
                <a:gd name="connsiteX3385" fmla="*/ 4763308 w 8387961"/>
                <a:gd name="connsiteY3385" fmla="*/ 1201772 h 3980066"/>
                <a:gd name="connsiteX3386" fmla="*/ 4764215 w 8387961"/>
                <a:gd name="connsiteY3386" fmla="*/ 1202962 h 3980066"/>
                <a:gd name="connsiteX3387" fmla="*/ 4757554 w 8387961"/>
                <a:gd name="connsiteY3387" fmla="*/ 1172943 h 3980066"/>
                <a:gd name="connsiteX3388" fmla="*/ 4755889 w 8387961"/>
                <a:gd name="connsiteY3388" fmla="*/ 1156262 h 3980066"/>
                <a:gd name="connsiteX3389" fmla="*/ 4765882 w 8387961"/>
                <a:gd name="connsiteY3389" fmla="*/ 1147922 h 3980066"/>
                <a:gd name="connsiteX3390" fmla="*/ 4767547 w 8387961"/>
                <a:gd name="connsiteY3390" fmla="*/ 1149590 h 3980066"/>
                <a:gd name="connsiteX3391" fmla="*/ 4772544 w 8387961"/>
                <a:gd name="connsiteY3391" fmla="*/ 1156262 h 3980066"/>
                <a:gd name="connsiteX3392" fmla="*/ 4796727 w 8387961"/>
                <a:gd name="connsiteY3392" fmla="*/ 1169718 h 3980066"/>
                <a:gd name="connsiteX3393" fmla="*/ 4772675 w 8387961"/>
                <a:gd name="connsiteY3393" fmla="*/ 1155956 h 3980066"/>
                <a:gd name="connsiteX3394" fmla="*/ 4767994 w 8387961"/>
                <a:gd name="connsiteY3394" fmla="*/ 1149529 h 3980066"/>
                <a:gd name="connsiteX3395" fmla="*/ 4766434 w 8387961"/>
                <a:gd name="connsiteY3395" fmla="*/ 1147922 h 3980066"/>
                <a:gd name="connsiteX3396" fmla="*/ 4774756 w 8387961"/>
                <a:gd name="connsiteY3396" fmla="*/ 1147922 h 3980066"/>
                <a:gd name="connsiteX3397" fmla="*/ 4773311 w 8387961"/>
                <a:gd name="connsiteY3397" fmla="*/ 1147018 h 3980066"/>
                <a:gd name="connsiteX3398" fmla="*/ 3745431 w 8387961"/>
                <a:gd name="connsiteY3398" fmla="*/ 1141896 h 3980066"/>
                <a:gd name="connsiteX3399" fmla="*/ 3755600 w 8387961"/>
                <a:gd name="connsiteY3399" fmla="*/ 1146039 h 3980066"/>
                <a:gd name="connsiteX3400" fmla="*/ 3740347 w 8387961"/>
                <a:gd name="connsiteY3400" fmla="*/ 1158467 h 3980066"/>
                <a:gd name="connsiteX3401" fmla="*/ 3728484 w 8387961"/>
                <a:gd name="connsiteY3401" fmla="*/ 1146039 h 3980066"/>
                <a:gd name="connsiteX3402" fmla="*/ 4809203 w 8387961"/>
                <a:gd name="connsiteY3402" fmla="*/ 1126696 h 3980066"/>
                <a:gd name="connsiteX3403" fmla="*/ 4801148 w 8387961"/>
                <a:gd name="connsiteY3403" fmla="*/ 1136774 h 3980066"/>
                <a:gd name="connsiteX3404" fmla="*/ 4819160 w 8387961"/>
                <a:gd name="connsiteY3404" fmla="*/ 1164091 h 3980066"/>
                <a:gd name="connsiteX3405" fmla="*/ 4809950 w 8387961"/>
                <a:gd name="connsiteY3405" fmla="*/ 1167292 h 3980066"/>
                <a:gd name="connsiteX3406" fmla="*/ 4800819 w 8387961"/>
                <a:gd name="connsiteY3406" fmla="*/ 1171994 h 3980066"/>
                <a:gd name="connsiteX3407" fmla="*/ 4802523 w 8387961"/>
                <a:gd name="connsiteY3407" fmla="*/ 1172943 h 3980066"/>
                <a:gd name="connsiteX3408" fmla="*/ 4822510 w 8387961"/>
                <a:gd name="connsiteY3408" fmla="*/ 1164603 h 3980066"/>
                <a:gd name="connsiteX3409" fmla="*/ 4844865 w 8387961"/>
                <a:gd name="connsiteY3409" fmla="*/ 1148611 h 3980066"/>
                <a:gd name="connsiteX3410" fmla="*/ 4844055 w 8387961"/>
                <a:gd name="connsiteY3410" fmla="*/ 1147023 h 3980066"/>
                <a:gd name="connsiteX3411" fmla="*/ 4820104 w 8387961"/>
                <a:gd name="connsiteY3411" fmla="*/ 1163789 h 3980066"/>
                <a:gd name="connsiteX3412" fmla="*/ 4801286 w 8387961"/>
                <a:gd name="connsiteY3412" fmla="*/ 1136964 h 3980066"/>
                <a:gd name="connsiteX3413" fmla="*/ 4809840 w 8387961"/>
                <a:gd name="connsiteY3413" fmla="*/ 1126905 h 3980066"/>
                <a:gd name="connsiteX3414" fmla="*/ 5517206 w 8387961"/>
                <a:gd name="connsiteY3414" fmla="*/ 1124519 h 3980066"/>
                <a:gd name="connsiteX3415" fmla="*/ 5505389 w 8387961"/>
                <a:gd name="connsiteY3415" fmla="*/ 1126217 h 3980066"/>
                <a:gd name="connsiteX3416" fmla="*/ 5486821 w 8387961"/>
                <a:gd name="connsiteY3416" fmla="*/ 1136401 h 3980066"/>
                <a:gd name="connsiteX3417" fmla="*/ 5486719 w 8387961"/>
                <a:gd name="connsiteY3417" fmla="*/ 1136623 h 3980066"/>
                <a:gd name="connsiteX3418" fmla="*/ 5504403 w 8387961"/>
                <a:gd name="connsiteY3418" fmla="*/ 1126973 h 3980066"/>
                <a:gd name="connsiteX3419" fmla="*/ 5516108 w 8387961"/>
                <a:gd name="connsiteY3419" fmla="*/ 1125300 h 3980066"/>
                <a:gd name="connsiteX3420" fmla="*/ 5529486 w 8387961"/>
                <a:gd name="connsiteY3420" fmla="*/ 1128646 h 3980066"/>
                <a:gd name="connsiteX3421" fmla="*/ 5530254 w 8387961"/>
                <a:gd name="connsiteY3421" fmla="*/ 1127800 h 3980066"/>
                <a:gd name="connsiteX3422" fmla="*/ 5402344 w 8387961"/>
                <a:gd name="connsiteY3422" fmla="*/ 1123412 h 3980066"/>
                <a:gd name="connsiteX3423" fmla="*/ 5389925 w 8387961"/>
                <a:gd name="connsiteY3423" fmla="*/ 1127475 h 3980066"/>
                <a:gd name="connsiteX3424" fmla="*/ 5389941 w 8387961"/>
                <a:gd name="connsiteY3424" fmla="*/ 1127570 h 3980066"/>
                <a:gd name="connsiteX3425" fmla="*/ 5140338 w 8387961"/>
                <a:gd name="connsiteY3425" fmla="*/ 1105998 h 3980066"/>
                <a:gd name="connsiteX3426" fmla="*/ 5140639 w 8387961"/>
                <a:gd name="connsiteY3426" fmla="*/ 1106450 h 3980066"/>
                <a:gd name="connsiteX3427" fmla="*/ 5172560 w 8387961"/>
                <a:gd name="connsiteY3427" fmla="*/ 1118175 h 3980066"/>
                <a:gd name="connsiteX3428" fmla="*/ 5194400 w 8387961"/>
                <a:gd name="connsiteY3428" fmla="*/ 1131576 h 3980066"/>
                <a:gd name="connsiteX3429" fmla="*/ 5231303 w 8387961"/>
                <a:gd name="connsiteY3429" fmla="*/ 1153653 h 3980066"/>
                <a:gd name="connsiteX3430" fmla="*/ 5193426 w 8387961"/>
                <a:gd name="connsiteY3430" fmla="*/ 1130942 h 3980066"/>
                <a:gd name="connsiteX3431" fmla="*/ 5171554 w 8387961"/>
                <a:gd name="connsiteY3431" fmla="*/ 1117491 h 3980066"/>
                <a:gd name="connsiteX3432" fmla="*/ 1920734 w 8387961"/>
                <a:gd name="connsiteY3432" fmla="*/ 1105930 h 3980066"/>
                <a:gd name="connsiteX3433" fmla="*/ 1904808 w 8387961"/>
                <a:gd name="connsiteY3433" fmla="*/ 1111014 h 3980066"/>
                <a:gd name="connsiteX3434" fmla="*/ 1905506 w 8387961"/>
                <a:gd name="connsiteY3434" fmla="*/ 1109531 h 3980066"/>
                <a:gd name="connsiteX3435" fmla="*/ 1907994 w 8387961"/>
                <a:gd name="connsiteY3435" fmla="*/ 1104235 h 3980066"/>
                <a:gd name="connsiteX3436" fmla="*/ 1905506 w 8387961"/>
                <a:gd name="connsiteY3436" fmla="*/ 1109531 h 3980066"/>
                <a:gd name="connsiteX3437" fmla="*/ 1892068 w 8387961"/>
                <a:gd name="connsiteY3437" fmla="*/ 1112709 h 3980066"/>
                <a:gd name="connsiteX3438" fmla="*/ 1864995 w 8387961"/>
                <a:gd name="connsiteY3438" fmla="*/ 1117793 h 3980066"/>
                <a:gd name="connsiteX3439" fmla="*/ 5574020 w 8387961"/>
                <a:gd name="connsiteY3439" fmla="*/ 1102599 h 3980066"/>
                <a:gd name="connsiteX3440" fmla="*/ 5547592 w 8387961"/>
                <a:gd name="connsiteY3440" fmla="*/ 1109243 h 3980066"/>
                <a:gd name="connsiteX3441" fmla="*/ 5546828 w 8387961"/>
                <a:gd name="connsiteY3441" fmla="*/ 1110088 h 3980066"/>
                <a:gd name="connsiteX3442" fmla="*/ 5572963 w 8387961"/>
                <a:gd name="connsiteY3442" fmla="*/ 1103551 h 3980066"/>
                <a:gd name="connsiteX3443" fmla="*/ 3892311 w 8387961"/>
                <a:gd name="connsiteY3443" fmla="*/ 1101222 h 3980066"/>
                <a:gd name="connsiteX3444" fmla="*/ 3909259 w 8387961"/>
                <a:gd name="connsiteY3444" fmla="*/ 1123137 h 3980066"/>
                <a:gd name="connsiteX3445" fmla="*/ 3902480 w 8387961"/>
                <a:gd name="connsiteY3445" fmla="*/ 1158539 h 3980066"/>
                <a:gd name="connsiteX3446" fmla="*/ 3890617 w 8387961"/>
                <a:gd name="connsiteY3446" fmla="*/ 1161911 h 3980066"/>
                <a:gd name="connsiteX3447" fmla="*/ 3880448 w 8387961"/>
                <a:gd name="connsiteY3447" fmla="*/ 1172026 h 3980066"/>
                <a:gd name="connsiteX3448" fmla="*/ 3875364 w 8387961"/>
                <a:gd name="connsiteY3448" fmla="*/ 1155168 h 3980066"/>
                <a:gd name="connsiteX3449" fmla="*/ 3870280 w 8387961"/>
                <a:gd name="connsiteY3449" fmla="*/ 1133252 h 3980066"/>
                <a:gd name="connsiteX3450" fmla="*/ 3868585 w 8387961"/>
                <a:gd name="connsiteY3450" fmla="*/ 1111337 h 3980066"/>
                <a:gd name="connsiteX3451" fmla="*/ 7091659 w 8387961"/>
                <a:gd name="connsiteY3451" fmla="*/ 1095196 h 3980066"/>
                <a:gd name="connsiteX3452" fmla="*/ 7103298 w 8387961"/>
                <a:gd name="connsiteY3452" fmla="*/ 1098504 h 3980066"/>
                <a:gd name="connsiteX3453" fmla="*/ 7124913 w 8387961"/>
                <a:gd name="connsiteY3453" fmla="*/ 1124967 h 3980066"/>
                <a:gd name="connsiteX3454" fmla="*/ 7151515 w 8387961"/>
                <a:gd name="connsiteY3454" fmla="*/ 1151430 h 3980066"/>
                <a:gd name="connsiteX3455" fmla="*/ 7153178 w 8387961"/>
                <a:gd name="connsiteY3455" fmla="*/ 1186163 h 3980066"/>
                <a:gd name="connsiteX3456" fmla="*/ 7148190 w 8387961"/>
                <a:gd name="connsiteY3456" fmla="*/ 1196086 h 3980066"/>
                <a:gd name="connsiteX3457" fmla="*/ 7161491 w 8387961"/>
                <a:gd name="connsiteY3457" fmla="*/ 1234127 h 3980066"/>
                <a:gd name="connsiteX3458" fmla="*/ 7179781 w 8387961"/>
                <a:gd name="connsiteY3458" fmla="*/ 1262244 h 3980066"/>
                <a:gd name="connsiteX3459" fmla="*/ 7169805 w 8387961"/>
                <a:gd name="connsiteY3459" fmla="*/ 1290361 h 3980066"/>
                <a:gd name="connsiteX3460" fmla="*/ 7163154 w 8387961"/>
                <a:gd name="connsiteY3460" fmla="*/ 1273822 h 3980066"/>
                <a:gd name="connsiteX3461" fmla="*/ 7158166 w 8387961"/>
                <a:gd name="connsiteY3461" fmla="*/ 1265552 h 3980066"/>
                <a:gd name="connsiteX3462" fmla="*/ 7159829 w 8387961"/>
                <a:gd name="connsiteY3462" fmla="*/ 1280438 h 3980066"/>
                <a:gd name="connsiteX3463" fmla="*/ 7148190 w 8387961"/>
                <a:gd name="connsiteY3463" fmla="*/ 1283745 h 3980066"/>
                <a:gd name="connsiteX3464" fmla="*/ 7144865 w 8387961"/>
                <a:gd name="connsiteY3464" fmla="*/ 1295323 h 3980066"/>
                <a:gd name="connsiteX3465" fmla="*/ 7139877 w 8387961"/>
                <a:gd name="connsiteY3465" fmla="*/ 1282092 h 3980066"/>
                <a:gd name="connsiteX3466" fmla="*/ 7133226 w 8387961"/>
                <a:gd name="connsiteY3466" fmla="*/ 1296977 h 3980066"/>
                <a:gd name="connsiteX3467" fmla="*/ 7104960 w 8387961"/>
                <a:gd name="connsiteY3467" fmla="*/ 1295323 h 3980066"/>
                <a:gd name="connsiteX3468" fmla="*/ 7098310 w 8387961"/>
                <a:gd name="connsiteY3468" fmla="*/ 1292015 h 3980066"/>
                <a:gd name="connsiteX3469" fmla="*/ 7089996 w 8387961"/>
                <a:gd name="connsiteY3469" fmla="*/ 1285399 h 3980066"/>
                <a:gd name="connsiteX3470" fmla="*/ 7093322 w 8387961"/>
                <a:gd name="connsiteY3470" fmla="*/ 1300285 h 3980066"/>
                <a:gd name="connsiteX3471" fmla="*/ 7099972 w 8387961"/>
                <a:gd name="connsiteY3471" fmla="*/ 1306901 h 3980066"/>
                <a:gd name="connsiteX3472" fmla="*/ 7089996 w 8387961"/>
                <a:gd name="connsiteY3472" fmla="*/ 1320132 h 3980066"/>
                <a:gd name="connsiteX3473" fmla="*/ 7085008 w 8387961"/>
                <a:gd name="connsiteY3473" fmla="*/ 1331710 h 3980066"/>
                <a:gd name="connsiteX3474" fmla="*/ 7061731 w 8387961"/>
                <a:gd name="connsiteY3474" fmla="*/ 1313516 h 3980066"/>
                <a:gd name="connsiteX3475" fmla="*/ 7060068 w 8387961"/>
                <a:gd name="connsiteY3475" fmla="*/ 1293669 h 3980066"/>
                <a:gd name="connsiteX3476" fmla="*/ 7028477 w 8387961"/>
                <a:gd name="connsiteY3476" fmla="*/ 1296977 h 3980066"/>
                <a:gd name="connsiteX3477" fmla="*/ 6993561 w 8387961"/>
                <a:gd name="connsiteY3477" fmla="*/ 1305247 h 3980066"/>
                <a:gd name="connsiteX3478" fmla="*/ 6983585 w 8387961"/>
                <a:gd name="connsiteY3478" fmla="*/ 1316824 h 3980066"/>
                <a:gd name="connsiteX3479" fmla="*/ 6955319 w 8387961"/>
                <a:gd name="connsiteY3479" fmla="*/ 1313516 h 3980066"/>
                <a:gd name="connsiteX3480" fmla="*/ 6960307 w 8387961"/>
                <a:gd name="connsiteY3480" fmla="*/ 1303593 h 3980066"/>
                <a:gd name="connsiteX3481" fmla="*/ 6978597 w 8387961"/>
                <a:gd name="connsiteY3481" fmla="*/ 1285399 h 3980066"/>
                <a:gd name="connsiteX3482" fmla="*/ 6993561 w 8387961"/>
                <a:gd name="connsiteY3482" fmla="*/ 1270514 h 3980066"/>
                <a:gd name="connsiteX3483" fmla="*/ 7018501 w 8387961"/>
                <a:gd name="connsiteY3483" fmla="*/ 1267206 h 3980066"/>
                <a:gd name="connsiteX3484" fmla="*/ 7043441 w 8387961"/>
                <a:gd name="connsiteY3484" fmla="*/ 1265552 h 3980066"/>
                <a:gd name="connsiteX3485" fmla="*/ 7050092 w 8387961"/>
                <a:gd name="connsiteY3485" fmla="*/ 1270514 h 3980066"/>
                <a:gd name="connsiteX3486" fmla="*/ 7063393 w 8387961"/>
                <a:gd name="connsiteY3486" fmla="*/ 1262244 h 3980066"/>
                <a:gd name="connsiteX3487" fmla="*/ 7060068 w 8387961"/>
                <a:gd name="connsiteY3487" fmla="*/ 1245705 h 3980066"/>
                <a:gd name="connsiteX3488" fmla="*/ 7058405 w 8387961"/>
                <a:gd name="connsiteY3488" fmla="*/ 1222550 h 3980066"/>
                <a:gd name="connsiteX3489" fmla="*/ 7068381 w 8387961"/>
                <a:gd name="connsiteY3489" fmla="*/ 1215934 h 3980066"/>
                <a:gd name="connsiteX3490" fmla="*/ 7065056 w 8387961"/>
                <a:gd name="connsiteY3490" fmla="*/ 1224204 h 3980066"/>
                <a:gd name="connsiteX3491" fmla="*/ 7075032 w 8387961"/>
                <a:gd name="connsiteY3491" fmla="*/ 1234127 h 3980066"/>
                <a:gd name="connsiteX3492" fmla="*/ 7088334 w 8387961"/>
                <a:gd name="connsiteY3492" fmla="*/ 1222550 h 3980066"/>
                <a:gd name="connsiteX3493" fmla="*/ 7099972 w 8387961"/>
                <a:gd name="connsiteY3493" fmla="*/ 1210972 h 3980066"/>
                <a:gd name="connsiteX3494" fmla="*/ 7103298 w 8387961"/>
                <a:gd name="connsiteY3494" fmla="*/ 1187817 h 3980066"/>
                <a:gd name="connsiteX3495" fmla="*/ 7104960 w 8387961"/>
                <a:gd name="connsiteY3495" fmla="*/ 1164662 h 3980066"/>
                <a:gd name="connsiteX3496" fmla="*/ 7091659 w 8387961"/>
                <a:gd name="connsiteY3496" fmla="*/ 1143160 h 3980066"/>
                <a:gd name="connsiteX3497" fmla="*/ 7081683 w 8387961"/>
                <a:gd name="connsiteY3497" fmla="*/ 1116697 h 3980066"/>
                <a:gd name="connsiteX3498" fmla="*/ 7083345 w 8387961"/>
                <a:gd name="connsiteY3498" fmla="*/ 1103466 h 3980066"/>
                <a:gd name="connsiteX3499" fmla="*/ 7098310 w 8387961"/>
                <a:gd name="connsiteY3499" fmla="*/ 1111735 h 3980066"/>
                <a:gd name="connsiteX3500" fmla="*/ 7103298 w 8387961"/>
                <a:gd name="connsiteY3500" fmla="*/ 1106773 h 3980066"/>
                <a:gd name="connsiteX3501" fmla="*/ 7099972 w 8387961"/>
                <a:gd name="connsiteY3501" fmla="*/ 1101812 h 3980066"/>
                <a:gd name="connsiteX3502" fmla="*/ 7089996 w 8387961"/>
                <a:gd name="connsiteY3502" fmla="*/ 1101812 h 3980066"/>
                <a:gd name="connsiteX3503" fmla="*/ 4801088 w 8387961"/>
                <a:gd name="connsiteY3503" fmla="*/ 1095146 h 3980066"/>
                <a:gd name="connsiteX3504" fmla="*/ 4799510 w 8387961"/>
                <a:gd name="connsiteY3504" fmla="*/ 1123116 h 3980066"/>
                <a:gd name="connsiteX3505" fmla="*/ 4799600 w 8387961"/>
                <a:gd name="connsiteY3505" fmla="*/ 1123147 h 3980066"/>
                <a:gd name="connsiteX3506" fmla="*/ 4801280 w 8387961"/>
                <a:gd name="connsiteY3506" fmla="*/ 1095160 h 3980066"/>
                <a:gd name="connsiteX3507" fmla="*/ 5388070 w 8387961"/>
                <a:gd name="connsiteY3507" fmla="*/ 1086075 h 3980066"/>
                <a:gd name="connsiteX3508" fmla="*/ 5371775 w 8387961"/>
                <a:gd name="connsiteY3508" fmla="*/ 1102358 h 3980066"/>
                <a:gd name="connsiteX3509" fmla="*/ 5344855 w 8387961"/>
                <a:gd name="connsiteY3509" fmla="*/ 1124217 h 3980066"/>
                <a:gd name="connsiteX3510" fmla="*/ 5321299 w 8387961"/>
                <a:gd name="connsiteY3510" fmla="*/ 1147756 h 3980066"/>
                <a:gd name="connsiteX3511" fmla="*/ 5331395 w 8387961"/>
                <a:gd name="connsiteY3511" fmla="*/ 1161207 h 3980066"/>
                <a:gd name="connsiteX3512" fmla="*/ 5331803 w 8387961"/>
                <a:gd name="connsiteY3512" fmla="*/ 1161452 h 3980066"/>
                <a:gd name="connsiteX3513" fmla="*/ 5322318 w 8387961"/>
                <a:gd name="connsiteY3513" fmla="*/ 1149039 h 3980066"/>
                <a:gd name="connsiteX3514" fmla="*/ 5345980 w 8387961"/>
                <a:gd name="connsiteY3514" fmla="*/ 1125816 h 3980066"/>
                <a:gd name="connsiteX3515" fmla="*/ 5373023 w 8387961"/>
                <a:gd name="connsiteY3515" fmla="*/ 1104252 h 3980066"/>
                <a:gd name="connsiteX3516" fmla="*/ 5389925 w 8387961"/>
                <a:gd name="connsiteY3516" fmla="*/ 1087664 h 3980066"/>
                <a:gd name="connsiteX3517" fmla="*/ 5424845 w 8387961"/>
                <a:gd name="connsiteY3517" fmla="*/ 1092560 h 3980066"/>
                <a:gd name="connsiteX3518" fmla="*/ 5424361 w 8387961"/>
                <a:gd name="connsiteY3518" fmla="*/ 1092268 h 3980066"/>
                <a:gd name="connsiteX3519" fmla="*/ 5388912 w 8387961"/>
                <a:gd name="connsiteY3519" fmla="*/ 1087176 h 3980066"/>
                <a:gd name="connsiteX3520" fmla="*/ 3510045 w 8387961"/>
                <a:gd name="connsiteY3520" fmla="*/ 1083468 h 3980066"/>
                <a:gd name="connsiteX3521" fmla="*/ 3514567 w 8387961"/>
                <a:gd name="connsiteY3521" fmla="*/ 1095738 h 3980066"/>
                <a:gd name="connsiteX3522" fmla="*/ 3499596 w 8387961"/>
                <a:gd name="connsiteY3522" fmla="*/ 1110972 h 3980066"/>
                <a:gd name="connsiteX3523" fmla="*/ 3492949 w 8387961"/>
                <a:gd name="connsiteY3523" fmla="*/ 1146486 h 3980066"/>
                <a:gd name="connsiteX3524" fmla="*/ 3494447 w 8387961"/>
                <a:gd name="connsiteY3524" fmla="*/ 1146238 h 3980066"/>
                <a:gd name="connsiteX3525" fmla="*/ 3501085 w 8387961"/>
                <a:gd name="connsiteY3525" fmla="*/ 1111578 h 3980066"/>
                <a:gd name="connsiteX3526" fmla="*/ 3516022 w 8387961"/>
                <a:gd name="connsiteY3526" fmla="*/ 1096724 h 3980066"/>
                <a:gd name="connsiteX3527" fmla="*/ 3511043 w 8387961"/>
                <a:gd name="connsiteY3527" fmla="*/ 1083520 h 3980066"/>
                <a:gd name="connsiteX3528" fmla="*/ 6770207 w 8387961"/>
                <a:gd name="connsiteY3528" fmla="*/ 1082823 h 3980066"/>
                <a:gd name="connsiteX3529" fmla="*/ 6768577 w 8387961"/>
                <a:gd name="connsiteY3529" fmla="*/ 1083475 h 3980066"/>
                <a:gd name="connsiteX3530" fmla="*/ 6776591 w 8387961"/>
                <a:gd name="connsiteY3530" fmla="*/ 1095502 h 3980066"/>
                <a:gd name="connsiteX3531" fmla="*/ 6779126 w 8387961"/>
                <a:gd name="connsiteY3531" fmla="*/ 1096206 h 3980066"/>
                <a:gd name="connsiteX3532" fmla="*/ 1972122 w 8387961"/>
                <a:gd name="connsiteY3532" fmla="*/ 1074937 h 3980066"/>
                <a:gd name="connsiteX3533" fmla="*/ 1973796 w 8387961"/>
                <a:gd name="connsiteY3533" fmla="*/ 1083326 h 3980066"/>
                <a:gd name="connsiteX3534" fmla="*/ 1973281 w 8387961"/>
                <a:gd name="connsiteY3534" fmla="*/ 1083068 h 3980066"/>
                <a:gd name="connsiteX3535" fmla="*/ 4206715 w 8387961"/>
                <a:gd name="connsiteY3535" fmla="*/ 1067009 h 3980066"/>
                <a:gd name="connsiteX3536" fmla="*/ 4198594 w 8387961"/>
                <a:gd name="connsiteY3536" fmla="*/ 1070260 h 3980066"/>
                <a:gd name="connsiteX3537" fmla="*/ 4193721 w 8387961"/>
                <a:gd name="connsiteY3537" fmla="*/ 1071886 h 3980066"/>
                <a:gd name="connsiteX3538" fmla="*/ 4190473 w 8387961"/>
                <a:gd name="connsiteY3538" fmla="*/ 1071886 h 3980066"/>
                <a:gd name="connsiteX3539" fmla="*/ 4187225 w 8387961"/>
                <a:gd name="connsiteY3539" fmla="*/ 1070260 h 3980066"/>
                <a:gd name="connsiteX3540" fmla="*/ 4182352 w 8387961"/>
                <a:gd name="connsiteY3540" fmla="*/ 1075136 h 3980066"/>
                <a:gd name="connsiteX3541" fmla="*/ 4177480 w 8387961"/>
                <a:gd name="connsiteY3541" fmla="*/ 1073511 h 3980066"/>
                <a:gd name="connsiteX3542" fmla="*/ 4169359 w 8387961"/>
                <a:gd name="connsiteY3542" fmla="*/ 1075136 h 3980066"/>
                <a:gd name="connsiteX3543" fmla="*/ 4169359 w 8387961"/>
                <a:gd name="connsiteY3543" fmla="*/ 1076076 h 3980066"/>
                <a:gd name="connsiteX3544" fmla="*/ 4177241 w 8387961"/>
                <a:gd name="connsiteY3544" fmla="*/ 1074552 h 3980066"/>
                <a:gd name="connsiteX3545" fmla="*/ 4182263 w 8387961"/>
                <a:gd name="connsiteY3545" fmla="*/ 1076170 h 3980066"/>
                <a:gd name="connsiteX3546" fmla="*/ 4187284 w 8387961"/>
                <a:gd name="connsiteY3546" fmla="*/ 1071316 h 3980066"/>
                <a:gd name="connsiteX3547" fmla="*/ 4190632 w 8387961"/>
                <a:gd name="connsiteY3547" fmla="*/ 1072934 h 3980066"/>
                <a:gd name="connsiteX3548" fmla="*/ 4193980 w 8387961"/>
                <a:gd name="connsiteY3548" fmla="*/ 1072934 h 3980066"/>
                <a:gd name="connsiteX3549" fmla="*/ 4199001 w 8387961"/>
                <a:gd name="connsiteY3549" fmla="*/ 1071316 h 3980066"/>
                <a:gd name="connsiteX3550" fmla="*/ 4207370 w 8387961"/>
                <a:gd name="connsiteY3550" fmla="*/ 1068080 h 3980066"/>
                <a:gd name="connsiteX3551" fmla="*/ 4212392 w 8387961"/>
                <a:gd name="connsiteY3551" fmla="*/ 1074552 h 3980066"/>
                <a:gd name="connsiteX3552" fmla="*/ 4216757 w 8387961"/>
                <a:gd name="connsiteY3552" fmla="*/ 1073145 h 3980066"/>
                <a:gd name="connsiteX3553" fmla="*/ 4216121 w 8387961"/>
                <a:gd name="connsiteY3553" fmla="*/ 1072510 h 3980066"/>
                <a:gd name="connsiteX3554" fmla="*/ 4215787 w 8387961"/>
                <a:gd name="connsiteY3554" fmla="*/ 1072110 h 3980066"/>
                <a:gd name="connsiteX3555" fmla="*/ 4211587 w 8387961"/>
                <a:gd name="connsiteY3555" fmla="*/ 1073511 h 3980066"/>
                <a:gd name="connsiteX3556" fmla="*/ 3711530 w 8387961"/>
                <a:gd name="connsiteY3556" fmla="*/ 1061695 h 3980066"/>
                <a:gd name="connsiteX3557" fmla="*/ 3711470 w 8387961"/>
                <a:gd name="connsiteY3557" fmla="*/ 1061876 h 3980066"/>
                <a:gd name="connsiteX3558" fmla="*/ 3711559 w 8387961"/>
                <a:gd name="connsiteY3558" fmla="*/ 1061695 h 3980066"/>
                <a:gd name="connsiteX3559" fmla="*/ 5085744 w 8387961"/>
                <a:gd name="connsiteY3559" fmla="*/ 1053598 h 3980066"/>
                <a:gd name="connsiteX3560" fmla="*/ 5065554 w 8387961"/>
                <a:gd name="connsiteY3560" fmla="*/ 1075456 h 3980066"/>
                <a:gd name="connsiteX3561" fmla="*/ 5053776 w 8387961"/>
                <a:gd name="connsiteY3561" fmla="*/ 1082182 h 3980066"/>
                <a:gd name="connsiteX3562" fmla="*/ 5060506 w 8387961"/>
                <a:gd name="connsiteY3562" fmla="*/ 1097314 h 3980066"/>
                <a:gd name="connsiteX3563" fmla="*/ 5028248 w 8387961"/>
                <a:gd name="connsiteY3563" fmla="*/ 1092709 h 3980066"/>
                <a:gd name="connsiteX3564" fmla="*/ 5028333 w 8387961"/>
                <a:gd name="connsiteY3564" fmla="*/ 1093193 h 3980066"/>
                <a:gd name="connsiteX3565" fmla="*/ 5026301 w 8387961"/>
                <a:gd name="connsiteY3565" fmla="*/ 1092431 h 3980066"/>
                <a:gd name="connsiteX3566" fmla="*/ 5025173 w 8387961"/>
                <a:gd name="connsiteY3566" fmla="*/ 1092270 h 3980066"/>
                <a:gd name="connsiteX3567" fmla="*/ 5025123 w 8387961"/>
                <a:gd name="connsiteY3567" fmla="*/ 1091989 h 3980066"/>
                <a:gd name="connsiteX3568" fmla="*/ 5001590 w 8387961"/>
                <a:gd name="connsiteY3568" fmla="*/ 1083163 h 3980066"/>
                <a:gd name="connsiteX3569" fmla="*/ 4973176 w 8387961"/>
                <a:gd name="connsiteY3569" fmla="*/ 1074804 h 3980066"/>
                <a:gd name="connsiteX3570" fmla="*/ 4974847 w 8387961"/>
                <a:gd name="connsiteY3570" fmla="*/ 1054742 h 3980066"/>
                <a:gd name="connsiteX3571" fmla="*/ 4972620 w 8387961"/>
                <a:gd name="connsiteY3571" fmla="*/ 1054742 h 3980066"/>
                <a:gd name="connsiteX3572" fmla="*/ 4970958 w 8387961"/>
                <a:gd name="connsiteY3572" fmla="*/ 1074623 h 3980066"/>
                <a:gd name="connsiteX3573" fmla="*/ 4999518 w 8387961"/>
                <a:gd name="connsiteY3573" fmla="*/ 1082998 h 3980066"/>
                <a:gd name="connsiteX3574" fmla="*/ 5026399 w 8387961"/>
                <a:gd name="connsiteY3574" fmla="*/ 1093049 h 3980066"/>
                <a:gd name="connsiteX3575" fmla="*/ 5061679 w 8387961"/>
                <a:gd name="connsiteY3575" fmla="*/ 1098074 h 3980066"/>
                <a:gd name="connsiteX3576" fmla="*/ 5054959 w 8387961"/>
                <a:gd name="connsiteY3576" fmla="*/ 1082998 h 3980066"/>
                <a:gd name="connsiteX3577" fmla="*/ 5066719 w 8387961"/>
                <a:gd name="connsiteY3577" fmla="*/ 1076298 h 3980066"/>
                <a:gd name="connsiteX3578" fmla="*/ 5086879 w 8387961"/>
                <a:gd name="connsiteY3578" fmla="*/ 1054522 h 3980066"/>
                <a:gd name="connsiteX3579" fmla="*/ 5119558 w 8387961"/>
                <a:gd name="connsiteY3579" fmla="*/ 1075701 h 3980066"/>
                <a:gd name="connsiteX3580" fmla="*/ 5119395 w 8387961"/>
                <a:gd name="connsiteY3580" fmla="*/ 1075456 h 3980066"/>
                <a:gd name="connsiteX3581" fmla="*/ 6791988 w 8387961"/>
                <a:gd name="connsiteY3581" fmla="*/ 1053361 h 3980066"/>
                <a:gd name="connsiteX3582" fmla="*/ 6791988 w 8387961"/>
                <a:gd name="connsiteY3582" fmla="*/ 1066702 h 3980066"/>
                <a:gd name="connsiteX3583" fmla="*/ 6792366 w 8387961"/>
                <a:gd name="connsiteY3583" fmla="*/ 1066408 h 3980066"/>
                <a:gd name="connsiteX3584" fmla="*/ 6792366 w 8387961"/>
                <a:gd name="connsiteY3584" fmla="*/ 1053561 h 3980066"/>
                <a:gd name="connsiteX3585" fmla="*/ 5608079 w 8387961"/>
                <a:gd name="connsiteY3585" fmla="*/ 1051642 h 3980066"/>
                <a:gd name="connsiteX3586" fmla="*/ 5603817 w 8387961"/>
                <a:gd name="connsiteY3586" fmla="*/ 1055904 h 3980066"/>
                <a:gd name="connsiteX3587" fmla="*/ 5604883 w 8387961"/>
                <a:gd name="connsiteY3587" fmla="*/ 1056559 h 3980066"/>
                <a:gd name="connsiteX3588" fmla="*/ 5608079 w 8387961"/>
                <a:gd name="connsiteY3588" fmla="*/ 1053361 h 3980066"/>
                <a:gd name="connsiteX3589" fmla="*/ 3891761 w 8387961"/>
                <a:gd name="connsiteY3589" fmla="*/ 1051509 h 3980066"/>
                <a:gd name="connsiteX3590" fmla="*/ 3898714 w 8387961"/>
                <a:gd name="connsiteY3590" fmla="*/ 1069461 h 3980066"/>
                <a:gd name="connsiteX3591" fmla="*/ 3891761 w 8387961"/>
                <a:gd name="connsiteY3591" fmla="*/ 1090677 h 3980066"/>
                <a:gd name="connsiteX3592" fmla="*/ 3881331 w 8387961"/>
                <a:gd name="connsiteY3592" fmla="*/ 1084149 h 3980066"/>
                <a:gd name="connsiteX3593" fmla="*/ 3876117 w 8387961"/>
                <a:gd name="connsiteY3593" fmla="*/ 1069461 h 3980066"/>
                <a:gd name="connsiteX3594" fmla="*/ 5275875 w 8387961"/>
                <a:gd name="connsiteY3594" fmla="*/ 1050297 h 3980066"/>
                <a:gd name="connsiteX3595" fmla="*/ 5277553 w 8387961"/>
                <a:gd name="connsiteY3595" fmla="*/ 1073775 h 3980066"/>
                <a:gd name="connsiteX3596" fmla="*/ 5279024 w 8387961"/>
                <a:gd name="connsiteY3596" fmla="*/ 1074461 h 3980066"/>
                <a:gd name="connsiteX3597" fmla="*/ 5277377 w 8387961"/>
                <a:gd name="connsiteY3597" fmla="*/ 1051398 h 3980066"/>
                <a:gd name="connsiteX3598" fmla="*/ 5452878 w 8387961"/>
                <a:gd name="connsiteY3598" fmla="*/ 1043039 h 3980066"/>
                <a:gd name="connsiteX3599" fmla="*/ 5437836 w 8387961"/>
                <a:gd name="connsiteY3599" fmla="*/ 1058086 h 3980066"/>
                <a:gd name="connsiteX3600" fmla="*/ 5414435 w 8387961"/>
                <a:gd name="connsiteY3600" fmla="*/ 1056414 h 3980066"/>
                <a:gd name="connsiteX3601" fmla="*/ 5387692 w 8387961"/>
                <a:gd name="connsiteY3601" fmla="*/ 1053070 h 3980066"/>
                <a:gd name="connsiteX3602" fmla="*/ 5387453 w 8387961"/>
                <a:gd name="connsiteY3602" fmla="*/ 1053256 h 3980066"/>
                <a:gd name="connsiteX3603" fmla="*/ 5414233 w 8387961"/>
                <a:gd name="connsiteY3603" fmla="*/ 1056623 h 3980066"/>
                <a:gd name="connsiteX3604" fmla="*/ 5437866 w 8387961"/>
                <a:gd name="connsiteY3604" fmla="*/ 1058320 h 3980066"/>
                <a:gd name="connsiteX3605" fmla="*/ 5453049 w 8387961"/>
                <a:gd name="connsiteY3605" fmla="*/ 1043053 h 3980066"/>
                <a:gd name="connsiteX3606" fmla="*/ 4083814 w 8387961"/>
                <a:gd name="connsiteY3606" fmla="*/ 1040959 h 3980066"/>
                <a:gd name="connsiteX3607" fmla="*/ 4083898 w 8387961"/>
                <a:gd name="connsiteY3607" fmla="*/ 1041219 h 3980066"/>
                <a:gd name="connsiteX3608" fmla="*/ 4092492 w 8387961"/>
                <a:gd name="connsiteY3608" fmla="*/ 1047096 h 3980066"/>
                <a:gd name="connsiteX3609" fmla="*/ 4092492 w 8387961"/>
                <a:gd name="connsiteY3609" fmla="*/ 1046957 h 3980066"/>
                <a:gd name="connsiteX3610" fmla="*/ 5573222 w 8387961"/>
                <a:gd name="connsiteY3610" fmla="*/ 1038024 h 3980066"/>
                <a:gd name="connsiteX3611" fmla="*/ 5539793 w 8387961"/>
                <a:gd name="connsiteY3611" fmla="*/ 1041368 h 3980066"/>
                <a:gd name="connsiteX3612" fmla="*/ 5508036 w 8387961"/>
                <a:gd name="connsiteY3612" fmla="*/ 1044711 h 3980066"/>
                <a:gd name="connsiteX3613" fmla="*/ 5474626 w 8387961"/>
                <a:gd name="connsiteY3613" fmla="*/ 1044711 h 3980066"/>
                <a:gd name="connsiteX3614" fmla="*/ 5475004 w 8387961"/>
                <a:gd name="connsiteY3614" fmla="*/ 1044741 h 3980066"/>
                <a:gd name="connsiteX3615" fmla="*/ 5508766 w 8387961"/>
                <a:gd name="connsiteY3615" fmla="*/ 1044741 h 3980066"/>
                <a:gd name="connsiteX3616" fmla="*/ 5540839 w 8387961"/>
                <a:gd name="connsiteY3616" fmla="*/ 1041346 h 3980066"/>
                <a:gd name="connsiteX3617" fmla="*/ 5573314 w 8387961"/>
                <a:gd name="connsiteY3617" fmla="*/ 1038080 h 3980066"/>
                <a:gd name="connsiteX3618" fmla="*/ 4076334 w 8387961"/>
                <a:gd name="connsiteY3618" fmla="*/ 1031826 h 3980066"/>
                <a:gd name="connsiteX3619" fmla="*/ 4077211 w 8387961"/>
                <a:gd name="connsiteY3619" fmla="*/ 1032643 h 3980066"/>
                <a:gd name="connsiteX3620" fmla="*/ 4081097 w 8387961"/>
                <a:gd name="connsiteY3620" fmla="*/ 1035301 h 3980066"/>
                <a:gd name="connsiteX3621" fmla="*/ 4081021 w 8387961"/>
                <a:gd name="connsiteY3621" fmla="*/ 1035065 h 3980066"/>
                <a:gd name="connsiteX3622" fmla="*/ 4208369 w 8387961"/>
                <a:gd name="connsiteY3622" fmla="*/ 1030923 h 3980066"/>
                <a:gd name="connsiteX3623" fmla="*/ 4208339 w 8387961"/>
                <a:gd name="connsiteY3623" fmla="*/ 1031251 h 3980066"/>
                <a:gd name="connsiteX3624" fmla="*/ 4217708 w 8387961"/>
                <a:gd name="connsiteY3624" fmla="*/ 1045315 h 3980066"/>
                <a:gd name="connsiteX3625" fmla="*/ 4217838 w 8387961"/>
                <a:gd name="connsiteY3625" fmla="*/ 1045099 h 3980066"/>
                <a:gd name="connsiteX3626" fmla="*/ 3487808 w 8387961"/>
                <a:gd name="connsiteY3626" fmla="*/ 1027405 h 3980066"/>
                <a:gd name="connsiteX3627" fmla="*/ 3517682 w 8387961"/>
                <a:gd name="connsiteY3627" fmla="*/ 1032356 h 3980066"/>
                <a:gd name="connsiteX3628" fmla="*/ 3544236 w 8387961"/>
                <a:gd name="connsiteY3628" fmla="*/ 1034007 h 3980066"/>
                <a:gd name="connsiteX3629" fmla="*/ 3570791 w 8387961"/>
                <a:gd name="connsiteY3629" fmla="*/ 1035657 h 3980066"/>
                <a:gd name="connsiteX3630" fmla="*/ 3597345 w 8387961"/>
                <a:gd name="connsiteY3630" fmla="*/ 1035657 h 3980066"/>
                <a:gd name="connsiteX3631" fmla="*/ 3625560 w 8387961"/>
                <a:gd name="connsiteY3631" fmla="*/ 1037308 h 3980066"/>
                <a:gd name="connsiteX3632" fmla="*/ 3637177 w 8387961"/>
                <a:gd name="connsiteY3632" fmla="*/ 1047210 h 3980066"/>
                <a:gd name="connsiteX3633" fmla="*/ 3703563 w 8387961"/>
                <a:gd name="connsiteY3633" fmla="*/ 1062064 h 3980066"/>
                <a:gd name="connsiteX3634" fmla="*/ 3703563 w 8387961"/>
                <a:gd name="connsiteY3634" fmla="*/ 1063715 h 3980066"/>
                <a:gd name="connsiteX3635" fmla="*/ 3708542 w 8387961"/>
                <a:gd name="connsiteY3635" fmla="*/ 1065365 h 3980066"/>
                <a:gd name="connsiteX3636" fmla="*/ 3745055 w 8387961"/>
                <a:gd name="connsiteY3636" fmla="*/ 1065365 h 3980066"/>
                <a:gd name="connsiteX3637" fmla="*/ 3738416 w 8387961"/>
                <a:gd name="connsiteY3637" fmla="*/ 1086821 h 3980066"/>
                <a:gd name="connsiteX3638" fmla="*/ 3713521 w 8387961"/>
                <a:gd name="connsiteY3638" fmla="*/ 1101675 h 3980066"/>
                <a:gd name="connsiteX3639" fmla="*/ 3686967 w 8387961"/>
                <a:gd name="connsiteY3639" fmla="*/ 1114879 h 3980066"/>
                <a:gd name="connsiteX3640" fmla="*/ 3673690 w 8387961"/>
                <a:gd name="connsiteY3640" fmla="*/ 1134685 h 3980066"/>
                <a:gd name="connsiteX3641" fmla="*/ 3658753 w 8387961"/>
                <a:gd name="connsiteY3641" fmla="*/ 1156140 h 3980066"/>
                <a:gd name="connsiteX3642" fmla="*/ 3668711 w 8387961"/>
                <a:gd name="connsiteY3642" fmla="*/ 1177596 h 3980066"/>
                <a:gd name="connsiteX3643" fmla="*/ 3648795 w 8387961"/>
                <a:gd name="connsiteY3643" fmla="*/ 1202353 h 3980066"/>
                <a:gd name="connsiteX3644" fmla="*/ 3643816 w 8387961"/>
                <a:gd name="connsiteY3644" fmla="*/ 1210605 h 3980066"/>
                <a:gd name="connsiteX3645" fmla="*/ 3623900 w 8387961"/>
                <a:gd name="connsiteY3645" fmla="*/ 1220508 h 3980066"/>
                <a:gd name="connsiteX3646" fmla="*/ 3610623 w 8387961"/>
                <a:gd name="connsiteY3646" fmla="*/ 1232061 h 3980066"/>
                <a:gd name="connsiteX3647" fmla="*/ 3584068 w 8387961"/>
                <a:gd name="connsiteY3647" fmla="*/ 1235362 h 3980066"/>
                <a:gd name="connsiteX3648" fmla="*/ 3554194 w 8387961"/>
                <a:gd name="connsiteY3648" fmla="*/ 1240314 h 3980066"/>
                <a:gd name="connsiteX3649" fmla="*/ 3535938 w 8387961"/>
                <a:gd name="connsiteY3649" fmla="*/ 1251867 h 3980066"/>
                <a:gd name="connsiteX3650" fmla="*/ 3534279 w 8387961"/>
                <a:gd name="connsiteY3650" fmla="*/ 1251867 h 3980066"/>
                <a:gd name="connsiteX3651" fmla="*/ 3517682 w 8387961"/>
                <a:gd name="connsiteY3651" fmla="*/ 1250216 h 3980066"/>
                <a:gd name="connsiteX3652" fmla="*/ 3511043 w 8387961"/>
                <a:gd name="connsiteY3652" fmla="*/ 1230411 h 3980066"/>
                <a:gd name="connsiteX3653" fmla="*/ 3494447 w 8387961"/>
                <a:gd name="connsiteY3653" fmla="*/ 1220508 h 3980066"/>
                <a:gd name="connsiteX3654" fmla="*/ 3486149 w 8387961"/>
                <a:gd name="connsiteY3654" fmla="*/ 1222159 h 3980066"/>
                <a:gd name="connsiteX3655" fmla="*/ 3484489 w 8387961"/>
                <a:gd name="connsiteY3655" fmla="*/ 1213906 h 3980066"/>
                <a:gd name="connsiteX3656" fmla="*/ 3494447 w 8387961"/>
                <a:gd name="connsiteY3656" fmla="*/ 1195751 h 3980066"/>
                <a:gd name="connsiteX3657" fmla="*/ 3491127 w 8387961"/>
                <a:gd name="connsiteY3657" fmla="*/ 1187499 h 3980066"/>
                <a:gd name="connsiteX3658" fmla="*/ 3494447 w 8387961"/>
                <a:gd name="connsiteY3658" fmla="*/ 1172645 h 3980066"/>
                <a:gd name="connsiteX3659" fmla="*/ 3484513 w 8387961"/>
                <a:gd name="connsiteY3659" fmla="*/ 1147947 h 3980066"/>
                <a:gd name="connsiteX3660" fmla="*/ 3482963 w 8387961"/>
                <a:gd name="connsiteY3660" fmla="*/ 1148210 h 3980066"/>
                <a:gd name="connsiteX3661" fmla="*/ 3492943 w 8387961"/>
                <a:gd name="connsiteY3661" fmla="*/ 1173600 h 3980066"/>
                <a:gd name="connsiteX3662" fmla="*/ 3489616 w 8387961"/>
                <a:gd name="connsiteY3662" fmla="*/ 1188834 h 3980066"/>
                <a:gd name="connsiteX3663" fmla="*/ 3492943 w 8387961"/>
                <a:gd name="connsiteY3663" fmla="*/ 1197297 h 3980066"/>
                <a:gd name="connsiteX3664" fmla="*/ 3482963 w 8387961"/>
                <a:gd name="connsiteY3664" fmla="*/ 1215916 h 3980066"/>
                <a:gd name="connsiteX3665" fmla="*/ 3484626 w 8387961"/>
                <a:gd name="connsiteY3665" fmla="*/ 1224380 h 3980066"/>
                <a:gd name="connsiteX3666" fmla="*/ 3448032 w 8387961"/>
                <a:gd name="connsiteY3666" fmla="*/ 1227765 h 3980066"/>
                <a:gd name="connsiteX3667" fmla="*/ 3449695 w 8387961"/>
                <a:gd name="connsiteY3667" fmla="*/ 1185449 h 3980066"/>
                <a:gd name="connsiteX3668" fmla="*/ 3446368 w 8387961"/>
                <a:gd name="connsiteY3668" fmla="*/ 1183756 h 3980066"/>
                <a:gd name="connsiteX3669" fmla="*/ 3434725 w 8387961"/>
                <a:gd name="connsiteY3669" fmla="*/ 1176985 h 3980066"/>
                <a:gd name="connsiteX3670" fmla="*/ 3438052 w 8387961"/>
                <a:gd name="connsiteY3670" fmla="*/ 1156674 h 3980066"/>
                <a:gd name="connsiteX3671" fmla="*/ 3448032 w 8387961"/>
                <a:gd name="connsiteY3671" fmla="*/ 1134669 h 3980066"/>
                <a:gd name="connsiteX3672" fmla="*/ 3456349 w 8387961"/>
                <a:gd name="connsiteY3672" fmla="*/ 1114357 h 3980066"/>
                <a:gd name="connsiteX3673" fmla="*/ 3456349 w 8387961"/>
                <a:gd name="connsiteY3673" fmla="*/ 1077119 h 3980066"/>
                <a:gd name="connsiteX3674" fmla="*/ 3457570 w 8387961"/>
                <a:gd name="connsiteY3674" fmla="*/ 1077119 h 3980066"/>
                <a:gd name="connsiteX3675" fmla="*/ 3456275 w 8387961"/>
                <a:gd name="connsiteY3675" fmla="*/ 1071967 h 3980066"/>
                <a:gd name="connsiteX3676" fmla="*/ 3454615 w 8387961"/>
                <a:gd name="connsiteY3676" fmla="*/ 1065365 h 3980066"/>
                <a:gd name="connsiteX3677" fmla="*/ 3454615 w 8387961"/>
                <a:gd name="connsiteY3677" fmla="*/ 1062064 h 3980066"/>
                <a:gd name="connsiteX3678" fmla="*/ 3451296 w 8387961"/>
                <a:gd name="connsiteY3678" fmla="*/ 1055463 h 3980066"/>
                <a:gd name="connsiteX3679" fmla="*/ 3451296 w 8387961"/>
                <a:gd name="connsiteY3679" fmla="*/ 1043909 h 3980066"/>
                <a:gd name="connsiteX3680" fmla="*/ 4136581 w 8387961"/>
                <a:gd name="connsiteY3680" fmla="*/ 1016474 h 3980066"/>
                <a:gd name="connsiteX3681" fmla="*/ 4128541 w 8387961"/>
                <a:gd name="connsiteY3681" fmla="*/ 1021475 h 3980066"/>
                <a:gd name="connsiteX3682" fmla="*/ 4135095 w 8387961"/>
                <a:gd name="connsiteY3682" fmla="*/ 1024873 h 3980066"/>
                <a:gd name="connsiteX3683" fmla="*/ 4135095 w 8387961"/>
                <a:gd name="connsiteY3683" fmla="*/ 1031668 h 3980066"/>
                <a:gd name="connsiteX3684" fmla="*/ 4120348 w 8387961"/>
                <a:gd name="connsiteY3684" fmla="*/ 1033367 h 3980066"/>
                <a:gd name="connsiteX3685" fmla="*/ 4126902 w 8387961"/>
                <a:gd name="connsiteY3685" fmla="*/ 1040162 h 3980066"/>
                <a:gd name="connsiteX3686" fmla="*/ 4125553 w 8387961"/>
                <a:gd name="connsiteY3686" fmla="*/ 1041560 h 3980066"/>
                <a:gd name="connsiteX3687" fmla="*/ 4128755 w 8387961"/>
                <a:gd name="connsiteY3687" fmla="*/ 1042628 h 3980066"/>
                <a:gd name="connsiteX3688" fmla="*/ 4130379 w 8387961"/>
                <a:gd name="connsiteY3688" fmla="*/ 1041003 h 3980066"/>
                <a:gd name="connsiteX3689" fmla="*/ 4123883 w 8387961"/>
                <a:gd name="connsiteY3689" fmla="*/ 1034501 h 3980066"/>
                <a:gd name="connsiteX3690" fmla="*/ 4138500 w 8387961"/>
                <a:gd name="connsiteY3690" fmla="*/ 1032876 h 3980066"/>
                <a:gd name="connsiteX3691" fmla="*/ 4138500 w 8387961"/>
                <a:gd name="connsiteY3691" fmla="*/ 1026374 h 3980066"/>
                <a:gd name="connsiteX3692" fmla="*/ 4132003 w 8387961"/>
                <a:gd name="connsiteY3692" fmla="*/ 1023124 h 3980066"/>
                <a:gd name="connsiteX3693" fmla="*/ 4140124 w 8387961"/>
                <a:gd name="connsiteY3693" fmla="*/ 1018247 h 3980066"/>
                <a:gd name="connsiteX3694" fmla="*/ 4058821 w 8387961"/>
                <a:gd name="connsiteY3694" fmla="*/ 1015378 h 3980066"/>
                <a:gd name="connsiteX3695" fmla="*/ 4058821 w 8387961"/>
                <a:gd name="connsiteY3695" fmla="*/ 1015493 h 3980066"/>
                <a:gd name="connsiteX3696" fmla="*/ 4070516 w 8387961"/>
                <a:gd name="connsiteY3696" fmla="*/ 1026400 h 3980066"/>
                <a:gd name="connsiteX3697" fmla="*/ 4053634 w 8387961"/>
                <a:gd name="connsiteY3697" fmla="*/ 1011445 h 3980066"/>
                <a:gd name="connsiteX3698" fmla="*/ 4053806 w 8387961"/>
                <a:gd name="connsiteY3698" fmla="*/ 1012063 h 3980066"/>
                <a:gd name="connsiteX3699" fmla="*/ 4058081 w 8387961"/>
                <a:gd name="connsiteY3699" fmla="*/ 1013525 h 3980066"/>
                <a:gd name="connsiteX3700" fmla="*/ 4058081 w 8387961"/>
                <a:gd name="connsiteY3700" fmla="*/ 1012981 h 3980066"/>
                <a:gd name="connsiteX3701" fmla="*/ 7166223 w 8387961"/>
                <a:gd name="connsiteY3701" fmla="*/ 1007821 h 3980066"/>
                <a:gd name="connsiteX3702" fmla="*/ 7155678 w 8387961"/>
                <a:gd name="connsiteY3702" fmla="*/ 1024392 h 3980066"/>
                <a:gd name="connsiteX3703" fmla="*/ 7155678 w 8387961"/>
                <a:gd name="connsiteY3703" fmla="*/ 1012340 h 3980066"/>
                <a:gd name="connsiteX3704" fmla="*/ 2095749 w 8387961"/>
                <a:gd name="connsiteY3704" fmla="*/ 1002263 h 3980066"/>
                <a:gd name="connsiteX3705" fmla="*/ 2095371 w 8387961"/>
                <a:gd name="connsiteY3705" fmla="*/ 1002695 h 3980066"/>
                <a:gd name="connsiteX3706" fmla="*/ 2089071 w 8387961"/>
                <a:gd name="connsiteY3706" fmla="*/ 1005612 h 3980066"/>
                <a:gd name="connsiteX3707" fmla="*/ 6792774 w 8387961"/>
                <a:gd name="connsiteY3707" fmla="*/ 997465 h 3980066"/>
                <a:gd name="connsiteX3708" fmla="*/ 6791988 w 8387961"/>
                <a:gd name="connsiteY3708" fmla="*/ 999825 h 3980066"/>
                <a:gd name="connsiteX3709" fmla="*/ 6808710 w 8387961"/>
                <a:gd name="connsiteY3709" fmla="*/ 1026593 h 3980066"/>
                <a:gd name="connsiteX3710" fmla="*/ 6822949 w 8387961"/>
                <a:gd name="connsiteY3710" fmla="*/ 1051919 h 3980066"/>
                <a:gd name="connsiteX3711" fmla="*/ 6824513 w 8387961"/>
                <a:gd name="connsiteY3711" fmla="*/ 1050877 h 3980066"/>
                <a:gd name="connsiteX3712" fmla="*/ 6809451 w 8387961"/>
                <a:gd name="connsiteY3712" fmla="*/ 1024123 h 3980066"/>
                <a:gd name="connsiteX3713" fmla="*/ 5123149 w 8387961"/>
                <a:gd name="connsiteY3713" fmla="*/ 995221 h 3980066"/>
                <a:gd name="connsiteX3714" fmla="*/ 5146315 w 8387961"/>
                <a:gd name="connsiteY3714" fmla="*/ 1023333 h 3980066"/>
                <a:gd name="connsiteX3715" fmla="*/ 5147662 w 8387961"/>
                <a:gd name="connsiteY3715" fmla="*/ 1023417 h 3980066"/>
                <a:gd name="connsiteX3716" fmla="*/ 5125277 w 8387961"/>
                <a:gd name="connsiteY3716" fmla="*/ 996229 h 3980066"/>
                <a:gd name="connsiteX3717" fmla="*/ 4043775 w 8387961"/>
                <a:gd name="connsiteY3717" fmla="*/ 994638 h 3980066"/>
                <a:gd name="connsiteX3718" fmla="*/ 4043775 w 8387961"/>
                <a:gd name="connsiteY3718" fmla="*/ 994912 h 3980066"/>
                <a:gd name="connsiteX3719" fmla="*/ 4049967 w 8387961"/>
                <a:gd name="connsiteY3719" fmla="*/ 999676 h 3980066"/>
                <a:gd name="connsiteX3720" fmla="*/ 4049888 w 8387961"/>
                <a:gd name="connsiteY3720" fmla="*/ 999391 h 3980066"/>
                <a:gd name="connsiteX3721" fmla="*/ 4128334 w 8387961"/>
                <a:gd name="connsiteY3721" fmla="*/ 993867 h 3980066"/>
                <a:gd name="connsiteX3722" fmla="*/ 4128541 w 8387961"/>
                <a:gd name="connsiteY3722" fmla="*/ 994295 h 3980066"/>
                <a:gd name="connsiteX3723" fmla="*/ 4126902 w 8387961"/>
                <a:gd name="connsiteY3723" fmla="*/ 999391 h 3980066"/>
                <a:gd name="connsiteX3724" fmla="*/ 4121986 w 8387961"/>
                <a:gd name="connsiteY3724" fmla="*/ 1004488 h 3980066"/>
                <a:gd name="connsiteX3725" fmla="*/ 4121986 w 8387961"/>
                <a:gd name="connsiteY3725" fmla="*/ 1006186 h 3980066"/>
                <a:gd name="connsiteX3726" fmla="*/ 4126902 w 8387961"/>
                <a:gd name="connsiteY3726" fmla="*/ 1011283 h 3980066"/>
                <a:gd name="connsiteX3727" fmla="*/ 4129786 w 8387961"/>
                <a:gd name="connsiteY3727" fmla="*/ 1012777 h 3980066"/>
                <a:gd name="connsiteX3728" fmla="*/ 4125507 w 8387961"/>
                <a:gd name="connsiteY3728" fmla="*/ 1008495 h 3980066"/>
                <a:gd name="connsiteX3729" fmla="*/ 4125507 w 8387961"/>
                <a:gd name="connsiteY3729" fmla="*/ 1006870 h 3980066"/>
                <a:gd name="connsiteX3730" fmla="*/ 4130379 w 8387961"/>
                <a:gd name="connsiteY3730" fmla="*/ 1001994 h 3980066"/>
                <a:gd name="connsiteX3731" fmla="*/ 4132003 w 8387961"/>
                <a:gd name="connsiteY3731" fmla="*/ 997117 h 3980066"/>
                <a:gd name="connsiteX3732" fmla="*/ 4130379 w 8387961"/>
                <a:gd name="connsiteY3732" fmla="*/ 993867 h 3980066"/>
                <a:gd name="connsiteX3733" fmla="*/ 4110892 w 8387961"/>
                <a:gd name="connsiteY3733" fmla="*/ 984622 h 3980066"/>
                <a:gd name="connsiteX3734" fmla="*/ 4115432 w 8387961"/>
                <a:gd name="connsiteY3734" fmla="*/ 990897 h 3980066"/>
                <a:gd name="connsiteX3735" fmla="*/ 4116907 w 8387961"/>
                <a:gd name="connsiteY3735" fmla="*/ 990897 h 3980066"/>
                <a:gd name="connsiteX3736" fmla="*/ 4112319 w 8387961"/>
                <a:gd name="connsiteY3736" fmla="*/ 984622 h 3980066"/>
                <a:gd name="connsiteX3737" fmla="*/ 4128633 w 8387961"/>
                <a:gd name="connsiteY3737" fmla="*/ 983440 h 3980066"/>
                <a:gd name="connsiteX3738" fmla="*/ 4124022 w 8387961"/>
                <a:gd name="connsiteY3738" fmla="*/ 984622 h 3980066"/>
                <a:gd name="connsiteX3739" fmla="*/ 4122492 w 8387961"/>
                <a:gd name="connsiteY3739" fmla="*/ 990897 h 3980066"/>
                <a:gd name="connsiteX3740" fmla="*/ 4124625 w 8387961"/>
                <a:gd name="connsiteY3740" fmla="*/ 990897 h 3980066"/>
                <a:gd name="connsiteX3741" fmla="*/ 4125507 w 8387961"/>
                <a:gd name="connsiteY3741" fmla="*/ 987365 h 3980066"/>
                <a:gd name="connsiteX3742" fmla="*/ 4132003 w 8387961"/>
                <a:gd name="connsiteY3742" fmla="*/ 985740 h 3980066"/>
                <a:gd name="connsiteX3743" fmla="*/ 4132003 w 8387961"/>
                <a:gd name="connsiteY3743" fmla="*/ 984114 h 3980066"/>
                <a:gd name="connsiteX3744" fmla="*/ 4097273 w 8387961"/>
                <a:gd name="connsiteY3744" fmla="*/ 982907 h 3980066"/>
                <a:gd name="connsiteX3745" fmla="*/ 4097094 w 8387961"/>
                <a:gd name="connsiteY3745" fmla="*/ 983091 h 3980066"/>
                <a:gd name="connsiteX3746" fmla="*/ 4099046 w 8387961"/>
                <a:gd name="connsiteY3746" fmla="*/ 984102 h 3980066"/>
                <a:gd name="connsiteX3747" fmla="*/ 4099603 w 8387961"/>
                <a:gd name="connsiteY3747" fmla="*/ 984102 h 3980066"/>
                <a:gd name="connsiteX3748" fmla="*/ 5598294 w 8387961"/>
                <a:gd name="connsiteY3748" fmla="*/ 982855 h 3980066"/>
                <a:gd name="connsiteX3749" fmla="*/ 5569879 w 8387961"/>
                <a:gd name="connsiteY3749" fmla="*/ 994557 h 3980066"/>
                <a:gd name="connsiteX3750" fmla="*/ 5572114 w 8387961"/>
                <a:gd name="connsiteY3750" fmla="*/ 995451 h 3980066"/>
                <a:gd name="connsiteX3751" fmla="*/ 5598045 w 8387961"/>
                <a:gd name="connsiteY3751" fmla="*/ 984768 h 3980066"/>
                <a:gd name="connsiteX3752" fmla="*/ 5633161 w 8387961"/>
                <a:gd name="connsiteY3752" fmla="*/ 988114 h 3980066"/>
                <a:gd name="connsiteX3753" fmla="*/ 5631353 w 8387961"/>
                <a:gd name="connsiteY3753" fmla="*/ 986004 h 3980066"/>
                <a:gd name="connsiteX3754" fmla="*/ 4050462 w 8387961"/>
                <a:gd name="connsiteY3754" fmla="*/ 981192 h 3980066"/>
                <a:gd name="connsiteX3755" fmla="*/ 4050297 w 8387961"/>
                <a:gd name="connsiteY3755" fmla="*/ 981234 h 3980066"/>
                <a:gd name="connsiteX3756" fmla="*/ 4056443 w 8387961"/>
                <a:gd name="connsiteY3756" fmla="*/ 989199 h 3980066"/>
                <a:gd name="connsiteX3757" fmla="*/ 4056555 w 8387961"/>
                <a:gd name="connsiteY3757" fmla="*/ 989005 h 3980066"/>
                <a:gd name="connsiteX3758" fmla="*/ 7199365 w 8387961"/>
                <a:gd name="connsiteY3758" fmla="*/ 977692 h 3980066"/>
                <a:gd name="connsiteX3759" fmla="*/ 7194846 w 8387961"/>
                <a:gd name="connsiteY3759" fmla="*/ 982713 h 3980066"/>
                <a:gd name="connsiteX3760" fmla="*/ 7185807 w 8387961"/>
                <a:gd name="connsiteY3760" fmla="*/ 996104 h 3980066"/>
                <a:gd name="connsiteX3761" fmla="*/ 7176768 w 8387961"/>
                <a:gd name="connsiteY3761" fmla="*/ 1007821 h 3980066"/>
                <a:gd name="connsiteX3762" fmla="*/ 7181287 w 8387961"/>
                <a:gd name="connsiteY3762" fmla="*/ 986061 h 3980066"/>
                <a:gd name="connsiteX3763" fmla="*/ 1709123 w 8387961"/>
                <a:gd name="connsiteY3763" fmla="*/ 976780 h 3980066"/>
                <a:gd name="connsiteX3764" fmla="*/ 1702633 w 8387961"/>
                <a:gd name="connsiteY3764" fmla="*/ 1002795 h 3980066"/>
                <a:gd name="connsiteX3765" fmla="*/ 1699286 w 8387961"/>
                <a:gd name="connsiteY3765" fmla="*/ 1031316 h 3980066"/>
                <a:gd name="connsiteX3766" fmla="*/ 1687569 w 8387961"/>
                <a:gd name="connsiteY3766" fmla="*/ 1046416 h 3980066"/>
                <a:gd name="connsiteX3767" fmla="*/ 1657440 w 8387961"/>
                <a:gd name="connsiteY3767" fmla="*/ 1074937 h 3980066"/>
                <a:gd name="connsiteX3768" fmla="*/ 1657939 w 8387961"/>
                <a:gd name="connsiteY3768" fmla="*/ 1075812 h 3980066"/>
                <a:gd name="connsiteX3769" fmla="*/ 1687886 w 8387961"/>
                <a:gd name="connsiteY3769" fmla="*/ 1047475 h 3980066"/>
                <a:gd name="connsiteX3770" fmla="*/ 1699587 w 8387961"/>
                <a:gd name="connsiteY3770" fmla="*/ 1032404 h 3980066"/>
                <a:gd name="connsiteX3771" fmla="*/ 1702932 w 8387961"/>
                <a:gd name="connsiteY3771" fmla="*/ 1003937 h 3980066"/>
                <a:gd name="connsiteX3772" fmla="*/ 1709624 w 8387961"/>
                <a:gd name="connsiteY3772" fmla="*/ 977145 h 3980066"/>
                <a:gd name="connsiteX3773" fmla="*/ 7035161 w 8387961"/>
                <a:gd name="connsiteY3773" fmla="*/ 974679 h 3980066"/>
                <a:gd name="connsiteX3774" fmla="*/ 7075488 w 8387961"/>
                <a:gd name="connsiteY3774" fmla="*/ 994765 h 3980066"/>
                <a:gd name="connsiteX3775" fmla="*/ 7114134 w 8387961"/>
                <a:gd name="connsiteY3775" fmla="*/ 1014851 h 3980066"/>
                <a:gd name="connsiteX3776" fmla="*/ 7137658 w 8387961"/>
                <a:gd name="connsiteY3776" fmla="*/ 1021547 h 3980066"/>
                <a:gd name="connsiteX3777" fmla="*/ 7144379 w 8387961"/>
                <a:gd name="connsiteY3777" fmla="*/ 1011504 h 3980066"/>
                <a:gd name="connsiteX3778" fmla="*/ 7154461 w 8387961"/>
                <a:gd name="connsiteY3778" fmla="*/ 1033264 h 3980066"/>
                <a:gd name="connsiteX3779" fmla="*/ 7166223 w 8387961"/>
                <a:gd name="connsiteY3779" fmla="*/ 1041633 h 3980066"/>
                <a:gd name="connsiteX3780" fmla="*/ 7146060 w 8387961"/>
                <a:gd name="connsiteY3780" fmla="*/ 1051676 h 3980066"/>
                <a:gd name="connsiteX3781" fmla="*/ 7134298 w 8387961"/>
                <a:gd name="connsiteY3781" fmla="*/ 1071762 h 3980066"/>
                <a:gd name="connsiteX3782" fmla="*/ 7132617 w 8387961"/>
                <a:gd name="connsiteY3782" fmla="*/ 1076784 h 3980066"/>
                <a:gd name="connsiteX3783" fmla="*/ 7082209 w 8387961"/>
                <a:gd name="connsiteY3783" fmla="*/ 1063393 h 3980066"/>
                <a:gd name="connsiteX3784" fmla="*/ 7072127 w 8387961"/>
                <a:gd name="connsiteY3784" fmla="*/ 1066740 h 3980066"/>
                <a:gd name="connsiteX3785" fmla="*/ 7057005 w 8387961"/>
                <a:gd name="connsiteY3785" fmla="*/ 1066740 h 3980066"/>
                <a:gd name="connsiteX3786" fmla="*/ 7087250 w 8387961"/>
                <a:gd name="connsiteY3786" fmla="*/ 1086827 h 3980066"/>
                <a:gd name="connsiteX3787" fmla="*/ 7075488 w 8387961"/>
                <a:gd name="connsiteY3787" fmla="*/ 1088500 h 3980066"/>
                <a:gd name="connsiteX3788" fmla="*/ 7070447 w 8387961"/>
                <a:gd name="connsiteY3788" fmla="*/ 1095196 h 3980066"/>
                <a:gd name="connsiteX3789" fmla="*/ 7051964 w 8387961"/>
                <a:gd name="connsiteY3789" fmla="*/ 1073436 h 3980066"/>
                <a:gd name="connsiteX3790" fmla="*/ 7046923 w 8387961"/>
                <a:gd name="connsiteY3790" fmla="*/ 1056697 h 3980066"/>
                <a:gd name="connsiteX3791" fmla="*/ 7045243 w 8387961"/>
                <a:gd name="connsiteY3791" fmla="*/ 1044980 h 3980066"/>
                <a:gd name="connsiteX3792" fmla="*/ 7050284 w 8387961"/>
                <a:gd name="connsiteY3792" fmla="*/ 1041633 h 3980066"/>
                <a:gd name="connsiteX3793" fmla="*/ 7067086 w 8387961"/>
                <a:gd name="connsiteY3793" fmla="*/ 1041633 h 3980066"/>
                <a:gd name="connsiteX3794" fmla="*/ 7055324 w 8387961"/>
                <a:gd name="connsiteY3794" fmla="*/ 1016525 h 3980066"/>
                <a:gd name="connsiteX3795" fmla="*/ 7043562 w 8387961"/>
                <a:gd name="connsiteY3795" fmla="*/ 991417 h 3980066"/>
                <a:gd name="connsiteX3796" fmla="*/ 4121363 w 8387961"/>
                <a:gd name="connsiteY3796" fmla="*/ 974642 h 3980066"/>
                <a:gd name="connsiteX3797" fmla="*/ 4120678 w 8387961"/>
                <a:gd name="connsiteY3797" fmla="*/ 976047 h 3980066"/>
                <a:gd name="connsiteX3798" fmla="*/ 4122350 w 8387961"/>
                <a:gd name="connsiteY3798" fmla="*/ 979477 h 3980066"/>
                <a:gd name="connsiteX3799" fmla="*/ 4122381 w 8387961"/>
                <a:gd name="connsiteY3799" fmla="*/ 979483 h 3980066"/>
                <a:gd name="connsiteX3800" fmla="*/ 4122259 w 8387961"/>
                <a:gd name="connsiteY3800" fmla="*/ 979238 h 3980066"/>
                <a:gd name="connsiteX3801" fmla="*/ 4123883 w 8387961"/>
                <a:gd name="connsiteY3801" fmla="*/ 975987 h 3980066"/>
                <a:gd name="connsiteX3802" fmla="*/ 4122259 w 8387961"/>
                <a:gd name="connsiteY3802" fmla="*/ 975987 h 3980066"/>
                <a:gd name="connsiteX3803" fmla="*/ 4011376 w 8387961"/>
                <a:gd name="connsiteY3803" fmla="*/ 972449 h 3980066"/>
                <a:gd name="connsiteX3804" fmla="*/ 4010165 w 8387961"/>
                <a:gd name="connsiteY3804" fmla="*/ 974332 h 3980066"/>
                <a:gd name="connsiteX3805" fmla="*/ 4010339 w 8387961"/>
                <a:gd name="connsiteY3805" fmla="*/ 974332 h 3980066"/>
                <a:gd name="connsiteX3806" fmla="*/ 4011504 w 8387961"/>
                <a:gd name="connsiteY3806" fmla="*/ 972538 h 3980066"/>
                <a:gd name="connsiteX3807" fmla="*/ 4030400 w 8387961"/>
                <a:gd name="connsiteY3807" fmla="*/ 968056 h 3980066"/>
                <a:gd name="connsiteX3808" fmla="*/ 4028234 w 8387961"/>
                <a:gd name="connsiteY3808" fmla="*/ 968954 h 3980066"/>
                <a:gd name="connsiteX3809" fmla="*/ 4028234 w 8387961"/>
                <a:gd name="connsiteY3809" fmla="*/ 972449 h 3980066"/>
                <a:gd name="connsiteX3810" fmla="*/ 4028839 w 8387961"/>
                <a:gd name="connsiteY3810" fmla="*/ 974332 h 3980066"/>
                <a:gd name="connsiteX3811" fmla="*/ 4032072 w 8387961"/>
                <a:gd name="connsiteY3811" fmla="*/ 974332 h 3980066"/>
                <a:gd name="connsiteX3812" fmla="*/ 4030400 w 8387961"/>
                <a:gd name="connsiteY3812" fmla="*/ 969187 h 3980066"/>
                <a:gd name="connsiteX3813" fmla="*/ 5061762 w 8387961"/>
                <a:gd name="connsiteY3813" fmla="*/ 962793 h 3980066"/>
                <a:gd name="connsiteX3814" fmla="*/ 5061734 w 8387961"/>
                <a:gd name="connsiteY3814" fmla="*/ 962804 h 3980066"/>
                <a:gd name="connsiteX3815" fmla="*/ 5090792 w 8387961"/>
                <a:gd name="connsiteY3815" fmla="*/ 979616 h 3980066"/>
                <a:gd name="connsiteX3816" fmla="*/ 5090914 w 8387961"/>
                <a:gd name="connsiteY3816" fmla="*/ 979674 h 3980066"/>
                <a:gd name="connsiteX3817" fmla="*/ 4152813 w 8387961"/>
                <a:gd name="connsiteY3817" fmla="*/ 961349 h 3980066"/>
                <a:gd name="connsiteX3818" fmla="*/ 4182352 w 8387961"/>
                <a:gd name="connsiteY3818" fmla="*/ 993867 h 3980066"/>
                <a:gd name="connsiteX3819" fmla="*/ 4192097 w 8387961"/>
                <a:gd name="connsiteY3819" fmla="*/ 998743 h 3980066"/>
                <a:gd name="connsiteX3820" fmla="*/ 4200218 w 8387961"/>
                <a:gd name="connsiteY3820" fmla="*/ 1001994 h 3980066"/>
                <a:gd name="connsiteX3821" fmla="*/ 4208339 w 8387961"/>
                <a:gd name="connsiteY3821" fmla="*/ 1003619 h 3980066"/>
                <a:gd name="connsiteX3822" fmla="*/ 4209615 w 8387961"/>
                <a:gd name="connsiteY3822" fmla="*/ 1011284 h 3980066"/>
                <a:gd name="connsiteX3823" fmla="*/ 4209995 w 8387961"/>
                <a:gd name="connsiteY3823" fmla="*/ 1011758 h 3980066"/>
                <a:gd name="connsiteX3824" fmla="*/ 4208392 w 8387961"/>
                <a:gd name="connsiteY3824" fmla="*/ 1002266 h 3980066"/>
                <a:gd name="connsiteX3825" fmla="*/ 4199905 w 8387961"/>
                <a:gd name="connsiteY3825" fmla="*/ 1000590 h 3980066"/>
                <a:gd name="connsiteX3826" fmla="*/ 4191417 w 8387961"/>
                <a:gd name="connsiteY3826" fmla="*/ 997238 h 3980066"/>
                <a:gd name="connsiteX3827" fmla="*/ 4181231 w 8387961"/>
                <a:gd name="connsiteY3827" fmla="*/ 992210 h 3980066"/>
                <a:gd name="connsiteX3828" fmla="*/ 4148007 w 8387961"/>
                <a:gd name="connsiteY3828" fmla="*/ 956130 h 3980066"/>
                <a:gd name="connsiteX3829" fmla="*/ 4114935 w 8387961"/>
                <a:gd name="connsiteY3829" fmla="*/ 963779 h 3980066"/>
                <a:gd name="connsiteX3830" fmla="*/ 4116428 w 8387961"/>
                <a:gd name="connsiteY3830" fmla="*/ 966076 h 3980066"/>
                <a:gd name="connsiteX3831" fmla="*/ 4149836 w 8387961"/>
                <a:gd name="connsiteY3831" fmla="*/ 958116 h 3980066"/>
                <a:gd name="connsiteX3832" fmla="*/ 1692901 w 8387961"/>
                <a:gd name="connsiteY3832" fmla="*/ 955377 h 3980066"/>
                <a:gd name="connsiteX3833" fmla="*/ 1692321 w 8387961"/>
                <a:gd name="connsiteY3833" fmla="*/ 955493 h 3980066"/>
                <a:gd name="connsiteX3834" fmla="*/ 1690917 w 8387961"/>
                <a:gd name="connsiteY3834" fmla="*/ 962529 h 3980066"/>
                <a:gd name="connsiteX3835" fmla="*/ 1691402 w 8387961"/>
                <a:gd name="connsiteY3835" fmla="*/ 962883 h 3980066"/>
                <a:gd name="connsiteX3836" fmla="*/ 5812564 w 8387961"/>
                <a:gd name="connsiteY3836" fmla="*/ 954657 h 3980066"/>
                <a:gd name="connsiteX3837" fmla="*/ 5813758 w 8387961"/>
                <a:gd name="connsiteY3837" fmla="*/ 958001 h 3980066"/>
                <a:gd name="connsiteX3838" fmla="*/ 5823791 w 8387961"/>
                <a:gd name="connsiteY3838" fmla="*/ 983095 h 3980066"/>
                <a:gd name="connsiteX3839" fmla="*/ 5850546 w 8387961"/>
                <a:gd name="connsiteY3839" fmla="*/ 986441 h 3980066"/>
                <a:gd name="connsiteX3840" fmla="*/ 5878973 w 8387961"/>
                <a:gd name="connsiteY3840" fmla="*/ 993133 h 3980066"/>
                <a:gd name="connsiteX3841" fmla="*/ 5914089 w 8387961"/>
                <a:gd name="connsiteY3841" fmla="*/ 1003171 h 3980066"/>
                <a:gd name="connsiteX3842" fmla="*/ 5947533 w 8387961"/>
                <a:gd name="connsiteY3842" fmla="*/ 1013209 h 3980066"/>
                <a:gd name="connsiteX3843" fmla="*/ 5969271 w 8387961"/>
                <a:gd name="connsiteY3843" fmla="*/ 1036631 h 3980066"/>
                <a:gd name="connsiteX3844" fmla="*/ 5991010 w 8387961"/>
                <a:gd name="connsiteY3844" fmla="*/ 1058380 h 3980066"/>
                <a:gd name="connsiteX3845" fmla="*/ 6026126 w 8387961"/>
                <a:gd name="connsiteY3845" fmla="*/ 1060053 h 3980066"/>
                <a:gd name="connsiteX3846" fmla="*/ 6057897 w 8387961"/>
                <a:gd name="connsiteY3846" fmla="*/ 1063399 h 3980066"/>
                <a:gd name="connsiteX3847" fmla="*/ 6091341 w 8387961"/>
                <a:gd name="connsiteY3847" fmla="*/ 1065072 h 3980066"/>
                <a:gd name="connsiteX3848" fmla="*/ 6126457 w 8387961"/>
                <a:gd name="connsiteY3848" fmla="*/ 1066745 h 3980066"/>
                <a:gd name="connsiteX3849" fmla="*/ 6136490 w 8387961"/>
                <a:gd name="connsiteY3849" fmla="*/ 1075110 h 3980066"/>
                <a:gd name="connsiteX3850" fmla="*/ 6166589 w 8387961"/>
                <a:gd name="connsiteY3850" fmla="*/ 1080129 h 3980066"/>
                <a:gd name="connsiteX3851" fmla="*/ 6196689 w 8387961"/>
                <a:gd name="connsiteY3851" fmla="*/ 1086821 h 3980066"/>
                <a:gd name="connsiteX3852" fmla="*/ 6215083 w 8387961"/>
                <a:gd name="connsiteY3852" fmla="*/ 1095186 h 3980066"/>
                <a:gd name="connsiteX3853" fmla="*/ 6231805 w 8387961"/>
                <a:gd name="connsiteY3853" fmla="*/ 1083475 h 3980066"/>
                <a:gd name="connsiteX3854" fmla="*/ 6248527 w 8387961"/>
                <a:gd name="connsiteY3854" fmla="*/ 1073437 h 3980066"/>
                <a:gd name="connsiteX3855" fmla="*/ 6278626 w 8387961"/>
                <a:gd name="connsiteY3855" fmla="*/ 1070091 h 3980066"/>
                <a:gd name="connsiteX3856" fmla="*/ 6307053 w 8387961"/>
                <a:gd name="connsiteY3856" fmla="*/ 1068418 h 3980066"/>
                <a:gd name="connsiteX3857" fmla="*/ 6328792 w 8387961"/>
                <a:gd name="connsiteY3857" fmla="*/ 1048342 h 3980066"/>
                <a:gd name="connsiteX3858" fmla="*/ 6350530 w 8387961"/>
                <a:gd name="connsiteY3858" fmla="*/ 1029939 h 3980066"/>
                <a:gd name="connsiteX3859" fmla="*/ 6348385 w 8387961"/>
                <a:gd name="connsiteY3859" fmla="*/ 1028032 h 3980066"/>
                <a:gd name="connsiteX3860" fmla="*/ 6329133 w 8387961"/>
                <a:gd name="connsiteY3860" fmla="*/ 1044164 h 3980066"/>
                <a:gd name="connsiteX3861" fmla="*/ 6307326 w 8387961"/>
                <a:gd name="connsiteY3861" fmla="*/ 1064098 h 3980066"/>
                <a:gd name="connsiteX3862" fmla="*/ 6278810 w 8387961"/>
                <a:gd name="connsiteY3862" fmla="*/ 1065759 h 3980066"/>
                <a:gd name="connsiteX3863" fmla="*/ 6248616 w 8387961"/>
                <a:gd name="connsiteY3863" fmla="*/ 1069082 h 3980066"/>
                <a:gd name="connsiteX3864" fmla="*/ 6231842 w 8387961"/>
                <a:gd name="connsiteY3864" fmla="*/ 1079049 h 3980066"/>
                <a:gd name="connsiteX3865" fmla="*/ 6215067 w 8387961"/>
                <a:gd name="connsiteY3865" fmla="*/ 1090677 h 3980066"/>
                <a:gd name="connsiteX3866" fmla="*/ 6196616 w 8387961"/>
                <a:gd name="connsiteY3866" fmla="*/ 1082371 h 3980066"/>
                <a:gd name="connsiteX3867" fmla="*/ 6166422 w 8387961"/>
                <a:gd name="connsiteY3867" fmla="*/ 1075726 h 3980066"/>
                <a:gd name="connsiteX3868" fmla="*/ 6136228 w 8387961"/>
                <a:gd name="connsiteY3868" fmla="*/ 1070743 h 3980066"/>
                <a:gd name="connsiteX3869" fmla="*/ 6126164 w 8387961"/>
                <a:gd name="connsiteY3869" fmla="*/ 1062437 h 3980066"/>
                <a:gd name="connsiteX3870" fmla="*/ 6090938 w 8387961"/>
                <a:gd name="connsiteY3870" fmla="*/ 1060776 h 3980066"/>
                <a:gd name="connsiteX3871" fmla="*/ 6057389 w 8387961"/>
                <a:gd name="connsiteY3871" fmla="*/ 1059114 h 3980066"/>
                <a:gd name="connsiteX3872" fmla="*/ 6025518 w 8387961"/>
                <a:gd name="connsiteY3872" fmla="*/ 1055792 h 3980066"/>
                <a:gd name="connsiteX3873" fmla="*/ 5990292 w 8387961"/>
                <a:gd name="connsiteY3873" fmla="*/ 1054131 h 3980066"/>
                <a:gd name="connsiteX3874" fmla="*/ 5968485 w 8387961"/>
                <a:gd name="connsiteY3874" fmla="*/ 1032536 h 3980066"/>
                <a:gd name="connsiteX3875" fmla="*/ 5946679 w 8387961"/>
                <a:gd name="connsiteY3875" fmla="*/ 1009279 h 3980066"/>
                <a:gd name="connsiteX3876" fmla="*/ 5913130 w 8387961"/>
                <a:gd name="connsiteY3876" fmla="*/ 999312 h 3980066"/>
                <a:gd name="connsiteX3877" fmla="*/ 5877904 w 8387961"/>
                <a:gd name="connsiteY3877" fmla="*/ 989345 h 3980066"/>
                <a:gd name="connsiteX3878" fmla="*/ 5849388 w 8387961"/>
                <a:gd name="connsiteY3878" fmla="*/ 982700 h 3980066"/>
                <a:gd name="connsiteX3879" fmla="*/ 5822549 w 8387961"/>
                <a:gd name="connsiteY3879" fmla="*/ 979378 h 3980066"/>
                <a:gd name="connsiteX3880" fmla="*/ 4037795 w 8387961"/>
                <a:gd name="connsiteY3880" fmla="*/ 952497 h 3980066"/>
                <a:gd name="connsiteX3881" fmla="*/ 4034977 w 8387961"/>
                <a:gd name="connsiteY3881" fmla="*/ 953227 h 3980066"/>
                <a:gd name="connsiteX3882" fmla="*/ 4036663 w 8387961"/>
                <a:gd name="connsiteY3882" fmla="*/ 958470 h 3980066"/>
                <a:gd name="connsiteX3883" fmla="*/ 4036663 w 8387961"/>
                <a:gd name="connsiteY3883" fmla="*/ 961965 h 3980066"/>
                <a:gd name="connsiteX3884" fmla="*/ 4037508 w 8387961"/>
                <a:gd name="connsiteY3884" fmla="*/ 962840 h 3980066"/>
                <a:gd name="connsiteX3885" fmla="*/ 4038759 w 8387961"/>
                <a:gd name="connsiteY3885" fmla="*/ 962326 h 3980066"/>
                <a:gd name="connsiteX3886" fmla="*/ 4042103 w 8387961"/>
                <a:gd name="connsiteY3886" fmla="*/ 962326 h 3980066"/>
                <a:gd name="connsiteX3887" fmla="*/ 4038759 w 8387961"/>
                <a:gd name="connsiteY3887" fmla="*/ 958896 h 3980066"/>
                <a:gd name="connsiteX3888" fmla="*/ 4038759 w 8387961"/>
                <a:gd name="connsiteY3888" fmla="*/ 955466 h 3980066"/>
                <a:gd name="connsiteX3889" fmla="*/ 7048513 w 8387961"/>
                <a:gd name="connsiteY3889" fmla="*/ 947496 h 3980066"/>
                <a:gd name="connsiteX3890" fmla="*/ 7049260 w 8387961"/>
                <a:gd name="connsiteY3890" fmla="*/ 947839 h 3980066"/>
                <a:gd name="connsiteX3891" fmla="*/ 7059265 w 8387961"/>
                <a:gd name="connsiteY3891" fmla="*/ 961121 h 3980066"/>
                <a:gd name="connsiteX3892" fmla="*/ 1682711 w 8387961"/>
                <a:gd name="connsiteY3892" fmla="*/ 945218 h 3980066"/>
                <a:gd name="connsiteX3893" fmla="*/ 1684222 w 8387961"/>
                <a:gd name="connsiteY3893" fmla="*/ 955818 h 3980066"/>
                <a:gd name="connsiteX3894" fmla="*/ 1684370 w 8387961"/>
                <a:gd name="connsiteY3894" fmla="*/ 955789 h 3980066"/>
                <a:gd name="connsiteX3895" fmla="*/ 1682877 w 8387961"/>
                <a:gd name="connsiteY3895" fmla="*/ 945329 h 3980066"/>
                <a:gd name="connsiteX3896" fmla="*/ 6446553 w 8387961"/>
                <a:gd name="connsiteY3896" fmla="*/ 941171 h 3980066"/>
                <a:gd name="connsiteX3897" fmla="*/ 6418036 w 8387961"/>
                <a:gd name="connsiteY3897" fmla="*/ 954460 h 3980066"/>
                <a:gd name="connsiteX3898" fmla="*/ 6413004 w 8387961"/>
                <a:gd name="connsiteY3898" fmla="*/ 974394 h 3980066"/>
                <a:gd name="connsiteX3899" fmla="*/ 6389520 w 8387961"/>
                <a:gd name="connsiteY3899" fmla="*/ 981039 h 3980066"/>
                <a:gd name="connsiteX3900" fmla="*/ 6367713 w 8387961"/>
                <a:gd name="connsiteY3900" fmla="*/ 994329 h 3980066"/>
                <a:gd name="connsiteX3901" fmla="*/ 6330810 w 8387961"/>
                <a:gd name="connsiteY3901" fmla="*/ 984361 h 3980066"/>
                <a:gd name="connsiteX3902" fmla="*/ 6331530 w 8387961"/>
                <a:gd name="connsiteY3902" fmla="*/ 988405 h 3980066"/>
                <a:gd name="connsiteX3903" fmla="*/ 6367252 w 8387961"/>
                <a:gd name="connsiteY3903" fmla="*/ 998152 h 3980066"/>
                <a:gd name="connsiteX3904" fmla="*/ 6388990 w 8387961"/>
                <a:gd name="connsiteY3904" fmla="*/ 984768 h 3980066"/>
                <a:gd name="connsiteX3905" fmla="*/ 6412401 w 8387961"/>
                <a:gd name="connsiteY3905" fmla="*/ 978076 h 3980066"/>
                <a:gd name="connsiteX3906" fmla="*/ 6417418 w 8387961"/>
                <a:gd name="connsiteY3906" fmla="*/ 958001 h 3980066"/>
                <a:gd name="connsiteX3907" fmla="*/ 6445845 w 8387961"/>
                <a:gd name="connsiteY3907" fmla="*/ 944617 h 3980066"/>
                <a:gd name="connsiteX3908" fmla="*/ 6485978 w 8387961"/>
                <a:gd name="connsiteY3908" fmla="*/ 944617 h 3980066"/>
                <a:gd name="connsiteX3909" fmla="*/ 6484447 w 8387961"/>
                <a:gd name="connsiteY3909" fmla="*/ 941171 h 3980066"/>
                <a:gd name="connsiteX3910" fmla="*/ 4052108 w 8387961"/>
                <a:gd name="connsiteY3910" fmla="*/ 939767 h 3980066"/>
                <a:gd name="connsiteX3911" fmla="*/ 4056131 w 8387961"/>
                <a:gd name="connsiteY3911" fmla="*/ 942269 h 3980066"/>
                <a:gd name="connsiteX3912" fmla="*/ 4056274 w 8387961"/>
                <a:gd name="connsiteY3912" fmla="*/ 942195 h 3980066"/>
                <a:gd name="connsiteX3913" fmla="*/ 3915719 w 8387961"/>
                <a:gd name="connsiteY3913" fmla="*/ 934897 h 3980066"/>
                <a:gd name="connsiteX3914" fmla="*/ 3910086 w 8387961"/>
                <a:gd name="connsiteY3914" fmla="*/ 940634 h 3980066"/>
                <a:gd name="connsiteX3915" fmla="*/ 3906732 w 8387961"/>
                <a:gd name="connsiteY3915" fmla="*/ 949171 h 3980066"/>
                <a:gd name="connsiteX3916" fmla="*/ 3888290 w 8387961"/>
                <a:gd name="connsiteY3916" fmla="*/ 949171 h 3980066"/>
                <a:gd name="connsiteX3917" fmla="*/ 3879996 w 8387961"/>
                <a:gd name="connsiteY3917" fmla="*/ 960996 h 3980066"/>
                <a:gd name="connsiteX3918" fmla="*/ 3880435 w 8387961"/>
                <a:gd name="connsiteY3918" fmla="*/ 961308 h 3980066"/>
                <a:gd name="connsiteX3919" fmla="*/ 3888712 w 8387961"/>
                <a:gd name="connsiteY3919" fmla="*/ 949519 h 3980066"/>
                <a:gd name="connsiteX3920" fmla="*/ 3906921 w 8387961"/>
                <a:gd name="connsiteY3920" fmla="*/ 949519 h 3980066"/>
                <a:gd name="connsiteX3921" fmla="*/ 3910231 w 8387961"/>
                <a:gd name="connsiteY3921" fmla="*/ 941097 h 3980066"/>
                <a:gd name="connsiteX3922" fmla="*/ 3916172 w 8387961"/>
                <a:gd name="connsiteY3922" fmla="*/ 935053 h 3980066"/>
                <a:gd name="connsiteX3923" fmla="*/ 2075561 w 8387961"/>
                <a:gd name="connsiteY3923" fmla="*/ 926867 h 3980066"/>
                <a:gd name="connsiteX3924" fmla="*/ 2065858 w 8387961"/>
                <a:gd name="connsiteY3924" fmla="*/ 962529 h 3980066"/>
                <a:gd name="connsiteX3925" fmla="*/ 2065936 w 8387961"/>
                <a:gd name="connsiteY3925" fmla="*/ 962767 h 3980066"/>
                <a:gd name="connsiteX3926" fmla="*/ 2075690 w 8387961"/>
                <a:gd name="connsiteY3926" fmla="*/ 926910 h 3980066"/>
                <a:gd name="connsiteX3927" fmla="*/ 5616679 w 8387961"/>
                <a:gd name="connsiteY3927" fmla="*/ 924342 h 3980066"/>
                <a:gd name="connsiteX3928" fmla="*/ 5616926 w 8387961"/>
                <a:gd name="connsiteY3928" fmla="*/ 926320 h 3980066"/>
                <a:gd name="connsiteX3929" fmla="*/ 5654900 w 8387961"/>
                <a:gd name="connsiteY3929" fmla="*/ 934579 h 3980066"/>
                <a:gd name="connsiteX3930" fmla="*/ 5676638 w 8387961"/>
                <a:gd name="connsiteY3930" fmla="*/ 929560 h 3980066"/>
                <a:gd name="connsiteX3931" fmla="*/ 5675987 w 8387961"/>
                <a:gd name="connsiteY3931" fmla="*/ 927885 h 3980066"/>
                <a:gd name="connsiteX3932" fmla="*/ 5655122 w 8387961"/>
                <a:gd name="connsiteY3932" fmla="*/ 932701 h 3980066"/>
                <a:gd name="connsiteX3933" fmla="*/ 3892716 w 8387961"/>
                <a:gd name="connsiteY3933" fmla="*/ 915780 h 3980066"/>
                <a:gd name="connsiteX3934" fmla="*/ 3891644 w 8387961"/>
                <a:gd name="connsiteY3934" fmla="*/ 920146 h 3980066"/>
                <a:gd name="connsiteX3935" fmla="*/ 3891644 w 8387961"/>
                <a:gd name="connsiteY3935" fmla="*/ 923561 h 3980066"/>
                <a:gd name="connsiteX3936" fmla="*/ 3891644 w 8387961"/>
                <a:gd name="connsiteY3936" fmla="*/ 925268 h 3980066"/>
                <a:gd name="connsiteX3937" fmla="*/ 3892688 w 8387961"/>
                <a:gd name="connsiteY3937" fmla="*/ 925268 h 3980066"/>
                <a:gd name="connsiteX3938" fmla="*/ 3892688 w 8387961"/>
                <a:gd name="connsiteY3938" fmla="*/ 923530 h 3980066"/>
                <a:gd name="connsiteX3939" fmla="*/ 3892688 w 8387961"/>
                <a:gd name="connsiteY3939" fmla="*/ 920447 h 3980066"/>
                <a:gd name="connsiteX3940" fmla="*/ 3893153 w 8387961"/>
                <a:gd name="connsiteY3940" fmla="*/ 921609 h 3980066"/>
                <a:gd name="connsiteX3941" fmla="*/ 3894349 w 8387961"/>
                <a:gd name="connsiteY3941" fmla="*/ 916664 h 3980066"/>
                <a:gd name="connsiteX3942" fmla="*/ 3897551 w 8387961"/>
                <a:gd name="connsiteY3942" fmla="*/ 916995 h 3980066"/>
                <a:gd name="connsiteX3943" fmla="*/ 6367042 w 8387961"/>
                <a:gd name="connsiteY3943" fmla="*/ 893163 h 3980066"/>
                <a:gd name="connsiteX3944" fmla="*/ 6361004 w 8387961"/>
                <a:gd name="connsiteY3944" fmla="*/ 894658 h 3980066"/>
                <a:gd name="connsiteX3945" fmla="*/ 6364634 w 8387961"/>
                <a:gd name="connsiteY3945" fmla="*/ 896755 h 3980066"/>
                <a:gd name="connsiteX3946" fmla="*/ 6367252 w 8387961"/>
                <a:gd name="connsiteY3946" fmla="*/ 896100 h 3980066"/>
                <a:gd name="connsiteX3947" fmla="*/ 4317499 w 8387961"/>
                <a:gd name="connsiteY3947" fmla="*/ 881173 h 3980066"/>
                <a:gd name="connsiteX3948" fmla="*/ 4319151 w 8387961"/>
                <a:gd name="connsiteY3948" fmla="*/ 882772 h 3980066"/>
                <a:gd name="connsiteX3949" fmla="*/ 4317604 w 8387961"/>
                <a:gd name="connsiteY3949" fmla="*/ 881215 h 3980066"/>
                <a:gd name="connsiteX3950" fmla="*/ 3988121 w 8387961"/>
                <a:gd name="connsiteY3950" fmla="*/ 880331 h 3980066"/>
                <a:gd name="connsiteX3951" fmla="*/ 3970170 w 8387961"/>
                <a:gd name="connsiteY3951" fmla="*/ 895090 h 3980066"/>
                <a:gd name="connsiteX3952" fmla="*/ 3975217 w 8387961"/>
                <a:gd name="connsiteY3952" fmla="*/ 910304 h 3980066"/>
                <a:gd name="connsiteX3953" fmla="*/ 3966806 w 8387961"/>
                <a:gd name="connsiteY3953" fmla="*/ 913685 h 3980066"/>
                <a:gd name="connsiteX3954" fmla="*/ 3938208 w 8387961"/>
                <a:gd name="connsiteY3954" fmla="*/ 913685 h 3980066"/>
                <a:gd name="connsiteX3955" fmla="*/ 3918022 w 8387961"/>
                <a:gd name="connsiteY3955" fmla="*/ 913685 h 3980066"/>
                <a:gd name="connsiteX3956" fmla="*/ 3912139 w 8387961"/>
                <a:gd name="connsiteY3956" fmla="*/ 919596 h 3980066"/>
                <a:gd name="connsiteX3957" fmla="*/ 3914285 w 8387961"/>
                <a:gd name="connsiteY3957" fmla="*/ 921814 h 3980066"/>
                <a:gd name="connsiteX3958" fmla="*/ 3920930 w 8387961"/>
                <a:gd name="connsiteY3958" fmla="*/ 914947 h 3980066"/>
                <a:gd name="connsiteX3959" fmla="*/ 3940866 w 8387961"/>
                <a:gd name="connsiteY3959" fmla="*/ 914947 h 3980066"/>
                <a:gd name="connsiteX3960" fmla="*/ 3969109 w 8387961"/>
                <a:gd name="connsiteY3960" fmla="*/ 914947 h 3980066"/>
                <a:gd name="connsiteX3961" fmla="*/ 3977415 w 8387961"/>
                <a:gd name="connsiteY3961" fmla="*/ 911514 h 3980066"/>
                <a:gd name="connsiteX3962" fmla="*/ 3972431 w 8387961"/>
                <a:gd name="connsiteY3962" fmla="*/ 896064 h 3980066"/>
                <a:gd name="connsiteX3963" fmla="*/ 3989451 w 8387961"/>
                <a:gd name="connsiteY3963" fmla="*/ 881675 h 3980066"/>
                <a:gd name="connsiteX3964" fmla="*/ 5706063 w 8387961"/>
                <a:gd name="connsiteY3964" fmla="*/ 872326 h 3980066"/>
                <a:gd name="connsiteX3965" fmla="*/ 5706738 w 8387961"/>
                <a:gd name="connsiteY3965" fmla="*/ 874351 h 3980066"/>
                <a:gd name="connsiteX3966" fmla="*/ 5716771 w 8387961"/>
                <a:gd name="connsiteY3966" fmla="*/ 884389 h 3980066"/>
                <a:gd name="connsiteX3967" fmla="*/ 5750215 w 8387961"/>
                <a:gd name="connsiteY3967" fmla="*/ 906138 h 3980066"/>
                <a:gd name="connsiteX3968" fmla="*/ 5768609 w 8387961"/>
                <a:gd name="connsiteY3968" fmla="*/ 909484 h 3980066"/>
                <a:gd name="connsiteX3969" fmla="*/ 5805287 w 8387961"/>
                <a:gd name="connsiteY3969" fmla="*/ 934504 h 3980066"/>
                <a:gd name="connsiteX3970" fmla="*/ 5804097 w 8387961"/>
                <a:gd name="connsiteY3970" fmla="*/ 931204 h 3980066"/>
                <a:gd name="connsiteX3971" fmla="*/ 5767194 w 8387961"/>
                <a:gd name="connsiteY3971" fmla="*/ 906286 h 3980066"/>
                <a:gd name="connsiteX3972" fmla="*/ 5748742 w 8387961"/>
                <a:gd name="connsiteY3972" fmla="*/ 902964 h 3980066"/>
                <a:gd name="connsiteX3973" fmla="*/ 5715194 w 8387961"/>
                <a:gd name="connsiteY3973" fmla="*/ 881368 h 3980066"/>
                <a:gd name="connsiteX3974" fmla="*/ 1472261 w 8387961"/>
                <a:gd name="connsiteY3974" fmla="*/ 861604 h 3980066"/>
                <a:gd name="connsiteX3975" fmla="*/ 1471390 w 8387961"/>
                <a:gd name="connsiteY3975" fmla="*/ 862476 h 3980066"/>
                <a:gd name="connsiteX3976" fmla="*/ 1469970 w 8387961"/>
                <a:gd name="connsiteY3976" fmla="*/ 875287 h 3980066"/>
                <a:gd name="connsiteX3977" fmla="*/ 1470721 w 8387961"/>
                <a:gd name="connsiteY3977" fmla="*/ 875476 h 3980066"/>
                <a:gd name="connsiteX3978" fmla="*/ 3777896 w 8387961"/>
                <a:gd name="connsiteY3978" fmla="*/ 841431 h 3980066"/>
                <a:gd name="connsiteX3979" fmla="*/ 3777697 w 8387961"/>
                <a:gd name="connsiteY3979" fmla="*/ 841464 h 3980066"/>
                <a:gd name="connsiteX3980" fmla="*/ 3778214 w 8387961"/>
                <a:gd name="connsiteY3980" fmla="*/ 842510 h 3980066"/>
                <a:gd name="connsiteX3981" fmla="*/ 3778509 w 8387961"/>
                <a:gd name="connsiteY3981" fmla="*/ 842659 h 3980066"/>
                <a:gd name="connsiteX3982" fmla="*/ 6411960 w 8387961"/>
                <a:gd name="connsiteY3982" fmla="*/ 836111 h 3980066"/>
                <a:gd name="connsiteX3983" fmla="*/ 6396077 w 8387961"/>
                <a:gd name="connsiteY3983" fmla="*/ 853567 h 3980066"/>
                <a:gd name="connsiteX3984" fmla="*/ 6361096 w 8387961"/>
                <a:gd name="connsiteY3984" fmla="*/ 846910 h 3980066"/>
                <a:gd name="connsiteX3985" fmla="*/ 6361648 w 8387961"/>
                <a:gd name="connsiteY3985" fmla="*/ 849463 h 3980066"/>
                <a:gd name="connsiteX3986" fmla="*/ 6395679 w 8387961"/>
                <a:gd name="connsiteY3986" fmla="*/ 855948 h 3980066"/>
                <a:gd name="connsiteX3987" fmla="*/ 6412401 w 8387961"/>
                <a:gd name="connsiteY3987" fmla="*/ 837545 h 3980066"/>
                <a:gd name="connsiteX3988" fmla="*/ 4507237 w 8387961"/>
                <a:gd name="connsiteY3988" fmla="*/ 831517 h 3980066"/>
                <a:gd name="connsiteX3989" fmla="*/ 4512149 w 8387961"/>
                <a:gd name="connsiteY3989" fmla="*/ 835636 h 3980066"/>
                <a:gd name="connsiteX3990" fmla="*/ 4528920 w 8387961"/>
                <a:gd name="connsiteY3990" fmla="*/ 833948 h 3980066"/>
                <a:gd name="connsiteX3991" fmla="*/ 4562462 w 8387961"/>
                <a:gd name="connsiteY3991" fmla="*/ 844077 h 3980066"/>
                <a:gd name="connsiteX3992" fmla="*/ 4598816 w 8387961"/>
                <a:gd name="connsiteY3992" fmla="*/ 855720 h 3980066"/>
                <a:gd name="connsiteX3993" fmla="*/ 4598656 w 8387961"/>
                <a:gd name="connsiteY3993" fmla="*/ 855239 h 3980066"/>
                <a:gd name="connsiteX3994" fmla="*/ 4561837 w 8387961"/>
                <a:gd name="connsiteY3994" fmla="*/ 843535 h 3980066"/>
                <a:gd name="connsiteX3995" fmla="*/ 4528366 w 8387961"/>
                <a:gd name="connsiteY3995" fmla="*/ 833502 h 3980066"/>
                <a:gd name="connsiteX3996" fmla="*/ 4511630 w 8387961"/>
                <a:gd name="connsiteY3996" fmla="*/ 835174 h 3980066"/>
                <a:gd name="connsiteX3997" fmla="*/ 5829412 w 8387961"/>
                <a:gd name="connsiteY3997" fmla="*/ 825070 h 3980066"/>
                <a:gd name="connsiteX3998" fmla="*/ 5837646 w 8387961"/>
                <a:gd name="connsiteY3998" fmla="*/ 834855 h 3980066"/>
                <a:gd name="connsiteX3999" fmla="*/ 5838663 w 8387961"/>
                <a:gd name="connsiteY3999" fmla="*/ 835038 h 3980066"/>
                <a:gd name="connsiteX4000" fmla="*/ 5830408 w 8387961"/>
                <a:gd name="connsiteY4000" fmla="*/ 825141 h 3980066"/>
                <a:gd name="connsiteX4001" fmla="*/ 7243052 w 8387961"/>
                <a:gd name="connsiteY4001" fmla="*/ 824033 h 3980066"/>
                <a:gd name="connsiteX4002" fmla="*/ 7250584 w 8387961"/>
                <a:gd name="connsiteY4002" fmla="*/ 825539 h 3980066"/>
                <a:gd name="connsiteX4003" fmla="*/ 7244558 w 8387961"/>
                <a:gd name="connsiteY4003" fmla="*/ 840604 h 3980066"/>
                <a:gd name="connsiteX4004" fmla="*/ 3799986 w 8387961"/>
                <a:gd name="connsiteY4004" fmla="*/ 813305 h 3980066"/>
                <a:gd name="connsiteX4005" fmla="*/ 3800613 w 8387961"/>
                <a:gd name="connsiteY4005" fmla="*/ 815189 h 3980066"/>
                <a:gd name="connsiteX4006" fmla="*/ 3805402 w 8387961"/>
                <a:gd name="connsiteY4006" fmla="*/ 819024 h 3980066"/>
                <a:gd name="connsiteX4007" fmla="*/ 3805490 w 8387961"/>
                <a:gd name="connsiteY4007" fmla="*/ 817345 h 3980066"/>
                <a:gd name="connsiteX4008" fmla="*/ 4762666 w 8387961"/>
                <a:gd name="connsiteY4008" fmla="*/ 810092 h 3980066"/>
                <a:gd name="connsiteX4009" fmla="*/ 4759319 w 8387961"/>
                <a:gd name="connsiteY4009" fmla="*/ 841862 h 3980066"/>
                <a:gd name="connsiteX4010" fmla="*/ 4754298 w 8387961"/>
                <a:gd name="connsiteY4010" fmla="*/ 873633 h 3980066"/>
                <a:gd name="connsiteX4011" fmla="*/ 4782749 w 8387961"/>
                <a:gd name="connsiteY4011" fmla="*/ 895370 h 3980066"/>
                <a:gd name="connsiteX4012" fmla="*/ 4811200 w 8387961"/>
                <a:gd name="connsiteY4012" fmla="*/ 917108 h 3980066"/>
                <a:gd name="connsiteX4013" fmla="*/ 4829609 w 8387961"/>
                <a:gd name="connsiteY4013" fmla="*/ 945534 h 3980066"/>
                <a:gd name="connsiteX4014" fmla="*/ 4832956 w 8387961"/>
                <a:gd name="connsiteY4014" fmla="*/ 952222 h 3980066"/>
                <a:gd name="connsiteX4015" fmla="*/ 4821241 w 8387961"/>
                <a:gd name="connsiteY4015" fmla="*/ 960583 h 3980066"/>
                <a:gd name="connsiteX4016" fmla="*/ 4794464 w 8387961"/>
                <a:gd name="connsiteY4016" fmla="*/ 970616 h 3980066"/>
                <a:gd name="connsiteX4017" fmla="*/ 4782749 w 8387961"/>
                <a:gd name="connsiteY4017" fmla="*/ 1000714 h 3980066"/>
                <a:gd name="connsiteX4018" fmla="*/ 4791117 w 8387961"/>
                <a:gd name="connsiteY4018" fmla="*/ 1007402 h 3980066"/>
                <a:gd name="connsiteX4019" fmla="*/ 4804506 w 8387961"/>
                <a:gd name="connsiteY4019" fmla="*/ 1030812 h 3980066"/>
                <a:gd name="connsiteX4020" fmla="*/ 4806179 w 8387961"/>
                <a:gd name="connsiteY4020" fmla="*/ 1022451 h 3980066"/>
                <a:gd name="connsiteX4021" fmla="*/ 4809526 w 8387961"/>
                <a:gd name="connsiteY4021" fmla="*/ 1042517 h 3980066"/>
                <a:gd name="connsiteX4022" fmla="*/ 4831283 w 8387961"/>
                <a:gd name="connsiteY4022" fmla="*/ 1064254 h 3980066"/>
                <a:gd name="connsiteX4023" fmla="*/ 4851366 w 8387961"/>
                <a:gd name="connsiteY4023" fmla="*/ 1087664 h 3980066"/>
                <a:gd name="connsiteX4024" fmla="*/ 4811200 w 8387961"/>
                <a:gd name="connsiteY4024" fmla="*/ 1080975 h 3980066"/>
                <a:gd name="connsiteX4025" fmla="*/ 4774381 w 8387961"/>
                <a:gd name="connsiteY4025" fmla="*/ 1065926 h 3980066"/>
                <a:gd name="connsiteX4026" fmla="*/ 4739236 w 8387961"/>
                <a:gd name="connsiteY4026" fmla="*/ 1052549 h 3980066"/>
                <a:gd name="connsiteX4027" fmla="*/ 4702417 w 8387961"/>
                <a:gd name="connsiteY4027" fmla="*/ 1037500 h 3980066"/>
                <a:gd name="connsiteX4028" fmla="*/ 4686147 w 8387961"/>
                <a:gd name="connsiteY4028" fmla="*/ 1030850 h 3980066"/>
                <a:gd name="connsiteX4029" fmla="*/ 4701594 w 8387961"/>
                <a:gd name="connsiteY4029" fmla="*/ 1037295 h 3980066"/>
                <a:gd name="connsiteX4030" fmla="*/ 4738326 w 8387961"/>
                <a:gd name="connsiteY4030" fmla="*/ 1052622 h 3980066"/>
                <a:gd name="connsiteX4031" fmla="*/ 4773389 w 8387961"/>
                <a:gd name="connsiteY4031" fmla="*/ 1066246 h 3980066"/>
                <a:gd name="connsiteX4032" fmla="*/ 4810122 w 8387961"/>
                <a:gd name="connsiteY4032" fmla="*/ 1081572 h 3980066"/>
                <a:gd name="connsiteX4033" fmla="*/ 4810060 w 8387961"/>
                <a:gd name="connsiteY4033" fmla="*/ 1081674 h 3980066"/>
                <a:gd name="connsiteX4034" fmla="*/ 4850898 w 8387961"/>
                <a:gd name="connsiteY4034" fmla="*/ 1088344 h 3980066"/>
                <a:gd name="connsiteX4035" fmla="*/ 4864583 w 8387961"/>
                <a:gd name="connsiteY4035" fmla="*/ 1106786 h 3980066"/>
                <a:gd name="connsiteX4036" fmla="*/ 4900509 w 8387961"/>
                <a:gd name="connsiteY4036" fmla="*/ 1126905 h 3980066"/>
                <a:gd name="connsiteX4037" fmla="*/ 4883401 w 8387961"/>
                <a:gd name="connsiteY4037" fmla="*/ 1131934 h 3980066"/>
                <a:gd name="connsiteX4038" fmla="*/ 4874848 w 8387961"/>
                <a:gd name="connsiteY4038" fmla="*/ 1165465 h 3980066"/>
                <a:gd name="connsiteX4039" fmla="*/ 4873143 w 8387961"/>
                <a:gd name="connsiteY4039" fmla="*/ 1185518 h 3980066"/>
                <a:gd name="connsiteX4040" fmla="*/ 4874141 w 8387961"/>
                <a:gd name="connsiteY4040" fmla="*/ 1186288 h 3980066"/>
                <a:gd name="connsiteX4041" fmla="*/ 4887465 w 8387961"/>
                <a:gd name="connsiteY4041" fmla="*/ 1212977 h 3980066"/>
                <a:gd name="connsiteX4042" fmla="*/ 4915779 w 8387961"/>
                <a:gd name="connsiteY4042" fmla="*/ 1224653 h 3980066"/>
                <a:gd name="connsiteX4043" fmla="*/ 4940762 w 8387961"/>
                <a:gd name="connsiteY4043" fmla="*/ 1232994 h 3980066"/>
                <a:gd name="connsiteX4044" fmla="*/ 4964079 w 8387961"/>
                <a:gd name="connsiteY4044" fmla="*/ 1239666 h 3980066"/>
                <a:gd name="connsiteX4045" fmla="*/ 4985731 w 8387961"/>
                <a:gd name="connsiteY4045" fmla="*/ 1236330 h 3980066"/>
                <a:gd name="connsiteX4046" fmla="*/ 5004052 w 8387961"/>
                <a:gd name="connsiteY4046" fmla="*/ 1232994 h 3980066"/>
                <a:gd name="connsiteX4047" fmla="*/ 5007383 w 8387961"/>
                <a:gd name="connsiteY4047" fmla="*/ 1227989 h 3980066"/>
                <a:gd name="connsiteX4048" fmla="*/ 5004052 w 8387961"/>
                <a:gd name="connsiteY4048" fmla="*/ 1217981 h 3980066"/>
                <a:gd name="connsiteX4049" fmla="*/ 5012380 w 8387961"/>
                <a:gd name="connsiteY4049" fmla="*/ 1217981 h 3980066"/>
                <a:gd name="connsiteX4050" fmla="*/ 5030700 w 8387961"/>
                <a:gd name="connsiteY4050" fmla="*/ 1199632 h 3980066"/>
                <a:gd name="connsiteX4051" fmla="*/ 5057349 w 8387961"/>
                <a:gd name="connsiteY4051" fmla="*/ 1196296 h 3980066"/>
                <a:gd name="connsiteX4052" fmla="*/ 5082332 w 8387961"/>
                <a:gd name="connsiteY4052" fmla="*/ 1194628 h 3980066"/>
                <a:gd name="connsiteX4053" fmla="*/ 5122304 w 8387961"/>
                <a:gd name="connsiteY4053" fmla="*/ 1207972 h 3980066"/>
                <a:gd name="connsiteX4054" fmla="*/ 5143956 w 8387961"/>
                <a:gd name="connsiteY4054" fmla="*/ 1222985 h 3980066"/>
                <a:gd name="connsiteX4055" fmla="*/ 5165608 w 8387961"/>
                <a:gd name="connsiteY4055" fmla="*/ 1236330 h 3980066"/>
                <a:gd name="connsiteX4056" fmla="*/ 5187260 w 8387961"/>
                <a:gd name="connsiteY4056" fmla="*/ 1239666 h 3980066"/>
                <a:gd name="connsiteX4057" fmla="*/ 5197253 w 8387961"/>
                <a:gd name="connsiteY4057" fmla="*/ 1269691 h 3980066"/>
                <a:gd name="connsiteX4058" fmla="*/ 5192256 w 8387961"/>
                <a:gd name="connsiteY4058" fmla="*/ 1304721 h 3980066"/>
                <a:gd name="connsiteX4059" fmla="*/ 5190591 w 8387961"/>
                <a:gd name="connsiteY4059" fmla="*/ 1308057 h 3980066"/>
                <a:gd name="connsiteX4060" fmla="*/ 5190591 w 8387961"/>
                <a:gd name="connsiteY4060" fmla="*/ 1324738 h 3980066"/>
                <a:gd name="connsiteX4061" fmla="*/ 5200584 w 8387961"/>
                <a:gd name="connsiteY4061" fmla="*/ 1333078 h 3980066"/>
                <a:gd name="connsiteX4062" fmla="*/ 5197253 w 8387961"/>
                <a:gd name="connsiteY4062" fmla="*/ 1338082 h 3980066"/>
                <a:gd name="connsiteX4063" fmla="*/ 5203915 w 8387961"/>
                <a:gd name="connsiteY4063" fmla="*/ 1363103 h 3980066"/>
                <a:gd name="connsiteX4064" fmla="*/ 5207246 w 8387961"/>
                <a:gd name="connsiteY4064" fmla="*/ 1388124 h 3980066"/>
                <a:gd name="connsiteX4065" fmla="*/ 5233894 w 8387961"/>
                <a:gd name="connsiteY4065" fmla="*/ 1396465 h 3980066"/>
                <a:gd name="connsiteX4066" fmla="*/ 5237225 w 8387961"/>
                <a:gd name="connsiteY4066" fmla="*/ 1408141 h 3980066"/>
                <a:gd name="connsiteX4067" fmla="*/ 5220570 w 8387961"/>
                <a:gd name="connsiteY4067" fmla="*/ 1443171 h 3980066"/>
                <a:gd name="connsiteX4068" fmla="*/ 5237225 w 8387961"/>
                <a:gd name="connsiteY4068" fmla="*/ 1463188 h 3980066"/>
                <a:gd name="connsiteX4069" fmla="*/ 5255546 w 8387961"/>
                <a:gd name="connsiteY4069" fmla="*/ 1483204 h 3980066"/>
                <a:gd name="connsiteX4070" fmla="*/ 5275533 w 8387961"/>
                <a:gd name="connsiteY4070" fmla="*/ 1493213 h 3980066"/>
                <a:gd name="connsiteX4071" fmla="*/ 5283860 w 8387961"/>
                <a:gd name="connsiteY4071" fmla="*/ 1523238 h 3980066"/>
                <a:gd name="connsiteX4072" fmla="*/ 5292188 w 8387961"/>
                <a:gd name="connsiteY4072" fmla="*/ 1526574 h 3980066"/>
                <a:gd name="connsiteX4073" fmla="*/ 5292188 w 8387961"/>
                <a:gd name="connsiteY4073" fmla="*/ 1537936 h 3980066"/>
                <a:gd name="connsiteX4074" fmla="*/ 5293360 w 8387961"/>
                <a:gd name="connsiteY4074" fmla="*/ 1537398 h 3980066"/>
                <a:gd name="connsiteX4075" fmla="*/ 5293360 w 8387961"/>
                <a:gd name="connsiteY4075" fmla="*/ 1525745 h 3980066"/>
                <a:gd name="connsiteX4076" fmla="*/ 5284991 w 8387961"/>
                <a:gd name="connsiteY4076" fmla="*/ 1522416 h 3980066"/>
                <a:gd name="connsiteX4077" fmla="*/ 5276622 w 8387961"/>
                <a:gd name="connsiteY4077" fmla="*/ 1492451 h 3980066"/>
                <a:gd name="connsiteX4078" fmla="*/ 5256535 w 8387961"/>
                <a:gd name="connsiteY4078" fmla="*/ 1482463 h 3980066"/>
                <a:gd name="connsiteX4079" fmla="*/ 5238123 w 8387961"/>
                <a:gd name="connsiteY4079" fmla="*/ 1462487 h 3980066"/>
                <a:gd name="connsiteX4080" fmla="*/ 5222271 w 8387961"/>
                <a:gd name="connsiteY4080" fmla="*/ 1443568 h 3980066"/>
                <a:gd name="connsiteX4081" fmla="*/ 5221355 w 8387961"/>
                <a:gd name="connsiteY4081" fmla="*/ 1443356 h 3980066"/>
                <a:gd name="connsiteX4082" fmla="*/ 5221622 w 8387961"/>
                <a:gd name="connsiteY4082" fmla="*/ 1442794 h 3980066"/>
                <a:gd name="connsiteX4083" fmla="*/ 5221385 w 8387961"/>
                <a:gd name="connsiteY4083" fmla="*/ 1442510 h 3980066"/>
                <a:gd name="connsiteX4084" fmla="*/ 5221720 w 8387961"/>
                <a:gd name="connsiteY4084" fmla="*/ 1442587 h 3980066"/>
                <a:gd name="connsiteX4085" fmla="*/ 5238077 w 8387961"/>
                <a:gd name="connsiteY4085" fmla="*/ 1408205 h 3980066"/>
                <a:gd name="connsiteX4086" fmla="*/ 5234732 w 8387961"/>
                <a:gd name="connsiteY4086" fmla="*/ 1396488 h 3980066"/>
                <a:gd name="connsiteX4087" fmla="*/ 5207977 w 8387961"/>
                <a:gd name="connsiteY4087" fmla="*/ 1388119 h 3980066"/>
                <a:gd name="connsiteX4088" fmla="*/ 5204633 w 8387961"/>
                <a:gd name="connsiteY4088" fmla="*/ 1363012 h 3980066"/>
                <a:gd name="connsiteX4089" fmla="*/ 5197944 w 8387961"/>
                <a:gd name="connsiteY4089" fmla="*/ 1337904 h 3980066"/>
                <a:gd name="connsiteX4090" fmla="*/ 5201289 w 8387961"/>
                <a:gd name="connsiteY4090" fmla="*/ 1332882 h 3980066"/>
                <a:gd name="connsiteX4091" fmla="*/ 5191256 w 8387961"/>
                <a:gd name="connsiteY4091" fmla="*/ 1324513 h 3980066"/>
                <a:gd name="connsiteX4092" fmla="*/ 5191256 w 8387961"/>
                <a:gd name="connsiteY4092" fmla="*/ 1307775 h 3980066"/>
                <a:gd name="connsiteX4093" fmla="*/ 5192928 w 8387961"/>
                <a:gd name="connsiteY4093" fmla="*/ 1304427 h 3980066"/>
                <a:gd name="connsiteX4094" fmla="*/ 5197944 w 8387961"/>
                <a:gd name="connsiteY4094" fmla="*/ 1269276 h 3980066"/>
                <a:gd name="connsiteX4095" fmla="*/ 5223027 w 8387961"/>
                <a:gd name="connsiteY4095" fmla="*/ 1277645 h 3980066"/>
                <a:gd name="connsiteX4096" fmla="*/ 5236404 w 8387961"/>
                <a:gd name="connsiteY4096" fmla="*/ 1279319 h 3980066"/>
                <a:gd name="connsiteX4097" fmla="*/ 5244765 w 8387961"/>
                <a:gd name="connsiteY4097" fmla="*/ 1265928 h 3980066"/>
                <a:gd name="connsiteX4098" fmla="*/ 5266503 w 8387961"/>
                <a:gd name="connsiteY4098" fmla="*/ 1254212 h 3980066"/>
                <a:gd name="connsiteX4099" fmla="*/ 5267668 w 8387961"/>
                <a:gd name="connsiteY4099" fmla="*/ 1251297 h 3980066"/>
                <a:gd name="connsiteX4100" fmla="*/ 5266641 w 8387961"/>
                <a:gd name="connsiteY4100" fmla="*/ 1253858 h 3980066"/>
                <a:gd name="connsiteX4101" fmla="*/ 5244800 w 8387961"/>
                <a:gd name="connsiteY4101" fmla="*/ 1265583 h 3980066"/>
                <a:gd name="connsiteX4102" fmla="*/ 5236400 w 8387961"/>
                <a:gd name="connsiteY4102" fmla="*/ 1278984 h 3980066"/>
                <a:gd name="connsiteX4103" fmla="*/ 5222960 w 8387961"/>
                <a:gd name="connsiteY4103" fmla="*/ 1277309 h 3980066"/>
                <a:gd name="connsiteX4104" fmla="*/ 5197760 w 8387961"/>
                <a:gd name="connsiteY4104" fmla="*/ 1268933 h 3980066"/>
                <a:gd name="connsiteX4105" fmla="*/ 5187680 w 8387961"/>
                <a:gd name="connsiteY4105" fmla="*/ 1238782 h 3980066"/>
                <a:gd name="connsiteX4106" fmla="*/ 5165840 w 8387961"/>
                <a:gd name="connsiteY4106" fmla="*/ 1235432 h 3980066"/>
                <a:gd name="connsiteX4107" fmla="*/ 5144000 w 8387961"/>
                <a:gd name="connsiteY4107" fmla="*/ 1222031 h 3980066"/>
                <a:gd name="connsiteX4108" fmla="*/ 5122159 w 8387961"/>
                <a:gd name="connsiteY4108" fmla="*/ 1206955 h 3980066"/>
                <a:gd name="connsiteX4109" fmla="*/ 5081839 w 8387961"/>
                <a:gd name="connsiteY4109" fmla="*/ 1193554 h 3980066"/>
                <a:gd name="connsiteX4110" fmla="*/ 5056639 w 8387961"/>
                <a:gd name="connsiteY4110" fmla="*/ 1195229 h 3980066"/>
                <a:gd name="connsiteX4111" fmla="*/ 5029759 w 8387961"/>
                <a:gd name="connsiteY4111" fmla="*/ 1198580 h 3980066"/>
                <a:gd name="connsiteX4112" fmla="*/ 5011278 w 8387961"/>
                <a:gd name="connsiteY4112" fmla="*/ 1217006 h 3980066"/>
                <a:gd name="connsiteX4113" fmla="*/ 5002878 w 8387961"/>
                <a:gd name="connsiteY4113" fmla="*/ 1217006 h 3980066"/>
                <a:gd name="connsiteX4114" fmla="*/ 4996158 w 8387961"/>
                <a:gd name="connsiteY4114" fmla="*/ 1193554 h 3980066"/>
                <a:gd name="connsiteX4115" fmla="*/ 4989438 w 8387961"/>
                <a:gd name="connsiteY4115" fmla="*/ 1166753 h 3980066"/>
                <a:gd name="connsiteX4116" fmla="*/ 4974318 w 8387961"/>
                <a:gd name="connsiteY4116" fmla="*/ 1156702 h 3980066"/>
                <a:gd name="connsiteX4117" fmla="*/ 4972638 w 8387961"/>
                <a:gd name="connsiteY4117" fmla="*/ 1158377 h 3980066"/>
                <a:gd name="connsiteX4118" fmla="*/ 4975998 w 8387961"/>
                <a:gd name="connsiteY4118" fmla="*/ 1153352 h 3980066"/>
                <a:gd name="connsiteX4119" fmla="*/ 4981038 w 8387961"/>
                <a:gd name="connsiteY4119" fmla="*/ 1148327 h 3980066"/>
                <a:gd name="connsiteX4120" fmla="*/ 4974318 w 8387961"/>
                <a:gd name="connsiteY4120" fmla="*/ 1138276 h 3980066"/>
                <a:gd name="connsiteX4121" fmla="*/ 4962558 w 8387961"/>
                <a:gd name="connsiteY4121" fmla="*/ 1141627 h 3980066"/>
                <a:gd name="connsiteX4122" fmla="*/ 4962558 w 8387961"/>
                <a:gd name="connsiteY4122" fmla="*/ 1143302 h 3980066"/>
                <a:gd name="connsiteX4123" fmla="*/ 4954158 w 8387961"/>
                <a:gd name="connsiteY4123" fmla="*/ 1113150 h 3980066"/>
                <a:gd name="connsiteX4124" fmla="*/ 4959198 w 8387961"/>
                <a:gd name="connsiteY4124" fmla="*/ 1111475 h 3980066"/>
                <a:gd name="connsiteX4125" fmla="*/ 4972638 w 8387961"/>
                <a:gd name="connsiteY4125" fmla="*/ 1111475 h 3980066"/>
                <a:gd name="connsiteX4126" fmla="*/ 4984398 w 8387961"/>
                <a:gd name="connsiteY4126" fmla="*/ 1118175 h 3980066"/>
                <a:gd name="connsiteX4127" fmla="*/ 4991118 w 8387961"/>
                <a:gd name="connsiteY4127" fmla="*/ 1116500 h 3980066"/>
                <a:gd name="connsiteX4128" fmla="*/ 4992798 w 8387961"/>
                <a:gd name="connsiteY4128" fmla="*/ 1113150 h 3980066"/>
                <a:gd name="connsiteX4129" fmla="*/ 4996158 w 8387961"/>
                <a:gd name="connsiteY4129" fmla="*/ 1104775 h 3980066"/>
                <a:gd name="connsiteX4130" fmla="*/ 4972638 w 8387961"/>
                <a:gd name="connsiteY4130" fmla="*/ 1077973 h 3980066"/>
                <a:gd name="connsiteX4131" fmla="*/ 4950798 w 8387961"/>
                <a:gd name="connsiteY4131" fmla="*/ 1076298 h 3980066"/>
                <a:gd name="connsiteX4132" fmla="*/ 4952478 w 8387961"/>
                <a:gd name="connsiteY4132" fmla="*/ 1101424 h 3980066"/>
                <a:gd name="connsiteX4133" fmla="*/ 4952478 w 8387961"/>
                <a:gd name="connsiteY4133" fmla="*/ 1104775 h 3980066"/>
                <a:gd name="connsiteX4134" fmla="*/ 4935678 w 8387961"/>
                <a:gd name="connsiteY4134" fmla="*/ 1072948 h 3980066"/>
                <a:gd name="connsiteX4135" fmla="*/ 4939038 w 8387961"/>
                <a:gd name="connsiteY4135" fmla="*/ 1057872 h 3980066"/>
                <a:gd name="connsiteX4136" fmla="*/ 4930638 w 8387961"/>
                <a:gd name="connsiteY4136" fmla="*/ 1054522 h 3980066"/>
                <a:gd name="connsiteX4137" fmla="*/ 4932533 w 8387961"/>
                <a:gd name="connsiteY4137" fmla="*/ 1054522 h 3980066"/>
                <a:gd name="connsiteX4138" fmla="*/ 4913004 w 8387961"/>
                <a:gd name="connsiteY4138" fmla="*/ 1046383 h 3980066"/>
                <a:gd name="connsiteX4139" fmla="*/ 4902975 w 8387961"/>
                <a:gd name="connsiteY4139" fmla="*/ 1041368 h 3980066"/>
                <a:gd name="connsiteX4140" fmla="*/ 4881247 w 8387961"/>
                <a:gd name="connsiteY4140" fmla="*/ 1011275 h 3980066"/>
                <a:gd name="connsiteX4141" fmla="*/ 4867875 w 8387961"/>
                <a:gd name="connsiteY4141" fmla="*/ 1002916 h 3980066"/>
                <a:gd name="connsiteX4142" fmla="*/ 4896290 w 8387961"/>
                <a:gd name="connsiteY4142" fmla="*/ 1001244 h 3980066"/>
                <a:gd name="connsiteX4143" fmla="*/ 4884589 w 8387961"/>
                <a:gd name="connsiteY4143" fmla="*/ 991214 h 3980066"/>
                <a:gd name="connsiteX4144" fmla="*/ 4897961 w 8387961"/>
                <a:gd name="connsiteY4144" fmla="*/ 977839 h 3980066"/>
                <a:gd name="connsiteX4145" fmla="*/ 4928047 w 8387961"/>
                <a:gd name="connsiteY4145" fmla="*/ 977839 h 3980066"/>
                <a:gd name="connsiteX4146" fmla="*/ 4923033 w 8387961"/>
                <a:gd name="connsiteY4146" fmla="*/ 966137 h 3980066"/>
                <a:gd name="connsiteX4147" fmla="*/ 4916347 w 8387961"/>
                <a:gd name="connsiteY4147" fmla="*/ 934372 h 3980066"/>
                <a:gd name="connsiteX4148" fmla="*/ 4884589 w 8387961"/>
                <a:gd name="connsiteY4148" fmla="*/ 932701 h 3980066"/>
                <a:gd name="connsiteX4149" fmla="*/ 4864532 w 8387961"/>
                <a:gd name="connsiteY4149" fmla="*/ 931029 h 3980066"/>
                <a:gd name="connsiteX4150" fmla="*/ 4834446 w 8387961"/>
                <a:gd name="connsiteY4150" fmla="*/ 944403 h 3980066"/>
                <a:gd name="connsiteX4151" fmla="*/ 4831103 w 8387961"/>
                <a:gd name="connsiteY4151" fmla="*/ 946075 h 3980066"/>
                <a:gd name="connsiteX4152" fmla="*/ 4812718 w 8387961"/>
                <a:gd name="connsiteY4152" fmla="*/ 917654 h 3980066"/>
                <a:gd name="connsiteX4153" fmla="*/ 4784303 w 8387961"/>
                <a:gd name="connsiteY4153" fmla="*/ 895921 h 3980066"/>
                <a:gd name="connsiteX4154" fmla="*/ 4755889 w 8387961"/>
                <a:gd name="connsiteY4154" fmla="*/ 874188 h 3980066"/>
                <a:gd name="connsiteX4155" fmla="*/ 4760903 w 8387961"/>
                <a:gd name="connsiteY4155" fmla="*/ 842423 h 3980066"/>
                <a:gd name="connsiteX4156" fmla="*/ 4764237 w 8387961"/>
                <a:gd name="connsiteY4156" fmla="*/ 810739 h 3980066"/>
                <a:gd name="connsiteX4157" fmla="*/ 2395290 w 8387961"/>
                <a:gd name="connsiteY4157" fmla="*/ 799930 h 3980066"/>
                <a:gd name="connsiteX4158" fmla="*/ 2405405 w 8387961"/>
                <a:gd name="connsiteY4158" fmla="*/ 799930 h 3980066"/>
                <a:gd name="connsiteX4159" fmla="*/ 2390226 w 8387961"/>
                <a:gd name="connsiteY4159" fmla="*/ 806523 h 3980066"/>
                <a:gd name="connsiteX4160" fmla="*/ 2393599 w 8387961"/>
                <a:gd name="connsiteY4160" fmla="*/ 811468 h 3980066"/>
                <a:gd name="connsiteX4161" fmla="*/ 2383480 w 8387961"/>
                <a:gd name="connsiteY4161" fmla="*/ 821357 h 3980066"/>
                <a:gd name="connsiteX4162" fmla="*/ 2354808 w 8387961"/>
                <a:gd name="connsiteY4162" fmla="*/ 854322 h 3980066"/>
                <a:gd name="connsiteX4163" fmla="*/ 2376734 w 8387961"/>
                <a:gd name="connsiteY4163" fmla="*/ 839488 h 3980066"/>
                <a:gd name="connsiteX4164" fmla="*/ 2373363 w 8387961"/>
                <a:gd name="connsiteY4164" fmla="*/ 844433 h 3980066"/>
                <a:gd name="connsiteX4165" fmla="*/ 2390226 w 8387961"/>
                <a:gd name="connsiteY4165" fmla="*/ 842784 h 3980066"/>
                <a:gd name="connsiteX4166" fmla="*/ 2375054 w 8387961"/>
                <a:gd name="connsiteY4166" fmla="*/ 851026 h 3980066"/>
                <a:gd name="connsiteX4167" fmla="*/ 2375054 w 8387961"/>
                <a:gd name="connsiteY4167" fmla="*/ 855970 h 3980066"/>
                <a:gd name="connsiteX4168" fmla="*/ 2391913 w 8387961"/>
                <a:gd name="connsiteY4168" fmla="*/ 860915 h 3980066"/>
                <a:gd name="connsiteX4169" fmla="*/ 2386854 w 8387961"/>
                <a:gd name="connsiteY4169" fmla="*/ 865860 h 3980066"/>
                <a:gd name="connsiteX4170" fmla="*/ 2410471 w 8387961"/>
                <a:gd name="connsiteY4170" fmla="*/ 855970 h 3980066"/>
                <a:gd name="connsiteX4171" fmla="*/ 2407092 w 8387961"/>
                <a:gd name="connsiteY4171" fmla="*/ 862563 h 3980066"/>
                <a:gd name="connsiteX4172" fmla="*/ 2430702 w 8387961"/>
                <a:gd name="connsiteY4172" fmla="*/ 860915 h 3980066"/>
                <a:gd name="connsiteX4173" fmla="*/ 2413838 w 8387961"/>
                <a:gd name="connsiteY4173" fmla="*/ 875749 h 3980066"/>
                <a:gd name="connsiteX4174" fmla="*/ 2417217 w 8387961"/>
                <a:gd name="connsiteY4174" fmla="*/ 882342 h 3980066"/>
                <a:gd name="connsiteX4175" fmla="*/ 2410471 w 8387961"/>
                <a:gd name="connsiteY4175" fmla="*/ 888935 h 3980066"/>
                <a:gd name="connsiteX4176" fmla="*/ 2437449 w 8387961"/>
                <a:gd name="connsiteY4176" fmla="*/ 882342 h 3980066"/>
                <a:gd name="connsiteX4177" fmla="*/ 2412152 w 8387961"/>
                <a:gd name="connsiteY4177" fmla="*/ 898825 h 3980066"/>
                <a:gd name="connsiteX4178" fmla="*/ 2413838 w 8387961"/>
                <a:gd name="connsiteY4178" fmla="*/ 902121 h 3980066"/>
                <a:gd name="connsiteX4179" fmla="*/ 2412152 w 8387961"/>
                <a:gd name="connsiteY4179" fmla="*/ 902121 h 3980066"/>
                <a:gd name="connsiteX4180" fmla="*/ 2412152 w 8387961"/>
                <a:gd name="connsiteY4180" fmla="*/ 912011 h 3980066"/>
                <a:gd name="connsiteX4181" fmla="*/ 2435762 w 8387961"/>
                <a:gd name="connsiteY4181" fmla="*/ 893880 h 3980066"/>
                <a:gd name="connsiteX4182" fmla="*/ 2423956 w 8387961"/>
                <a:gd name="connsiteY4182" fmla="*/ 912011 h 3980066"/>
                <a:gd name="connsiteX4183" fmla="*/ 2435762 w 8387961"/>
                <a:gd name="connsiteY4183" fmla="*/ 905418 h 3980066"/>
                <a:gd name="connsiteX4184" fmla="*/ 2437449 w 8387961"/>
                <a:gd name="connsiteY4184" fmla="*/ 913659 h 3980066"/>
                <a:gd name="connsiteX4185" fmla="*/ 2417217 w 8387961"/>
                <a:gd name="connsiteY4185" fmla="*/ 940031 h 3980066"/>
                <a:gd name="connsiteX4186" fmla="*/ 2407092 w 8387961"/>
                <a:gd name="connsiteY4186" fmla="*/ 935086 h 3980066"/>
                <a:gd name="connsiteX4187" fmla="*/ 2407092 w 8387961"/>
                <a:gd name="connsiteY4187" fmla="*/ 925197 h 3980066"/>
                <a:gd name="connsiteX4188" fmla="*/ 2395290 w 8387961"/>
                <a:gd name="connsiteY4188" fmla="*/ 931790 h 3980066"/>
                <a:gd name="connsiteX4189" fmla="*/ 2407092 w 8387961"/>
                <a:gd name="connsiteY4189" fmla="*/ 912011 h 3980066"/>
                <a:gd name="connsiteX4190" fmla="*/ 2402035 w 8387961"/>
                <a:gd name="connsiteY4190" fmla="*/ 903769 h 3980066"/>
                <a:gd name="connsiteX4191" fmla="*/ 2390226 w 8387961"/>
                <a:gd name="connsiteY4191" fmla="*/ 918604 h 3980066"/>
                <a:gd name="connsiteX4192" fmla="*/ 2395290 w 8387961"/>
                <a:gd name="connsiteY4192" fmla="*/ 912011 h 3980066"/>
                <a:gd name="connsiteX4193" fmla="*/ 2356495 w 8387961"/>
                <a:gd name="connsiteY4193" fmla="*/ 933438 h 3980066"/>
                <a:gd name="connsiteX4194" fmla="*/ 2356495 w 8387961"/>
                <a:gd name="connsiteY4194" fmla="*/ 925197 h 3980066"/>
                <a:gd name="connsiteX4195" fmla="*/ 2386854 w 8387961"/>
                <a:gd name="connsiteY4195" fmla="*/ 910362 h 3980066"/>
                <a:gd name="connsiteX4196" fmla="*/ 2380109 w 8387961"/>
                <a:gd name="connsiteY4196" fmla="*/ 912011 h 3980066"/>
                <a:gd name="connsiteX4197" fmla="*/ 2385167 w 8387961"/>
                <a:gd name="connsiteY4197" fmla="*/ 905418 h 3980066"/>
                <a:gd name="connsiteX4198" fmla="*/ 2373363 w 8387961"/>
                <a:gd name="connsiteY4198" fmla="*/ 910362 h 3980066"/>
                <a:gd name="connsiteX4199" fmla="*/ 2363241 w 8387961"/>
                <a:gd name="connsiteY4199" fmla="*/ 915307 h 3980066"/>
                <a:gd name="connsiteX4200" fmla="*/ 2353127 w 8387961"/>
                <a:gd name="connsiteY4200" fmla="*/ 913659 h 3980066"/>
                <a:gd name="connsiteX4201" fmla="*/ 2361563 w 8387961"/>
                <a:gd name="connsiteY4201" fmla="*/ 910362 h 3980066"/>
                <a:gd name="connsiteX4202" fmla="*/ 2363241 w 8387961"/>
                <a:gd name="connsiteY4202" fmla="*/ 905418 h 3980066"/>
                <a:gd name="connsiteX4203" fmla="*/ 2319390 w 8387961"/>
                <a:gd name="connsiteY4203" fmla="*/ 912011 h 3980066"/>
                <a:gd name="connsiteX4204" fmla="*/ 2282293 w 8387961"/>
                <a:gd name="connsiteY4204" fmla="*/ 908714 h 3980066"/>
                <a:gd name="connsiteX4205" fmla="*/ 2290718 w 8387961"/>
                <a:gd name="connsiteY4205" fmla="*/ 895528 h 3980066"/>
                <a:gd name="connsiteX4206" fmla="*/ 2309274 w 8387961"/>
                <a:gd name="connsiteY4206" fmla="*/ 883990 h 3980066"/>
                <a:gd name="connsiteX4207" fmla="*/ 2290718 w 8387961"/>
                <a:gd name="connsiteY4207" fmla="*/ 883990 h 3980066"/>
                <a:gd name="connsiteX4208" fmla="*/ 2299151 w 8387961"/>
                <a:gd name="connsiteY4208" fmla="*/ 880694 h 3980066"/>
                <a:gd name="connsiteX4209" fmla="*/ 2321077 w 8387961"/>
                <a:gd name="connsiteY4209" fmla="*/ 869156 h 3980066"/>
                <a:gd name="connsiteX4210" fmla="*/ 2322764 w 8387961"/>
                <a:gd name="connsiteY4210" fmla="*/ 870804 h 3980066"/>
                <a:gd name="connsiteX4211" fmla="*/ 2326137 w 8387961"/>
                <a:gd name="connsiteY4211" fmla="*/ 864212 h 3980066"/>
                <a:gd name="connsiteX4212" fmla="*/ 2321077 w 8387961"/>
                <a:gd name="connsiteY4212" fmla="*/ 859267 h 3980066"/>
                <a:gd name="connsiteX4213" fmla="*/ 2331201 w 8387961"/>
                <a:gd name="connsiteY4213" fmla="*/ 854322 h 3980066"/>
                <a:gd name="connsiteX4214" fmla="*/ 2354808 w 8387961"/>
                <a:gd name="connsiteY4214" fmla="*/ 823005 h 3980066"/>
                <a:gd name="connsiteX4215" fmla="*/ 2383480 w 8387961"/>
                <a:gd name="connsiteY4215" fmla="*/ 801578 h 3980066"/>
                <a:gd name="connsiteX4216" fmla="*/ 5910740 w 8387961"/>
                <a:gd name="connsiteY4216" fmla="*/ 783338 h 3980066"/>
                <a:gd name="connsiteX4217" fmla="*/ 5910698 w 8387961"/>
                <a:gd name="connsiteY4217" fmla="*/ 783587 h 3980066"/>
                <a:gd name="connsiteX4218" fmla="*/ 5950034 w 8387961"/>
                <a:gd name="connsiteY4218" fmla="*/ 793326 h 3980066"/>
                <a:gd name="connsiteX4219" fmla="*/ 5990292 w 8387961"/>
                <a:gd name="connsiteY4219" fmla="*/ 801632 h 3980066"/>
                <a:gd name="connsiteX4220" fmla="*/ 6008744 w 8387961"/>
                <a:gd name="connsiteY4220" fmla="*/ 819905 h 3980066"/>
                <a:gd name="connsiteX4221" fmla="*/ 6037326 w 8387961"/>
                <a:gd name="connsiteY4221" fmla="*/ 832771 h 3980066"/>
                <a:gd name="connsiteX4222" fmla="*/ 6009481 w 8387961"/>
                <a:gd name="connsiteY4222" fmla="*/ 820125 h 3980066"/>
                <a:gd name="connsiteX4223" fmla="*/ 5991071 w 8387961"/>
                <a:gd name="connsiteY4223" fmla="*/ 801732 h 3980066"/>
                <a:gd name="connsiteX4224" fmla="*/ 5950906 w 8387961"/>
                <a:gd name="connsiteY4224" fmla="*/ 793371 h 3980066"/>
                <a:gd name="connsiteX4225" fmla="*/ 4863081 w 8387961"/>
                <a:gd name="connsiteY4225" fmla="*/ 781666 h 3980066"/>
                <a:gd name="connsiteX4226" fmla="*/ 4831283 w 8387961"/>
                <a:gd name="connsiteY4226" fmla="*/ 783338 h 3980066"/>
                <a:gd name="connsiteX4227" fmla="*/ 4812874 w 8387961"/>
                <a:gd name="connsiteY4227" fmla="*/ 795043 h 3980066"/>
                <a:gd name="connsiteX4228" fmla="*/ 4794464 w 8387961"/>
                <a:gd name="connsiteY4228" fmla="*/ 810092 h 3980066"/>
                <a:gd name="connsiteX4229" fmla="*/ 4791135 w 8387961"/>
                <a:gd name="connsiteY4229" fmla="*/ 821733 h 3980066"/>
                <a:gd name="connsiteX4230" fmla="*/ 4792660 w 8387961"/>
                <a:gd name="connsiteY4230" fmla="*/ 822362 h 3980066"/>
                <a:gd name="connsiteX4231" fmla="*/ 4796003 w 8387961"/>
                <a:gd name="connsiteY4231" fmla="*/ 810659 h 3980066"/>
                <a:gd name="connsiteX4232" fmla="*/ 4814389 w 8387961"/>
                <a:gd name="connsiteY4232" fmla="*/ 795613 h 3980066"/>
                <a:gd name="connsiteX4233" fmla="*/ 4832775 w 8387961"/>
                <a:gd name="connsiteY4233" fmla="*/ 783910 h 3980066"/>
                <a:gd name="connsiteX4234" fmla="*/ 4864452 w 8387961"/>
                <a:gd name="connsiteY4234" fmla="*/ 782243 h 3980066"/>
                <a:gd name="connsiteX4235" fmla="*/ 4192606 w 8387961"/>
                <a:gd name="connsiteY4235" fmla="*/ 775426 h 3980066"/>
                <a:gd name="connsiteX4236" fmla="*/ 4191379 w 8387961"/>
                <a:gd name="connsiteY4236" fmla="*/ 776903 h 3980066"/>
                <a:gd name="connsiteX4237" fmla="*/ 4206401 w 8387961"/>
                <a:gd name="connsiteY4237" fmla="*/ 785281 h 3980066"/>
                <a:gd name="connsiteX4238" fmla="*/ 4218084 w 8387961"/>
                <a:gd name="connsiteY4238" fmla="*/ 817116 h 3980066"/>
                <a:gd name="connsiteX4239" fmla="*/ 4216415 w 8387961"/>
                <a:gd name="connsiteY4239" fmla="*/ 832196 h 3980066"/>
                <a:gd name="connsiteX4240" fmla="*/ 4193048 w 8387961"/>
                <a:gd name="connsiteY4240" fmla="*/ 862356 h 3980066"/>
                <a:gd name="connsiteX4241" fmla="*/ 4189710 w 8387961"/>
                <a:gd name="connsiteY4241" fmla="*/ 870734 h 3980066"/>
                <a:gd name="connsiteX4242" fmla="*/ 4152992 w 8387961"/>
                <a:gd name="connsiteY4242" fmla="*/ 862356 h 3980066"/>
                <a:gd name="connsiteX4243" fmla="*/ 4133387 w 8387961"/>
                <a:gd name="connsiteY4243" fmla="*/ 863996 h 3980066"/>
                <a:gd name="connsiteX4244" fmla="*/ 4134125 w 8387961"/>
                <a:gd name="connsiteY4244" fmla="*/ 865460 h 3980066"/>
                <a:gd name="connsiteX4245" fmla="*/ 4154187 w 8387961"/>
                <a:gd name="connsiteY4245" fmla="*/ 863803 h 3980066"/>
                <a:gd name="connsiteX4246" fmla="*/ 4189892 w 8387961"/>
                <a:gd name="connsiteY4246" fmla="*/ 871847 h 3980066"/>
                <a:gd name="connsiteX4247" fmla="*/ 4190143 w 8387961"/>
                <a:gd name="connsiteY4247" fmla="*/ 871086 h 3980066"/>
                <a:gd name="connsiteX4248" fmla="*/ 4193497 w 8387961"/>
                <a:gd name="connsiteY4248" fmla="*/ 862646 h 3980066"/>
                <a:gd name="connsiteX4249" fmla="*/ 4216977 w 8387961"/>
                <a:gd name="connsiteY4249" fmla="*/ 832260 h 3980066"/>
                <a:gd name="connsiteX4250" fmla="*/ 4218654 w 8387961"/>
                <a:gd name="connsiteY4250" fmla="*/ 817067 h 3980066"/>
                <a:gd name="connsiteX4251" fmla="*/ 4206914 w 8387961"/>
                <a:gd name="connsiteY4251" fmla="*/ 784994 h 3980066"/>
                <a:gd name="connsiteX4252" fmla="*/ 4247165 w 8387961"/>
                <a:gd name="connsiteY4252" fmla="*/ 784994 h 3980066"/>
                <a:gd name="connsiteX4253" fmla="*/ 4284062 w 8387961"/>
                <a:gd name="connsiteY4253" fmla="*/ 784994 h 3980066"/>
                <a:gd name="connsiteX4254" fmla="*/ 4324312 w 8387961"/>
                <a:gd name="connsiteY4254" fmla="*/ 793434 h 3980066"/>
                <a:gd name="connsiteX4255" fmla="*/ 4364563 w 8387961"/>
                <a:gd name="connsiteY4255" fmla="*/ 801875 h 3980066"/>
                <a:gd name="connsiteX4256" fmla="*/ 4364248 w 8387961"/>
                <a:gd name="connsiteY4256" fmla="*/ 799654 h 3980066"/>
                <a:gd name="connsiteX4257" fmla="*/ 4324980 w 8387961"/>
                <a:gd name="connsiteY4257" fmla="*/ 791528 h 3980066"/>
                <a:gd name="connsiteX4258" fmla="*/ 4284380 w 8387961"/>
                <a:gd name="connsiteY4258" fmla="*/ 783127 h 3980066"/>
                <a:gd name="connsiteX4259" fmla="*/ 4247163 w 8387961"/>
                <a:gd name="connsiteY4259" fmla="*/ 783127 h 3980066"/>
                <a:gd name="connsiteX4260" fmla="*/ 4206562 w 8387961"/>
                <a:gd name="connsiteY4260" fmla="*/ 783127 h 3980066"/>
                <a:gd name="connsiteX4261" fmla="*/ 4390867 w 8387961"/>
                <a:gd name="connsiteY4261" fmla="*/ 773982 h 3980066"/>
                <a:gd name="connsiteX4262" fmla="*/ 4363889 w 8387961"/>
                <a:gd name="connsiteY4262" fmla="*/ 788168 h 3980066"/>
                <a:gd name="connsiteX4263" fmla="*/ 4364070 w 8387961"/>
                <a:gd name="connsiteY4263" fmla="*/ 789427 h 3980066"/>
                <a:gd name="connsiteX4264" fmla="*/ 4391242 w 8387961"/>
                <a:gd name="connsiteY4264" fmla="*/ 774948 h 3980066"/>
                <a:gd name="connsiteX4265" fmla="*/ 4391132 w 8387961"/>
                <a:gd name="connsiteY4265" fmla="*/ 774978 h 3980066"/>
                <a:gd name="connsiteX4266" fmla="*/ 3570005 w 8387961"/>
                <a:gd name="connsiteY4266" fmla="*/ 747204 h 3980066"/>
                <a:gd name="connsiteX4267" fmla="*/ 3574826 w 8387961"/>
                <a:gd name="connsiteY4267" fmla="*/ 749464 h 3980066"/>
                <a:gd name="connsiteX4268" fmla="*/ 3568800 w 8387961"/>
                <a:gd name="connsiteY4268" fmla="*/ 750217 h 3980066"/>
                <a:gd name="connsiteX4269" fmla="*/ 6422854 w 8387961"/>
                <a:gd name="connsiteY4269" fmla="*/ 744880 h 3980066"/>
                <a:gd name="connsiteX4270" fmla="*/ 6392730 w 8387961"/>
                <a:gd name="connsiteY4270" fmla="*/ 746552 h 3980066"/>
                <a:gd name="connsiteX4271" fmla="*/ 6377668 w 8387961"/>
                <a:gd name="connsiteY4271" fmla="*/ 763273 h 3980066"/>
                <a:gd name="connsiteX4272" fmla="*/ 6378989 w 8387961"/>
                <a:gd name="connsiteY4272" fmla="*/ 763713 h 3980066"/>
                <a:gd name="connsiteX4273" fmla="*/ 6392335 w 8387961"/>
                <a:gd name="connsiteY4273" fmla="*/ 748877 h 3980066"/>
                <a:gd name="connsiteX4274" fmla="*/ 6422435 w 8387961"/>
                <a:gd name="connsiteY4274" fmla="*/ 747204 h 3980066"/>
                <a:gd name="connsiteX4275" fmla="*/ 6452534 w 8387961"/>
                <a:gd name="connsiteY4275" fmla="*/ 747204 h 3980066"/>
                <a:gd name="connsiteX4276" fmla="*/ 6511061 w 8387961"/>
                <a:gd name="connsiteY4276" fmla="*/ 765607 h 3980066"/>
                <a:gd name="connsiteX4277" fmla="*/ 6536143 w 8387961"/>
                <a:gd name="connsiteY4277" fmla="*/ 787356 h 3980066"/>
                <a:gd name="connsiteX4278" fmla="*/ 6559554 w 8387961"/>
                <a:gd name="connsiteY4278" fmla="*/ 807432 h 3980066"/>
                <a:gd name="connsiteX4279" fmla="*/ 6582965 w 8387961"/>
                <a:gd name="connsiteY4279" fmla="*/ 827507 h 3980066"/>
                <a:gd name="connsiteX4280" fmla="*/ 6608047 w 8387961"/>
                <a:gd name="connsiteY4280" fmla="*/ 847583 h 3980066"/>
                <a:gd name="connsiteX4281" fmla="*/ 6633130 w 8387961"/>
                <a:gd name="connsiteY4281" fmla="*/ 857621 h 3980066"/>
                <a:gd name="connsiteX4282" fmla="*/ 6676607 w 8387961"/>
                <a:gd name="connsiteY4282" fmla="*/ 869332 h 3980066"/>
                <a:gd name="connsiteX4283" fmla="*/ 6701690 w 8387961"/>
                <a:gd name="connsiteY4283" fmla="*/ 879370 h 3980066"/>
                <a:gd name="connsiteX4284" fmla="*/ 6731789 w 8387961"/>
                <a:gd name="connsiteY4284" fmla="*/ 912830 h 3980066"/>
                <a:gd name="connsiteX4285" fmla="*/ 6768577 w 8387961"/>
                <a:gd name="connsiteY4285" fmla="*/ 907811 h 3980066"/>
                <a:gd name="connsiteX4286" fmla="*/ 6803693 w 8387961"/>
                <a:gd name="connsiteY4286" fmla="*/ 894427 h 3980066"/>
                <a:gd name="connsiteX4287" fmla="*/ 6818743 w 8387961"/>
                <a:gd name="connsiteY4287" fmla="*/ 919522 h 3980066"/>
                <a:gd name="connsiteX4288" fmla="*/ 6822087 w 8387961"/>
                <a:gd name="connsiteY4288" fmla="*/ 954655 h 3980066"/>
                <a:gd name="connsiteX4289" fmla="*/ 6828272 w 8387961"/>
                <a:gd name="connsiteY4289" fmla="*/ 987138 h 3980066"/>
                <a:gd name="connsiteX4290" fmla="*/ 6829533 w 8387961"/>
                <a:gd name="connsiteY4290" fmla="*/ 987337 h 3980066"/>
                <a:gd name="connsiteX4291" fmla="*/ 6822839 w 8387961"/>
                <a:gd name="connsiteY4291" fmla="*/ 952222 h 3980066"/>
                <a:gd name="connsiteX4292" fmla="*/ 6819492 w 8387961"/>
                <a:gd name="connsiteY4292" fmla="*/ 917108 h 3980066"/>
                <a:gd name="connsiteX4293" fmla="*/ 6804430 w 8387961"/>
                <a:gd name="connsiteY4293" fmla="*/ 892026 h 3980066"/>
                <a:gd name="connsiteX4294" fmla="*/ 6769285 w 8387961"/>
                <a:gd name="connsiteY4294" fmla="*/ 905403 h 3980066"/>
                <a:gd name="connsiteX4295" fmla="*/ 6732466 w 8387961"/>
                <a:gd name="connsiteY4295" fmla="*/ 910419 h 3980066"/>
                <a:gd name="connsiteX4296" fmla="*/ 6702341 w 8387961"/>
                <a:gd name="connsiteY4296" fmla="*/ 876977 h 3980066"/>
                <a:gd name="connsiteX4297" fmla="*/ 6677238 w 8387961"/>
                <a:gd name="connsiteY4297" fmla="*/ 866944 h 3980066"/>
                <a:gd name="connsiteX4298" fmla="*/ 6633725 w 8387961"/>
                <a:gd name="connsiteY4298" fmla="*/ 855239 h 3980066"/>
                <a:gd name="connsiteX4299" fmla="*/ 6608621 w 8387961"/>
                <a:gd name="connsiteY4299" fmla="*/ 845207 h 3980066"/>
                <a:gd name="connsiteX4300" fmla="*/ 6583518 w 8387961"/>
                <a:gd name="connsiteY4300" fmla="*/ 825141 h 3980066"/>
                <a:gd name="connsiteX4301" fmla="*/ 6560088 w 8387961"/>
                <a:gd name="connsiteY4301" fmla="*/ 805076 h 3980066"/>
                <a:gd name="connsiteX4302" fmla="*/ 6536658 w 8387961"/>
                <a:gd name="connsiteY4302" fmla="*/ 785010 h 3980066"/>
                <a:gd name="connsiteX4303" fmla="*/ 6511554 w 8387961"/>
                <a:gd name="connsiteY4303" fmla="*/ 763273 h 3980066"/>
                <a:gd name="connsiteX4304" fmla="*/ 6452979 w 8387961"/>
                <a:gd name="connsiteY4304" fmla="*/ 744880 h 3980066"/>
                <a:gd name="connsiteX4305" fmla="*/ 5042154 w 8387961"/>
                <a:gd name="connsiteY4305" fmla="*/ 743208 h 3980066"/>
                <a:gd name="connsiteX4306" fmla="*/ 5032112 w 8387961"/>
                <a:gd name="connsiteY4306" fmla="*/ 776650 h 3980066"/>
                <a:gd name="connsiteX4307" fmla="*/ 5055542 w 8387961"/>
                <a:gd name="connsiteY4307" fmla="*/ 805076 h 3980066"/>
                <a:gd name="connsiteX4308" fmla="*/ 5052195 w 8387961"/>
                <a:gd name="connsiteY4308" fmla="*/ 813436 h 3980066"/>
                <a:gd name="connsiteX4309" fmla="*/ 5007008 w 8387961"/>
                <a:gd name="connsiteY4309" fmla="*/ 806748 h 3980066"/>
                <a:gd name="connsiteX4310" fmla="*/ 4961822 w 8387961"/>
                <a:gd name="connsiteY4310" fmla="*/ 806748 h 3980066"/>
                <a:gd name="connsiteX4311" fmla="*/ 4926821 w 8387961"/>
                <a:gd name="connsiteY4311" fmla="*/ 810078 h 3980066"/>
                <a:gd name="connsiteX4312" fmla="*/ 4928047 w 8387961"/>
                <a:gd name="connsiteY4312" fmla="*/ 810659 h 3980066"/>
                <a:gd name="connsiteX4313" fmla="*/ 4963147 w 8387961"/>
                <a:gd name="connsiteY4313" fmla="*/ 807316 h 3980066"/>
                <a:gd name="connsiteX4314" fmla="*/ 5008276 w 8387961"/>
                <a:gd name="connsiteY4314" fmla="*/ 807316 h 3980066"/>
                <a:gd name="connsiteX4315" fmla="*/ 5053405 w 8387961"/>
                <a:gd name="connsiteY4315" fmla="*/ 814003 h 3980066"/>
                <a:gd name="connsiteX4316" fmla="*/ 5056748 w 8387961"/>
                <a:gd name="connsiteY4316" fmla="*/ 805644 h 3980066"/>
                <a:gd name="connsiteX4317" fmla="*/ 5033347 w 8387961"/>
                <a:gd name="connsiteY4317" fmla="*/ 777223 h 3980066"/>
                <a:gd name="connsiteX4318" fmla="*/ 5043376 w 8387961"/>
                <a:gd name="connsiteY4318" fmla="*/ 743788 h 3980066"/>
                <a:gd name="connsiteX4319" fmla="*/ 5065105 w 8387961"/>
                <a:gd name="connsiteY4319" fmla="*/ 745460 h 3980066"/>
                <a:gd name="connsiteX4320" fmla="*/ 5063867 w 8387961"/>
                <a:gd name="connsiteY4320" fmla="*/ 744877 h 3980066"/>
                <a:gd name="connsiteX4321" fmla="*/ 4392501 w 8387961"/>
                <a:gd name="connsiteY4321" fmla="*/ 741266 h 3980066"/>
                <a:gd name="connsiteX4322" fmla="*/ 4385880 w 8387961"/>
                <a:gd name="connsiteY4322" fmla="*/ 747841 h 3980066"/>
                <a:gd name="connsiteX4323" fmla="*/ 4386010 w 8387961"/>
                <a:gd name="connsiteY4323" fmla="*/ 748325 h 3980066"/>
                <a:gd name="connsiteX4324" fmla="*/ 4392806 w 8387961"/>
                <a:gd name="connsiteY4324" fmla="*/ 741536 h 3980066"/>
                <a:gd name="connsiteX4325" fmla="*/ 3994153 w 8387961"/>
                <a:gd name="connsiteY4325" fmla="*/ 733058 h 3980066"/>
                <a:gd name="connsiteX4326" fmla="*/ 3986992 w 8387961"/>
                <a:gd name="connsiteY4326" fmla="*/ 734498 h 3980066"/>
                <a:gd name="connsiteX4327" fmla="*/ 3990357 w 8387961"/>
                <a:gd name="connsiteY4327" fmla="*/ 761544 h 3980066"/>
                <a:gd name="connsiteX4328" fmla="*/ 4002132 w 8387961"/>
                <a:gd name="connsiteY4328" fmla="*/ 793663 h 3980066"/>
                <a:gd name="connsiteX4329" fmla="*/ 4007179 w 8387961"/>
                <a:gd name="connsiteY4329" fmla="*/ 815638 h 3980066"/>
                <a:gd name="connsiteX4330" fmla="*/ 4000450 w 8387961"/>
                <a:gd name="connsiteY4330" fmla="*/ 813948 h 3980066"/>
                <a:gd name="connsiteX4331" fmla="*/ 3948301 w 8387961"/>
                <a:gd name="connsiteY4331" fmla="*/ 835924 h 3980066"/>
                <a:gd name="connsiteX4332" fmla="*/ 3949950 w 8387961"/>
                <a:gd name="connsiteY4332" fmla="*/ 838409 h 3980066"/>
                <a:gd name="connsiteX4333" fmla="*/ 4001710 w 8387961"/>
                <a:gd name="connsiteY4333" fmla="*/ 816501 h 3980066"/>
                <a:gd name="connsiteX4334" fmla="*/ 4008391 w 8387961"/>
                <a:gd name="connsiteY4334" fmla="*/ 818187 h 3980066"/>
                <a:gd name="connsiteX4335" fmla="*/ 4011731 w 8387961"/>
                <a:gd name="connsiteY4335" fmla="*/ 818187 h 3980066"/>
                <a:gd name="connsiteX4336" fmla="*/ 4041795 w 8387961"/>
                <a:gd name="connsiteY4336" fmla="*/ 828302 h 3980066"/>
                <a:gd name="connsiteX4337" fmla="*/ 4048476 w 8387961"/>
                <a:gd name="connsiteY4337" fmla="*/ 836731 h 3980066"/>
                <a:gd name="connsiteX4338" fmla="*/ 4060167 w 8387961"/>
                <a:gd name="connsiteY4338" fmla="*/ 836731 h 3980066"/>
                <a:gd name="connsiteX4339" fmla="*/ 4076869 w 8387961"/>
                <a:gd name="connsiteY4339" fmla="*/ 836731 h 3980066"/>
                <a:gd name="connsiteX4340" fmla="*/ 4103593 w 8387961"/>
                <a:gd name="connsiteY4340" fmla="*/ 856960 h 3980066"/>
                <a:gd name="connsiteX4341" fmla="*/ 4103593 w 8387961"/>
                <a:gd name="connsiteY4341" fmla="*/ 858646 h 3980066"/>
                <a:gd name="connsiteX4342" fmla="*/ 4096912 w 8387961"/>
                <a:gd name="connsiteY4342" fmla="*/ 865389 h 3980066"/>
                <a:gd name="connsiteX4343" fmla="*/ 4090231 w 8387961"/>
                <a:gd name="connsiteY4343" fmla="*/ 868761 h 3980066"/>
                <a:gd name="connsiteX4344" fmla="*/ 4090231 w 8387961"/>
                <a:gd name="connsiteY4344" fmla="*/ 872133 h 3980066"/>
                <a:gd name="connsiteX4345" fmla="*/ 4081957 w 8387961"/>
                <a:gd name="connsiteY4345" fmla="*/ 878814 h 3980066"/>
                <a:gd name="connsiteX4346" fmla="*/ 4082299 w 8387961"/>
                <a:gd name="connsiteY4346" fmla="*/ 878717 h 3980066"/>
                <a:gd name="connsiteX4347" fmla="*/ 4090658 w 8387961"/>
                <a:gd name="connsiteY4347" fmla="*/ 872089 h 3980066"/>
                <a:gd name="connsiteX4348" fmla="*/ 4090658 w 8387961"/>
                <a:gd name="connsiteY4348" fmla="*/ 868775 h 3980066"/>
                <a:gd name="connsiteX4349" fmla="*/ 4097346 w 8387961"/>
                <a:gd name="connsiteY4349" fmla="*/ 865460 h 3980066"/>
                <a:gd name="connsiteX4350" fmla="*/ 4104033 w 8387961"/>
                <a:gd name="connsiteY4350" fmla="*/ 858832 h 3980066"/>
                <a:gd name="connsiteX4351" fmla="*/ 4104033 w 8387961"/>
                <a:gd name="connsiteY4351" fmla="*/ 857175 h 3980066"/>
                <a:gd name="connsiteX4352" fmla="*/ 4130361 w 8387961"/>
                <a:gd name="connsiteY4352" fmla="*/ 858806 h 3980066"/>
                <a:gd name="connsiteX4353" fmla="*/ 4129625 w 8387961"/>
                <a:gd name="connsiteY4353" fmla="*/ 857329 h 3980066"/>
                <a:gd name="connsiteX4354" fmla="*/ 4102921 w 8387961"/>
                <a:gd name="connsiteY4354" fmla="*/ 855654 h 3980066"/>
                <a:gd name="connsiteX4355" fmla="*/ 4076216 w 8387961"/>
                <a:gd name="connsiteY4355" fmla="*/ 835547 h 3980066"/>
                <a:gd name="connsiteX4356" fmla="*/ 4059526 w 8387961"/>
                <a:gd name="connsiteY4356" fmla="*/ 835547 h 3980066"/>
                <a:gd name="connsiteX4357" fmla="*/ 4047843 w 8387961"/>
                <a:gd name="connsiteY4357" fmla="*/ 835547 h 3980066"/>
                <a:gd name="connsiteX4358" fmla="*/ 4041167 w 8387961"/>
                <a:gd name="connsiteY4358" fmla="*/ 827170 h 3980066"/>
                <a:gd name="connsiteX4359" fmla="*/ 4011124 w 8387961"/>
                <a:gd name="connsiteY4359" fmla="*/ 817116 h 3980066"/>
                <a:gd name="connsiteX4360" fmla="*/ 4007786 w 8387961"/>
                <a:gd name="connsiteY4360" fmla="*/ 817116 h 3980066"/>
                <a:gd name="connsiteX4361" fmla="*/ 4002779 w 8387961"/>
                <a:gd name="connsiteY4361" fmla="*/ 795334 h 3980066"/>
                <a:gd name="connsiteX4362" fmla="*/ 3991096 w 8387961"/>
                <a:gd name="connsiteY4362" fmla="*/ 763499 h 3980066"/>
                <a:gd name="connsiteX4363" fmla="*/ 3987758 w 8387961"/>
                <a:gd name="connsiteY4363" fmla="*/ 736690 h 3980066"/>
                <a:gd name="connsiteX4364" fmla="*/ 3996103 w 8387961"/>
                <a:gd name="connsiteY4364" fmla="*/ 735016 h 3980066"/>
                <a:gd name="connsiteX4365" fmla="*/ 5386030 w 8387961"/>
                <a:gd name="connsiteY4365" fmla="*/ 730373 h 3980066"/>
                <a:gd name="connsiteX4366" fmla="*/ 5386021 w 8387961"/>
                <a:gd name="connsiteY4366" fmla="*/ 730414 h 3980066"/>
                <a:gd name="connsiteX4367" fmla="*/ 5417778 w 8387961"/>
                <a:gd name="connsiteY4367" fmla="*/ 752146 h 3980066"/>
                <a:gd name="connsiteX4368" fmla="*/ 5447864 w 8387961"/>
                <a:gd name="connsiteY4368" fmla="*/ 772208 h 3980066"/>
                <a:gd name="connsiteX4369" fmla="*/ 5479621 w 8387961"/>
                <a:gd name="connsiteY4369" fmla="*/ 793941 h 3980066"/>
                <a:gd name="connsiteX4370" fmla="*/ 5513050 w 8387961"/>
                <a:gd name="connsiteY4370" fmla="*/ 815675 h 3980066"/>
                <a:gd name="connsiteX4371" fmla="*/ 5518065 w 8387961"/>
                <a:gd name="connsiteY4371" fmla="*/ 807316 h 3980066"/>
                <a:gd name="connsiteX4372" fmla="*/ 5534779 w 8387961"/>
                <a:gd name="connsiteY4372" fmla="*/ 814003 h 3980066"/>
                <a:gd name="connsiteX4373" fmla="*/ 5564865 w 8387961"/>
                <a:gd name="connsiteY4373" fmla="*/ 810659 h 3980066"/>
                <a:gd name="connsiteX4374" fmla="*/ 5596622 w 8387961"/>
                <a:gd name="connsiteY4374" fmla="*/ 830721 h 3980066"/>
                <a:gd name="connsiteX4375" fmla="*/ 5628379 w 8387961"/>
                <a:gd name="connsiteY4375" fmla="*/ 847439 h 3980066"/>
                <a:gd name="connsiteX4376" fmla="*/ 5658465 w 8387961"/>
                <a:gd name="connsiteY4376" fmla="*/ 842423 h 3980066"/>
                <a:gd name="connsiteX4377" fmla="*/ 5686880 w 8387961"/>
                <a:gd name="connsiteY4377" fmla="*/ 870844 h 3980066"/>
                <a:gd name="connsiteX4378" fmla="*/ 5676851 w 8387961"/>
                <a:gd name="connsiteY4378" fmla="*/ 890906 h 3980066"/>
                <a:gd name="connsiteX4379" fmla="*/ 5665151 w 8387961"/>
                <a:gd name="connsiteY4379" fmla="*/ 897593 h 3980066"/>
                <a:gd name="connsiteX4380" fmla="*/ 5665701 w 8387961"/>
                <a:gd name="connsiteY4380" fmla="*/ 899007 h 3980066"/>
                <a:gd name="connsiteX4381" fmla="*/ 5676638 w 8387961"/>
                <a:gd name="connsiteY4381" fmla="*/ 892754 h 3980066"/>
                <a:gd name="connsiteX4382" fmla="*/ 5686671 w 8387961"/>
                <a:gd name="connsiteY4382" fmla="*/ 872678 h 3980066"/>
                <a:gd name="connsiteX4383" fmla="*/ 5704469 w 8387961"/>
                <a:gd name="connsiteY4383" fmla="*/ 869441 h 3980066"/>
                <a:gd name="connsiteX4384" fmla="*/ 5703702 w 8387961"/>
                <a:gd name="connsiteY4384" fmla="*/ 867160 h 3980066"/>
                <a:gd name="connsiteX4385" fmla="*/ 5686480 w 8387961"/>
                <a:gd name="connsiteY4385" fmla="*/ 870288 h 3980066"/>
                <a:gd name="connsiteX4386" fmla="*/ 5658030 w 8387961"/>
                <a:gd name="connsiteY4386" fmla="*/ 841862 h 3980066"/>
                <a:gd name="connsiteX4387" fmla="*/ 5627905 w 8387961"/>
                <a:gd name="connsiteY4387" fmla="*/ 846879 h 3980066"/>
                <a:gd name="connsiteX4388" fmla="*/ 5596107 w 8387961"/>
                <a:gd name="connsiteY4388" fmla="*/ 830158 h 3980066"/>
                <a:gd name="connsiteX4389" fmla="*/ 5564309 w 8387961"/>
                <a:gd name="connsiteY4389" fmla="*/ 810092 h 3980066"/>
                <a:gd name="connsiteX4390" fmla="*/ 5534185 w 8387961"/>
                <a:gd name="connsiteY4390" fmla="*/ 813436 h 3980066"/>
                <a:gd name="connsiteX4391" fmla="*/ 5517449 w 8387961"/>
                <a:gd name="connsiteY4391" fmla="*/ 806748 h 3980066"/>
                <a:gd name="connsiteX4392" fmla="*/ 5512429 w 8387961"/>
                <a:gd name="connsiteY4392" fmla="*/ 815109 h 3980066"/>
                <a:gd name="connsiteX4393" fmla="*/ 5478957 w 8387961"/>
                <a:gd name="connsiteY4393" fmla="*/ 793371 h 3980066"/>
                <a:gd name="connsiteX4394" fmla="*/ 5447159 w 8387961"/>
                <a:gd name="connsiteY4394" fmla="*/ 771633 h 3980066"/>
                <a:gd name="connsiteX4395" fmla="*/ 5417035 w 8387961"/>
                <a:gd name="connsiteY4395" fmla="*/ 751568 h 3980066"/>
                <a:gd name="connsiteX4396" fmla="*/ 6847498 w 8387961"/>
                <a:gd name="connsiteY4396" fmla="*/ 717075 h 3980066"/>
                <a:gd name="connsiteX4397" fmla="*/ 6877512 w 8387961"/>
                <a:gd name="connsiteY4397" fmla="*/ 745299 h 3980066"/>
                <a:gd name="connsiteX4398" fmla="*/ 6907526 w 8387961"/>
                <a:gd name="connsiteY4398" fmla="*/ 773521 h 3980066"/>
                <a:gd name="connsiteX4399" fmla="*/ 6912529 w 8387961"/>
                <a:gd name="connsiteY4399" fmla="*/ 783482 h 3980066"/>
                <a:gd name="connsiteX4400" fmla="*/ 6944210 w 8387961"/>
                <a:gd name="connsiteY4400" fmla="*/ 808385 h 3980066"/>
                <a:gd name="connsiteX4401" fmla="*/ 6974225 w 8387961"/>
                <a:gd name="connsiteY4401" fmla="*/ 833287 h 3980066"/>
                <a:gd name="connsiteX4402" fmla="*/ 7004239 w 8387961"/>
                <a:gd name="connsiteY4402" fmla="*/ 858190 h 3980066"/>
                <a:gd name="connsiteX4403" fmla="*/ 7032586 w 8387961"/>
                <a:gd name="connsiteY4403" fmla="*/ 884753 h 3980066"/>
                <a:gd name="connsiteX4404" fmla="*/ 7020913 w 8387961"/>
                <a:gd name="connsiteY4404" fmla="*/ 874792 h 3980066"/>
                <a:gd name="connsiteX4405" fmla="*/ 6992567 w 8387961"/>
                <a:gd name="connsiteY4405" fmla="*/ 864831 h 3980066"/>
                <a:gd name="connsiteX4406" fmla="*/ 6984229 w 8387961"/>
                <a:gd name="connsiteY4406" fmla="*/ 864831 h 3980066"/>
                <a:gd name="connsiteX4407" fmla="*/ 6994234 w 8387961"/>
                <a:gd name="connsiteY4407" fmla="*/ 903015 h 3980066"/>
                <a:gd name="connsiteX4408" fmla="*/ 7040923 w 8387961"/>
                <a:gd name="connsiteY4408" fmla="*/ 937878 h 3980066"/>
                <a:gd name="connsiteX4409" fmla="*/ 7048513 w 8387961"/>
                <a:gd name="connsiteY4409" fmla="*/ 947496 h 3980066"/>
                <a:gd name="connsiteX4410" fmla="*/ 7027583 w 8387961"/>
                <a:gd name="connsiteY4410" fmla="*/ 937878 h 3980066"/>
                <a:gd name="connsiteX4411" fmla="*/ 7029251 w 8387961"/>
                <a:gd name="connsiteY4411" fmla="*/ 957801 h 3980066"/>
                <a:gd name="connsiteX4412" fmla="*/ 7022581 w 8387961"/>
                <a:gd name="connsiteY4412" fmla="*/ 957801 h 3980066"/>
                <a:gd name="connsiteX4413" fmla="*/ 7002571 w 8387961"/>
                <a:gd name="connsiteY4413" fmla="*/ 927917 h 3980066"/>
                <a:gd name="connsiteX4414" fmla="*/ 6982562 w 8387961"/>
                <a:gd name="connsiteY4414" fmla="*/ 904675 h 3980066"/>
                <a:gd name="connsiteX4415" fmla="*/ 6962552 w 8387961"/>
                <a:gd name="connsiteY4415" fmla="*/ 881432 h 3980066"/>
                <a:gd name="connsiteX4416" fmla="*/ 6944210 w 8387961"/>
                <a:gd name="connsiteY4416" fmla="*/ 851549 h 3980066"/>
                <a:gd name="connsiteX4417" fmla="*/ 6922533 w 8387961"/>
                <a:gd name="connsiteY4417" fmla="*/ 823326 h 3980066"/>
                <a:gd name="connsiteX4418" fmla="*/ 6899189 w 8387961"/>
                <a:gd name="connsiteY4418" fmla="*/ 798424 h 3980066"/>
                <a:gd name="connsiteX4419" fmla="*/ 6874177 w 8387961"/>
                <a:gd name="connsiteY4419" fmla="*/ 773521 h 3980066"/>
                <a:gd name="connsiteX4420" fmla="*/ 6850833 w 8387961"/>
                <a:gd name="connsiteY4420" fmla="*/ 746958 h 3980066"/>
                <a:gd name="connsiteX4421" fmla="*/ 6862505 w 8387961"/>
                <a:gd name="connsiteY4421" fmla="*/ 746958 h 3980066"/>
                <a:gd name="connsiteX4422" fmla="*/ 6862505 w 8387961"/>
                <a:gd name="connsiteY4422" fmla="*/ 736998 h 3980066"/>
                <a:gd name="connsiteX4423" fmla="*/ 6840828 w 8387961"/>
                <a:gd name="connsiteY4423" fmla="*/ 722056 h 3980066"/>
                <a:gd name="connsiteX4424" fmla="*/ 4166864 w 8387961"/>
                <a:gd name="connsiteY4424" fmla="*/ 705108 h 3980066"/>
                <a:gd name="connsiteX4425" fmla="*/ 4166864 w 8387961"/>
                <a:gd name="connsiteY4425" fmla="*/ 719060 h 3980066"/>
                <a:gd name="connsiteX4426" fmla="*/ 4188041 w 8387961"/>
                <a:gd name="connsiteY4426" fmla="*/ 721611 h 3980066"/>
                <a:gd name="connsiteX4427" fmla="*/ 4207387 w 8387961"/>
                <a:gd name="connsiteY4427" fmla="*/ 755596 h 3980066"/>
                <a:gd name="connsiteX4428" fmla="*/ 4208254 w 8387961"/>
                <a:gd name="connsiteY4428" fmla="*/ 754562 h 3980066"/>
                <a:gd name="connsiteX4429" fmla="*/ 4188376 w 8387961"/>
                <a:gd name="connsiteY4429" fmla="*/ 720012 h 3980066"/>
                <a:gd name="connsiteX4430" fmla="*/ 4188267 w 8387961"/>
                <a:gd name="connsiteY4430" fmla="*/ 720088 h 3980066"/>
                <a:gd name="connsiteX4431" fmla="*/ 4168077 w 8387961"/>
                <a:gd name="connsiteY4431" fmla="*/ 718435 h 3980066"/>
                <a:gd name="connsiteX4432" fmla="*/ 4168077 w 8387961"/>
                <a:gd name="connsiteY4432" fmla="*/ 705208 h 3980066"/>
                <a:gd name="connsiteX4433" fmla="*/ 5245317 w 8387961"/>
                <a:gd name="connsiteY4433" fmla="*/ 705003 h 3980066"/>
                <a:gd name="connsiteX4434" fmla="*/ 5245620 w 8387961"/>
                <a:gd name="connsiteY4434" fmla="*/ 705337 h 3980066"/>
                <a:gd name="connsiteX4435" fmla="*/ 5289078 w 8387961"/>
                <a:gd name="connsiteY4435" fmla="*/ 722054 h 3980066"/>
                <a:gd name="connsiteX4436" fmla="*/ 5307463 w 8387961"/>
                <a:gd name="connsiteY4436" fmla="*/ 730414 h 3980066"/>
                <a:gd name="connsiteX4437" fmla="*/ 5325849 w 8387961"/>
                <a:gd name="connsiteY4437" fmla="*/ 733757 h 3980066"/>
                <a:gd name="connsiteX4438" fmla="*/ 5355935 w 8387961"/>
                <a:gd name="connsiteY4438" fmla="*/ 722054 h 3980066"/>
                <a:gd name="connsiteX4439" fmla="*/ 5384349 w 8387961"/>
                <a:gd name="connsiteY4439" fmla="*/ 712023 h 3980066"/>
                <a:gd name="connsiteX4440" fmla="*/ 5388571 w 8387961"/>
                <a:gd name="connsiteY4440" fmla="*/ 714839 h 3980066"/>
                <a:gd name="connsiteX4441" fmla="*/ 5388584 w 8387961"/>
                <a:gd name="connsiteY4441" fmla="*/ 714782 h 3980066"/>
                <a:gd name="connsiteX4442" fmla="*/ 5383563 w 8387961"/>
                <a:gd name="connsiteY4442" fmla="*/ 711438 h 3980066"/>
                <a:gd name="connsiteX4443" fmla="*/ 5355112 w 8387961"/>
                <a:gd name="connsiteY4443" fmla="*/ 721471 h 3980066"/>
                <a:gd name="connsiteX4444" fmla="*/ 5324988 w 8387961"/>
                <a:gd name="connsiteY4444" fmla="*/ 733175 h 3980066"/>
                <a:gd name="connsiteX4445" fmla="*/ 5306579 w 8387961"/>
                <a:gd name="connsiteY4445" fmla="*/ 729831 h 3980066"/>
                <a:gd name="connsiteX4446" fmla="*/ 5288169 w 8387961"/>
                <a:gd name="connsiteY4446" fmla="*/ 721471 h 3980066"/>
                <a:gd name="connsiteX4447" fmla="*/ 3933363 w 8387961"/>
                <a:gd name="connsiteY4447" fmla="*/ 698997 h 3980066"/>
                <a:gd name="connsiteX4448" fmla="*/ 3936376 w 8387961"/>
                <a:gd name="connsiteY4448" fmla="*/ 701508 h 3980066"/>
                <a:gd name="connsiteX4449" fmla="*/ 3933363 w 8387961"/>
                <a:gd name="connsiteY4449" fmla="*/ 706530 h 3980066"/>
                <a:gd name="connsiteX4450" fmla="*/ 35286 w 8387961"/>
                <a:gd name="connsiteY4450" fmla="*/ 698997 h 3980066"/>
                <a:gd name="connsiteX4451" fmla="*/ 43687 w 8387961"/>
                <a:gd name="connsiteY4451" fmla="*/ 709166 h 3980066"/>
                <a:gd name="connsiteX4452" fmla="*/ 10082 w 8387961"/>
                <a:gd name="connsiteY4452" fmla="*/ 712555 h 3980066"/>
                <a:gd name="connsiteX4453" fmla="*/ 0 w 8387961"/>
                <a:gd name="connsiteY4453" fmla="*/ 710860 h 3980066"/>
                <a:gd name="connsiteX4454" fmla="*/ 7336453 w 8387961"/>
                <a:gd name="connsiteY4454" fmla="*/ 689959 h 3980066"/>
                <a:gd name="connsiteX4455" fmla="*/ 7367564 w 8387961"/>
                <a:gd name="connsiteY4455" fmla="*/ 703014 h 3980066"/>
                <a:gd name="connsiteX4456" fmla="*/ 7374114 w 8387961"/>
                <a:gd name="connsiteY4456" fmla="*/ 709542 h 3980066"/>
                <a:gd name="connsiteX4457" fmla="*/ 3511143 w 8387961"/>
                <a:gd name="connsiteY4457" fmla="*/ 689958 h 3980066"/>
                <a:gd name="connsiteX4458" fmla="*/ 3507747 w 8387961"/>
                <a:gd name="connsiteY4458" fmla="*/ 695051 h 3980066"/>
                <a:gd name="connsiteX4459" fmla="*/ 3490765 w 8387961"/>
                <a:gd name="connsiteY4459" fmla="*/ 715424 h 3980066"/>
                <a:gd name="connsiteX4460" fmla="*/ 3491823 w 8387961"/>
                <a:gd name="connsiteY4460" fmla="*/ 715713 h 3980066"/>
                <a:gd name="connsiteX4461" fmla="*/ 3507412 w 8387961"/>
                <a:gd name="connsiteY4461" fmla="*/ 696460 h 3980066"/>
                <a:gd name="connsiteX4462" fmla="*/ 3526054 w 8387961"/>
                <a:gd name="connsiteY4462" fmla="*/ 692971 h 3980066"/>
                <a:gd name="connsiteX4463" fmla="*/ 3539612 w 8387961"/>
                <a:gd name="connsiteY4463" fmla="*/ 710414 h 3980066"/>
                <a:gd name="connsiteX4464" fmla="*/ 3544697 w 8387961"/>
                <a:gd name="connsiteY4464" fmla="*/ 715647 h 3980066"/>
                <a:gd name="connsiteX4465" fmla="*/ 3528125 w 8387961"/>
                <a:gd name="connsiteY4465" fmla="*/ 725881 h 3980066"/>
                <a:gd name="connsiteX4466" fmla="*/ 3528125 w 8387961"/>
                <a:gd name="connsiteY4466" fmla="*/ 745985 h 3980066"/>
                <a:gd name="connsiteX4467" fmla="*/ 3528125 w 8387961"/>
                <a:gd name="connsiteY4467" fmla="*/ 769753 h 3980066"/>
                <a:gd name="connsiteX4468" fmla="*/ 3519634 w 8387961"/>
                <a:gd name="connsiteY4468" fmla="*/ 781637 h 3980066"/>
                <a:gd name="connsiteX4469" fmla="*/ 3495859 w 8387961"/>
                <a:gd name="connsiteY4469" fmla="*/ 783335 h 3980066"/>
                <a:gd name="connsiteX4470" fmla="*/ 3473783 w 8387961"/>
                <a:gd name="connsiteY4470" fmla="*/ 795219 h 3980066"/>
                <a:gd name="connsiteX4471" fmla="*/ 3448310 w 8387961"/>
                <a:gd name="connsiteY4471" fmla="*/ 796917 h 3980066"/>
                <a:gd name="connsiteX4472" fmla="*/ 3448310 w 8387961"/>
                <a:gd name="connsiteY4472" fmla="*/ 793521 h 3980066"/>
                <a:gd name="connsiteX4473" fmla="*/ 3439819 w 8387961"/>
                <a:gd name="connsiteY4473" fmla="*/ 793521 h 3980066"/>
                <a:gd name="connsiteX4474" fmla="*/ 3444914 w 8387961"/>
                <a:gd name="connsiteY4474" fmla="*/ 791824 h 3980066"/>
                <a:gd name="connsiteX4475" fmla="*/ 3434725 w 8387961"/>
                <a:gd name="connsiteY4475" fmla="*/ 786730 h 3980066"/>
                <a:gd name="connsiteX4476" fmla="*/ 3439819 w 8387961"/>
                <a:gd name="connsiteY4476" fmla="*/ 781637 h 3980066"/>
                <a:gd name="connsiteX4477" fmla="*/ 3434725 w 8387961"/>
                <a:gd name="connsiteY4477" fmla="*/ 779939 h 3980066"/>
                <a:gd name="connsiteX4478" fmla="*/ 3444914 w 8387961"/>
                <a:gd name="connsiteY4478" fmla="*/ 773148 h 3980066"/>
                <a:gd name="connsiteX4479" fmla="*/ 3465292 w 8387961"/>
                <a:gd name="connsiteY4479" fmla="*/ 762962 h 3980066"/>
                <a:gd name="connsiteX4480" fmla="*/ 3446612 w 8387961"/>
                <a:gd name="connsiteY4480" fmla="*/ 766357 h 3980066"/>
                <a:gd name="connsiteX4481" fmla="*/ 3465292 w 8387961"/>
                <a:gd name="connsiteY4481" fmla="*/ 749380 h 3980066"/>
                <a:gd name="connsiteX4482" fmla="*/ 3438121 w 8387961"/>
                <a:gd name="connsiteY4482" fmla="*/ 740891 h 3980066"/>
                <a:gd name="connsiteX4483" fmla="*/ 3448310 w 8387961"/>
                <a:gd name="connsiteY4483" fmla="*/ 730704 h 3980066"/>
                <a:gd name="connsiteX4484" fmla="*/ 3446612 w 8387961"/>
                <a:gd name="connsiteY4484" fmla="*/ 720518 h 3980066"/>
                <a:gd name="connsiteX4485" fmla="*/ 3475481 w 8387961"/>
                <a:gd name="connsiteY4485" fmla="*/ 718820 h 3980066"/>
                <a:gd name="connsiteX4486" fmla="*/ 3483972 w 8387961"/>
                <a:gd name="connsiteY4486" fmla="*/ 708633 h 3980066"/>
                <a:gd name="connsiteX4487" fmla="*/ 3475481 w 8387961"/>
                <a:gd name="connsiteY4487" fmla="*/ 703540 h 3980066"/>
                <a:gd name="connsiteX4488" fmla="*/ 3494161 w 8387961"/>
                <a:gd name="connsiteY4488" fmla="*/ 693354 h 3980066"/>
                <a:gd name="connsiteX4489" fmla="*/ 3500954 w 8387961"/>
                <a:gd name="connsiteY4489" fmla="*/ 693354 h 3980066"/>
                <a:gd name="connsiteX4490" fmla="*/ 3900220 w 8387961"/>
                <a:gd name="connsiteY4490" fmla="*/ 686947 h 3980066"/>
                <a:gd name="connsiteX4491" fmla="*/ 3906246 w 8387961"/>
                <a:gd name="connsiteY4491" fmla="*/ 692303 h 3980066"/>
                <a:gd name="connsiteX4492" fmla="*/ 3900220 w 8387961"/>
                <a:gd name="connsiteY4492" fmla="*/ 698998 h 3980066"/>
                <a:gd name="connsiteX4493" fmla="*/ 3886662 w 8387961"/>
                <a:gd name="connsiteY4493" fmla="*/ 688286 h 3980066"/>
                <a:gd name="connsiteX4494" fmla="*/ 5227920 w 8387961"/>
                <a:gd name="connsiteY4494" fmla="*/ 686356 h 3980066"/>
                <a:gd name="connsiteX4495" fmla="*/ 5206164 w 8387961"/>
                <a:gd name="connsiteY4495" fmla="*/ 689700 h 3980066"/>
                <a:gd name="connsiteX4496" fmla="*/ 5177713 w 8387961"/>
                <a:gd name="connsiteY4496" fmla="*/ 696389 h 3980066"/>
                <a:gd name="connsiteX4497" fmla="*/ 5152610 w 8387961"/>
                <a:gd name="connsiteY4497" fmla="*/ 704749 h 3980066"/>
                <a:gd name="connsiteX4498" fmla="*/ 5124159 w 8387961"/>
                <a:gd name="connsiteY4498" fmla="*/ 713110 h 3980066"/>
                <a:gd name="connsiteX4499" fmla="*/ 5095708 w 8387961"/>
                <a:gd name="connsiteY4499" fmla="*/ 721471 h 3980066"/>
                <a:gd name="connsiteX4500" fmla="*/ 5065584 w 8387961"/>
                <a:gd name="connsiteY4500" fmla="*/ 724814 h 3980066"/>
                <a:gd name="connsiteX4501" fmla="*/ 5035459 w 8387961"/>
                <a:gd name="connsiteY4501" fmla="*/ 731503 h 3980066"/>
                <a:gd name="connsiteX4502" fmla="*/ 5036695 w 8387961"/>
                <a:gd name="connsiteY4502" fmla="*/ 732084 h 3980066"/>
                <a:gd name="connsiteX4503" fmla="*/ 5066776 w 8387961"/>
                <a:gd name="connsiteY4503" fmla="*/ 725398 h 3980066"/>
                <a:gd name="connsiteX4504" fmla="*/ 5096862 w 8387961"/>
                <a:gd name="connsiteY4504" fmla="*/ 722054 h 3980066"/>
                <a:gd name="connsiteX4505" fmla="*/ 5125277 w 8387961"/>
                <a:gd name="connsiteY4505" fmla="*/ 713695 h 3980066"/>
                <a:gd name="connsiteX4506" fmla="*/ 5153691 w 8387961"/>
                <a:gd name="connsiteY4506" fmla="*/ 705337 h 3980066"/>
                <a:gd name="connsiteX4507" fmla="*/ 5178763 w 8387961"/>
                <a:gd name="connsiteY4507" fmla="*/ 696977 h 3980066"/>
                <a:gd name="connsiteX4508" fmla="*/ 5207177 w 8387961"/>
                <a:gd name="connsiteY4508" fmla="*/ 690291 h 3980066"/>
                <a:gd name="connsiteX4509" fmla="*/ 5228513 w 8387961"/>
                <a:gd name="connsiteY4509" fmla="*/ 687007 h 3980066"/>
                <a:gd name="connsiteX4510" fmla="*/ 3936526 w 8387961"/>
                <a:gd name="connsiteY4510" fmla="*/ 668869 h 3980066"/>
                <a:gd name="connsiteX4511" fmla="*/ 3943456 w 8387961"/>
                <a:gd name="connsiteY4511" fmla="*/ 672217 h 3980066"/>
                <a:gd name="connsiteX4512" fmla="*/ 3946921 w 8387961"/>
                <a:gd name="connsiteY4512" fmla="*/ 678912 h 3980066"/>
                <a:gd name="connsiteX4513" fmla="*/ 3938259 w 8387961"/>
                <a:gd name="connsiteY4513" fmla="*/ 685607 h 3980066"/>
                <a:gd name="connsiteX4514" fmla="*/ 3938259 w 8387961"/>
                <a:gd name="connsiteY4514" fmla="*/ 692302 h 3980066"/>
                <a:gd name="connsiteX4515" fmla="*/ 3931329 w 8387961"/>
                <a:gd name="connsiteY4515" fmla="*/ 698997 h 3980066"/>
                <a:gd name="connsiteX4516" fmla="*/ 3912272 w 8387961"/>
                <a:gd name="connsiteY4516" fmla="*/ 683933 h 3980066"/>
                <a:gd name="connsiteX4517" fmla="*/ 3912272 w 8387961"/>
                <a:gd name="connsiteY4517" fmla="*/ 678912 h 3980066"/>
                <a:gd name="connsiteX4518" fmla="*/ 3917469 w 8387961"/>
                <a:gd name="connsiteY4518" fmla="*/ 672217 h 3980066"/>
                <a:gd name="connsiteX4519" fmla="*/ 3927864 w 8387961"/>
                <a:gd name="connsiteY4519" fmla="*/ 675564 h 3980066"/>
                <a:gd name="connsiteX4520" fmla="*/ 3933061 w 8387961"/>
                <a:gd name="connsiteY4520" fmla="*/ 678912 h 3980066"/>
                <a:gd name="connsiteX4521" fmla="*/ 746827 w 8387961"/>
                <a:gd name="connsiteY4521" fmla="*/ 659829 h 3980066"/>
                <a:gd name="connsiteX4522" fmla="*/ 750216 w 8387961"/>
                <a:gd name="connsiteY4522" fmla="*/ 683828 h 3980066"/>
                <a:gd name="connsiteX4523" fmla="*/ 746827 w 8387961"/>
                <a:gd name="connsiteY4523" fmla="*/ 680400 h 3980066"/>
                <a:gd name="connsiteX4524" fmla="*/ 745132 w 8387961"/>
                <a:gd name="connsiteY4524" fmla="*/ 685543 h 3980066"/>
                <a:gd name="connsiteX4525" fmla="*/ 738353 w 8387961"/>
                <a:gd name="connsiteY4525" fmla="*/ 704399 h 3980066"/>
                <a:gd name="connsiteX4526" fmla="*/ 734964 w 8387961"/>
                <a:gd name="connsiteY4526" fmla="*/ 709542 h 3980066"/>
                <a:gd name="connsiteX4527" fmla="*/ 733269 w 8387961"/>
                <a:gd name="connsiteY4527" fmla="*/ 695828 h 3980066"/>
                <a:gd name="connsiteX4528" fmla="*/ 723100 w 8387961"/>
                <a:gd name="connsiteY4528" fmla="*/ 690686 h 3980066"/>
                <a:gd name="connsiteX4529" fmla="*/ 733269 w 8387961"/>
                <a:gd name="connsiteY4529" fmla="*/ 688971 h 3980066"/>
                <a:gd name="connsiteX4530" fmla="*/ 738353 w 8387961"/>
                <a:gd name="connsiteY4530" fmla="*/ 680400 h 3980066"/>
                <a:gd name="connsiteX4531" fmla="*/ 728184 w 8387961"/>
                <a:gd name="connsiteY4531" fmla="*/ 682114 h 3980066"/>
                <a:gd name="connsiteX4532" fmla="*/ 740048 w 8387961"/>
                <a:gd name="connsiteY4532" fmla="*/ 673543 h 3980066"/>
                <a:gd name="connsiteX4533" fmla="*/ 738353 w 8387961"/>
                <a:gd name="connsiteY4533" fmla="*/ 663258 h 3980066"/>
                <a:gd name="connsiteX4534" fmla="*/ 3534151 w 8387961"/>
                <a:gd name="connsiteY4534" fmla="*/ 656816 h 3980066"/>
                <a:gd name="connsiteX4535" fmla="*/ 3544696 w 8387961"/>
                <a:gd name="connsiteY4535" fmla="*/ 659829 h 3980066"/>
                <a:gd name="connsiteX4536" fmla="*/ 3534151 w 8387961"/>
                <a:gd name="connsiteY4536" fmla="*/ 662842 h 3980066"/>
                <a:gd name="connsiteX4537" fmla="*/ 735904 w 8387961"/>
                <a:gd name="connsiteY4537" fmla="*/ 646271 h 3980066"/>
                <a:gd name="connsiteX4538" fmla="*/ 745696 w 8387961"/>
                <a:gd name="connsiteY4538" fmla="*/ 652799 h 3980066"/>
                <a:gd name="connsiteX4539" fmla="*/ 726112 w 8387961"/>
                <a:gd name="connsiteY4539" fmla="*/ 665855 h 3980066"/>
                <a:gd name="connsiteX4540" fmla="*/ 754484 w 8387961"/>
                <a:gd name="connsiteY4540" fmla="*/ 638739 h 3980066"/>
                <a:gd name="connsiteX4541" fmla="*/ 766786 w 8387961"/>
                <a:gd name="connsiteY4541" fmla="*/ 648325 h 3980066"/>
                <a:gd name="connsiteX4542" fmla="*/ 765029 w 8387961"/>
                <a:gd name="connsiteY4542" fmla="*/ 652160 h 3980066"/>
                <a:gd name="connsiteX4543" fmla="*/ 757999 w 8387961"/>
                <a:gd name="connsiteY4543" fmla="*/ 650243 h 3980066"/>
                <a:gd name="connsiteX4544" fmla="*/ 754484 w 8387961"/>
                <a:gd name="connsiteY4544" fmla="*/ 659829 h 3980066"/>
                <a:gd name="connsiteX4545" fmla="*/ 745696 w 8387961"/>
                <a:gd name="connsiteY4545" fmla="*/ 654077 h 3980066"/>
                <a:gd name="connsiteX4546" fmla="*/ 736658 w 8387961"/>
                <a:gd name="connsiteY4546" fmla="*/ 629700 h 3980066"/>
                <a:gd name="connsiteX4547" fmla="*/ 715568 w 8387961"/>
                <a:gd name="connsiteY4547" fmla="*/ 665855 h 3980066"/>
                <a:gd name="connsiteX4548" fmla="*/ 722597 w 8387961"/>
                <a:gd name="connsiteY4548" fmla="*/ 636587 h 3980066"/>
                <a:gd name="connsiteX4549" fmla="*/ 3529631 w 8387961"/>
                <a:gd name="connsiteY4549" fmla="*/ 626687 h 3980066"/>
                <a:gd name="connsiteX4550" fmla="*/ 3535657 w 8387961"/>
                <a:gd name="connsiteY4550" fmla="*/ 629365 h 3980066"/>
                <a:gd name="connsiteX4551" fmla="*/ 3544696 w 8387961"/>
                <a:gd name="connsiteY4551" fmla="*/ 634722 h 3980066"/>
                <a:gd name="connsiteX4552" fmla="*/ 3540176 w 8387961"/>
                <a:gd name="connsiteY4552" fmla="*/ 638739 h 3980066"/>
                <a:gd name="connsiteX4553" fmla="*/ 3525112 w 8387961"/>
                <a:gd name="connsiteY4553" fmla="*/ 632044 h 3980066"/>
                <a:gd name="connsiteX4554" fmla="*/ 3898714 w 8387961"/>
                <a:gd name="connsiteY4554" fmla="*/ 622169 h 3980066"/>
                <a:gd name="connsiteX4555" fmla="*/ 3890374 w 8387961"/>
                <a:gd name="connsiteY4555" fmla="*/ 642255 h 3980066"/>
                <a:gd name="connsiteX4556" fmla="*/ 3857017 w 8387961"/>
                <a:gd name="connsiteY4556" fmla="*/ 643929 h 3980066"/>
                <a:gd name="connsiteX4557" fmla="*/ 3852014 w 8387961"/>
                <a:gd name="connsiteY4557" fmla="*/ 652297 h 3980066"/>
                <a:gd name="connsiteX4558" fmla="*/ 3855349 w 8387961"/>
                <a:gd name="connsiteY4558" fmla="*/ 640581 h 3980066"/>
                <a:gd name="connsiteX4559" fmla="*/ 3877032 w 8387961"/>
                <a:gd name="connsiteY4559" fmla="*/ 635560 h 3980066"/>
                <a:gd name="connsiteX4560" fmla="*/ 4076476 w 8387961"/>
                <a:gd name="connsiteY4560" fmla="*/ 619155 h 3980066"/>
                <a:gd name="connsiteX4561" fmla="*/ 4076476 w 8387961"/>
                <a:gd name="connsiteY4561" fmla="*/ 624717 h 3980066"/>
                <a:gd name="connsiteX4562" fmla="*/ 4069697 w 8387961"/>
                <a:gd name="connsiteY4562" fmla="*/ 641405 h 3980066"/>
                <a:gd name="connsiteX4563" fmla="*/ 4068002 w 8387961"/>
                <a:gd name="connsiteY4563" fmla="*/ 643258 h 3980066"/>
                <a:gd name="connsiteX4564" fmla="*/ 4062918 w 8387961"/>
                <a:gd name="connsiteY4564" fmla="*/ 632134 h 3980066"/>
                <a:gd name="connsiteX4565" fmla="*/ 357521 w 8387961"/>
                <a:gd name="connsiteY4565" fmla="*/ 616142 h 3980066"/>
                <a:gd name="connsiteX4566" fmla="*/ 363999 w 8387961"/>
                <a:gd name="connsiteY4566" fmla="*/ 620661 h 3980066"/>
                <a:gd name="connsiteX4567" fmla="*/ 367238 w 8387961"/>
                <a:gd name="connsiteY4567" fmla="*/ 620661 h 3980066"/>
                <a:gd name="connsiteX4568" fmla="*/ 365619 w 8387961"/>
                <a:gd name="connsiteY4568" fmla="*/ 623675 h 3980066"/>
                <a:gd name="connsiteX4569" fmla="*/ 372096 w 8387961"/>
                <a:gd name="connsiteY4569" fmla="*/ 625181 h 3980066"/>
                <a:gd name="connsiteX4570" fmla="*/ 352663 w 8387961"/>
                <a:gd name="connsiteY4570" fmla="*/ 631207 h 3980066"/>
                <a:gd name="connsiteX4571" fmla="*/ 347805 w 8387961"/>
                <a:gd name="connsiteY4571" fmla="*/ 632713 h 3980066"/>
                <a:gd name="connsiteX4572" fmla="*/ 321893 w 8387961"/>
                <a:gd name="connsiteY4572" fmla="*/ 640245 h 3980066"/>
                <a:gd name="connsiteX4573" fmla="*/ 307318 w 8387961"/>
                <a:gd name="connsiteY4573" fmla="*/ 649284 h 3980066"/>
                <a:gd name="connsiteX4574" fmla="*/ 318655 w 8387961"/>
                <a:gd name="connsiteY4574" fmla="*/ 640245 h 3980066"/>
                <a:gd name="connsiteX4575" fmla="*/ 312177 w 8387961"/>
                <a:gd name="connsiteY4575" fmla="*/ 640245 h 3980066"/>
                <a:gd name="connsiteX4576" fmla="*/ 308938 w 8387961"/>
                <a:gd name="connsiteY4576" fmla="*/ 643258 h 3980066"/>
                <a:gd name="connsiteX4577" fmla="*/ 308938 w 8387961"/>
                <a:gd name="connsiteY4577" fmla="*/ 634220 h 3980066"/>
                <a:gd name="connsiteX4578" fmla="*/ 326752 w 8387961"/>
                <a:gd name="connsiteY4578" fmla="*/ 625181 h 3980066"/>
                <a:gd name="connsiteX4579" fmla="*/ 328371 w 8387961"/>
                <a:gd name="connsiteY4579" fmla="*/ 634220 h 3980066"/>
                <a:gd name="connsiteX4580" fmla="*/ 336468 w 8387961"/>
                <a:gd name="connsiteY4580" fmla="*/ 623675 h 3980066"/>
                <a:gd name="connsiteX4581" fmla="*/ 346185 w 8387961"/>
                <a:gd name="connsiteY4581" fmla="*/ 622168 h 3980066"/>
                <a:gd name="connsiteX4582" fmla="*/ 354282 w 8387961"/>
                <a:gd name="connsiteY4582" fmla="*/ 622168 h 3980066"/>
                <a:gd name="connsiteX4583" fmla="*/ 763105 w 8387961"/>
                <a:gd name="connsiteY4583" fmla="*/ 608610 h 3980066"/>
                <a:gd name="connsiteX4584" fmla="*/ 769800 w 8387961"/>
                <a:gd name="connsiteY4584" fmla="*/ 610343 h 3980066"/>
                <a:gd name="connsiteX4585" fmla="*/ 768126 w 8387961"/>
                <a:gd name="connsiteY4585" fmla="*/ 625934 h 3980066"/>
                <a:gd name="connsiteX4586" fmla="*/ 759757 w 8387961"/>
                <a:gd name="connsiteY4586" fmla="*/ 629399 h 3980066"/>
                <a:gd name="connsiteX4587" fmla="*/ 739671 w 8387961"/>
                <a:gd name="connsiteY4587" fmla="*/ 643259 h 3980066"/>
                <a:gd name="connsiteX4588" fmla="*/ 744693 w 8387961"/>
                <a:gd name="connsiteY4588" fmla="*/ 634597 h 3980066"/>
                <a:gd name="connsiteX4589" fmla="*/ 3534151 w 8387961"/>
                <a:gd name="connsiteY4589" fmla="*/ 605597 h 3980066"/>
                <a:gd name="connsiteX4590" fmla="*/ 3534151 w 8387961"/>
                <a:gd name="connsiteY4590" fmla="*/ 610116 h 3980066"/>
                <a:gd name="connsiteX4591" fmla="*/ 3517580 w 8387961"/>
                <a:gd name="connsiteY4591" fmla="*/ 619155 h 3980066"/>
                <a:gd name="connsiteX4592" fmla="*/ 3520593 w 8387961"/>
                <a:gd name="connsiteY4592" fmla="*/ 611623 h 3980066"/>
                <a:gd name="connsiteX4593" fmla="*/ 745194 w 8387961"/>
                <a:gd name="connsiteY4593" fmla="*/ 605597 h 3980066"/>
                <a:gd name="connsiteX4594" fmla="*/ 740173 w 8387961"/>
                <a:gd name="connsiteY4594" fmla="*/ 613631 h 3980066"/>
                <a:gd name="connsiteX4595" fmla="*/ 748542 w 8387961"/>
                <a:gd name="connsiteY4595" fmla="*/ 615238 h 3980066"/>
                <a:gd name="connsiteX4596" fmla="*/ 750216 w 8387961"/>
                <a:gd name="connsiteY4596" fmla="*/ 620059 h 3980066"/>
                <a:gd name="connsiteX4597" fmla="*/ 735151 w 8387961"/>
                <a:gd name="connsiteY4597" fmla="*/ 613631 h 3980066"/>
                <a:gd name="connsiteX4598" fmla="*/ 740173 w 8387961"/>
                <a:gd name="connsiteY4598" fmla="*/ 621666 h 3980066"/>
                <a:gd name="connsiteX4599" fmla="*/ 745194 w 8387961"/>
                <a:gd name="connsiteY4599" fmla="*/ 628093 h 3980066"/>
                <a:gd name="connsiteX4600" fmla="*/ 730130 w 8387961"/>
                <a:gd name="connsiteY4600" fmla="*/ 620059 h 3980066"/>
                <a:gd name="connsiteX4601" fmla="*/ 726782 w 8387961"/>
                <a:gd name="connsiteY4601" fmla="*/ 629700 h 3980066"/>
                <a:gd name="connsiteX4602" fmla="*/ 720087 w 8387961"/>
                <a:gd name="connsiteY4602" fmla="*/ 620059 h 3980066"/>
                <a:gd name="connsiteX4603" fmla="*/ 728456 w 8387961"/>
                <a:gd name="connsiteY4603" fmla="*/ 618452 h 3980066"/>
                <a:gd name="connsiteX4604" fmla="*/ 730130 w 8387961"/>
                <a:gd name="connsiteY4604" fmla="*/ 612024 h 3980066"/>
                <a:gd name="connsiteX4605" fmla="*/ 4166676 w 8387961"/>
                <a:gd name="connsiteY4605" fmla="*/ 599571 h 3980066"/>
                <a:gd name="connsiteX4606" fmla="*/ 4169877 w 8387961"/>
                <a:gd name="connsiteY4606" fmla="*/ 601509 h 3980066"/>
                <a:gd name="connsiteX4607" fmla="*/ 4147468 w 8387961"/>
                <a:gd name="connsiteY4607" fmla="*/ 613129 h 3980066"/>
                <a:gd name="connsiteX4608" fmla="*/ 4144267 w 8387961"/>
                <a:gd name="connsiteY4608" fmla="*/ 601509 h 3980066"/>
                <a:gd name="connsiteX4609" fmla="*/ 3567041 w 8387961"/>
                <a:gd name="connsiteY4609" fmla="*/ 599571 h 3980066"/>
                <a:gd name="connsiteX4610" fmla="*/ 3602089 w 8387961"/>
                <a:gd name="connsiteY4610" fmla="*/ 601245 h 3980066"/>
                <a:gd name="connsiteX4611" fmla="*/ 3585400 w 8387961"/>
                <a:gd name="connsiteY4611" fmla="*/ 621331 h 3980066"/>
                <a:gd name="connsiteX4612" fmla="*/ 3577055 w 8387961"/>
                <a:gd name="connsiteY4612" fmla="*/ 624679 h 3980066"/>
                <a:gd name="connsiteX4613" fmla="*/ 3587068 w 8387961"/>
                <a:gd name="connsiteY4613" fmla="*/ 626352 h 3980066"/>
                <a:gd name="connsiteX4614" fmla="*/ 3630460 w 8387961"/>
                <a:gd name="connsiteY4614" fmla="*/ 626352 h 3980066"/>
                <a:gd name="connsiteX4615" fmla="*/ 3607096 w 8387961"/>
                <a:gd name="connsiteY4615" fmla="*/ 659829 h 3980066"/>
                <a:gd name="connsiteX4616" fmla="*/ 3598751 w 8387961"/>
                <a:gd name="connsiteY4616" fmla="*/ 661503 h 3980066"/>
                <a:gd name="connsiteX4617" fmla="*/ 3610433 w 8387961"/>
                <a:gd name="connsiteY4617" fmla="*/ 664851 h 3980066"/>
                <a:gd name="connsiteX4618" fmla="*/ 3592075 w 8387961"/>
                <a:gd name="connsiteY4618" fmla="*/ 671546 h 3980066"/>
                <a:gd name="connsiteX4619" fmla="*/ 3622116 w 8387961"/>
                <a:gd name="connsiteY4619" fmla="*/ 674895 h 3980066"/>
                <a:gd name="connsiteX4620" fmla="*/ 3647150 w 8387961"/>
                <a:gd name="connsiteY4620" fmla="*/ 711719 h 3980066"/>
                <a:gd name="connsiteX4621" fmla="*/ 3665508 w 8387961"/>
                <a:gd name="connsiteY4621" fmla="*/ 726783 h 3980066"/>
                <a:gd name="connsiteX4622" fmla="*/ 3667177 w 8387961"/>
                <a:gd name="connsiteY4622" fmla="*/ 740174 h 3980066"/>
                <a:gd name="connsiteX4623" fmla="*/ 3658832 w 8387961"/>
                <a:gd name="connsiteY4623" fmla="*/ 736827 h 3980066"/>
                <a:gd name="connsiteX4624" fmla="*/ 3677190 w 8387961"/>
                <a:gd name="connsiteY4624" fmla="*/ 753565 h 3980066"/>
                <a:gd name="connsiteX4625" fmla="*/ 3675521 w 8387961"/>
                <a:gd name="connsiteY4625" fmla="*/ 761934 h 3980066"/>
                <a:gd name="connsiteX4626" fmla="*/ 3700555 w 8387961"/>
                <a:gd name="connsiteY4626" fmla="*/ 761934 h 3980066"/>
                <a:gd name="connsiteX4627" fmla="*/ 3708900 w 8387961"/>
                <a:gd name="connsiteY4627" fmla="*/ 771977 h 3980066"/>
                <a:gd name="connsiteX4628" fmla="*/ 3688873 w 8387961"/>
                <a:gd name="connsiteY4628" fmla="*/ 793737 h 3980066"/>
                <a:gd name="connsiteX4629" fmla="*/ 3680528 w 8387961"/>
                <a:gd name="connsiteY4629" fmla="*/ 800433 h 3980066"/>
                <a:gd name="connsiteX4630" fmla="*/ 3700555 w 8387961"/>
                <a:gd name="connsiteY4630" fmla="*/ 805454 h 3980066"/>
                <a:gd name="connsiteX4631" fmla="*/ 3675521 w 8387961"/>
                <a:gd name="connsiteY4631" fmla="*/ 822193 h 3980066"/>
                <a:gd name="connsiteX4632" fmla="*/ 3635467 w 8387961"/>
                <a:gd name="connsiteY4632" fmla="*/ 822193 h 3980066"/>
                <a:gd name="connsiteX4633" fmla="*/ 3608764 w 8387961"/>
                <a:gd name="connsiteY4633" fmla="*/ 823866 h 3980066"/>
                <a:gd name="connsiteX4634" fmla="*/ 3588737 w 8387961"/>
                <a:gd name="connsiteY4634" fmla="*/ 827214 h 3980066"/>
                <a:gd name="connsiteX4635" fmla="*/ 3580393 w 8387961"/>
                <a:gd name="connsiteY4635" fmla="*/ 835583 h 3980066"/>
                <a:gd name="connsiteX4636" fmla="*/ 3552021 w 8387961"/>
                <a:gd name="connsiteY4636" fmla="*/ 840605 h 3980066"/>
                <a:gd name="connsiteX4637" fmla="*/ 3547014 w 8387961"/>
                <a:gd name="connsiteY4637" fmla="*/ 840605 h 3980066"/>
                <a:gd name="connsiteX4638" fmla="*/ 3538670 w 8387961"/>
                <a:gd name="connsiteY4638" fmla="*/ 837257 h 3980066"/>
                <a:gd name="connsiteX4639" fmla="*/ 3560366 w 8387961"/>
                <a:gd name="connsiteY4639" fmla="*/ 823866 h 3980066"/>
                <a:gd name="connsiteX4640" fmla="*/ 3582062 w 8387961"/>
                <a:gd name="connsiteY4640" fmla="*/ 807128 h 3980066"/>
                <a:gd name="connsiteX4641" fmla="*/ 3602089 w 8387961"/>
                <a:gd name="connsiteY4641" fmla="*/ 803780 h 3980066"/>
                <a:gd name="connsiteX4642" fmla="*/ 3612102 w 8387961"/>
                <a:gd name="connsiteY4642" fmla="*/ 793737 h 3980066"/>
                <a:gd name="connsiteX4643" fmla="*/ 3587068 w 8387961"/>
                <a:gd name="connsiteY4643" fmla="*/ 802106 h 3980066"/>
                <a:gd name="connsiteX4644" fmla="*/ 3577055 w 8387961"/>
                <a:gd name="connsiteY4644" fmla="*/ 795411 h 3980066"/>
                <a:gd name="connsiteX4645" fmla="*/ 3552021 w 8387961"/>
                <a:gd name="connsiteY4645" fmla="*/ 792063 h 3980066"/>
                <a:gd name="connsiteX4646" fmla="*/ 3557028 w 8387961"/>
                <a:gd name="connsiteY4646" fmla="*/ 785368 h 3980066"/>
                <a:gd name="connsiteX4647" fmla="*/ 3577055 w 8387961"/>
                <a:gd name="connsiteY4647" fmla="*/ 770303 h 3980066"/>
                <a:gd name="connsiteX4648" fmla="*/ 3570379 w 8387961"/>
                <a:gd name="connsiteY4648" fmla="*/ 760260 h 3980066"/>
                <a:gd name="connsiteX4649" fmla="*/ 3565372 w 8387961"/>
                <a:gd name="connsiteY4649" fmla="*/ 760260 h 3980066"/>
                <a:gd name="connsiteX4650" fmla="*/ 3595413 w 8387961"/>
                <a:gd name="connsiteY4650" fmla="*/ 746869 h 3980066"/>
                <a:gd name="connsiteX4651" fmla="*/ 3602089 w 8387961"/>
                <a:gd name="connsiteY4651" fmla="*/ 745196 h 3980066"/>
                <a:gd name="connsiteX4652" fmla="*/ 3600420 w 8387961"/>
                <a:gd name="connsiteY4652" fmla="*/ 721762 h 3980066"/>
                <a:gd name="connsiteX4653" fmla="*/ 3590406 w 8387961"/>
                <a:gd name="connsiteY4653" fmla="*/ 710045 h 3980066"/>
                <a:gd name="connsiteX4654" fmla="*/ 3597082 w 8387961"/>
                <a:gd name="connsiteY4654" fmla="*/ 700002 h 3980066"/>
                <a:gd name="connsiteX4655" fmla="*/ 3572048 w 8387961"/>
                <a:gd name="connsiteY4655" fmla="*/ 705023 h 3980066"/>
                <a:gd name="connsiteX4656" fmla="*/ 3560366 w 8387961"/>
                <a:gd name="connsiteY4656" fmla="*/ 710045 h 3980066"/>
                <a:gd name="connsiteX4657" fmla="*/ 3558697 w 8387961"/>
                <a:gd name="connsiteY4657" fmla="*/ 694981 h 3980066"/>
                <a:gd name="connsiteX4658" fmla="*/ 3562035 w 8387961"/>
                <a:gd name="connsiteY4658" fmla="*/ 681589 h 3980066"/>
                <a:gd name="connsiteX4659" fmla="*/ 3565372 w 8387961"/>
                <a:gd name="connsiteY4659" fmla="*/ 673220 h 3980066"/>
                <a:gd name="connsiteX4660" fmla="*/ 3560366 w 8387961"/>
                <a:gd name="connsiteY4660" fmla="*/ 671546 h 3980066"/>
                <a:gd name="connsiteX4661" fmla="*/ 3552021 w 8387961"/>
                <a:gd name="connsiteY4661" fmla="*/ 671546 h 3980066"/>
                <a:gd name="connsiteX4662" fmla="*/ 3540339 w 8387961"/>
                <a:gd name="connsiteY4662" fmla="*/ 691633 h 3980066"/>
                <a:gd name="connsiteX4663" fmla="*/ 3552021 w 8387961"/>
                <a:gd name="connsiteY4663" fmla="*/ 653134 h 3980066"/>
                <a:gd name="connsiteX4664" fmla="*/ 3555359 w 8387961"/>
                <a:gd name="connsiteY4664" fmla="*/ 651460 h 3980066"/>
                <a:gd name="connsiteX4665" fmla="*/ 3538670 w 8387961"/>
                <a:gd name="connsiteY4665" fmla="*/ 654808 h 3980066"/>
                <a:gd name="connsiteX4666" fmla="*/ 3542008 w 8387961"/>
                <a:gd name="connsiteY4666" fmla="*/ 653134 h 3980066"/>
                <a:gd name="connsiteX4667" fmla="*/ 3538670 w 8387961"/>
                <a:gd name="connsiteY4667" fmla="*/ 649787 h 3980066"/>
                <a:gd name="connsiteX4668" fmla="*/ 3547014 w 8387961"/>
                <a:gd name="connsiteY4668" fmla="*/ 636396 h 3980066"/>
                <a:gd name="connsiteX4669" fmla="*/ 3547014 w 8387961"/>
                <a:gd name="connsiteY4669" fmla="*/ 633048 h 3980066"/>
                <a:gd name="connsiteX4670" fmla="*/ 3547014 w 8387961"/>
                <a:gd name="connsiteY4670" fmla="*/ 629701 h 3980066"/>
                <a:gd name="connsiteX4671" fmla="*/ 3548683 w 8387961"/>
                <a:gd name="connsiteY4671" fmla="*/ 619657 h 3980066"/>
                <a:gd name="connsiteX4672" fmla="*/ 3557028 w 8387961"/>
                <a:gd name="connsiteY4672" fmla="*/ 616310 h 3980066"/>
                <a:gd name="connsiteX4673" fmla="*/ 3558697 w 8387961"/>
                <a:gd name="connsiteY4673" fmla="*/ 606266 h 3980066"/>
                <a:gd name="connsiteX4674" fmla="*/ 4151388 w 8387961"/>
                <a:gd name="connsiteY4674" fmla="*/ 589026 h 3980066"/>
                <a:gd name="connsiteX4675" fmla="*/ 4163851 w 8387961"/>
                <a:gd name="connsiteY4675" fmla="*/ 592039 h 3980066"/>
                <a:gd name="connsiteX4676" fmla="*/ 4144267 w 8387961"/>
                <a:gd name="connsiteY4676" fmla="*/ 592039 h 3980066"/>
                <a:gd name="connsiteX4677" fmla="*/ 7184300 w 8387961"/>
                <a:gd name="connsiteY4677" fmla="*/ 578480 h 3980066"/>
                <a:gd name="connsiteX4678" fmla="*/ 7193339 w 8387961"/>
                <a:gd name="connsiteY4678" fmla="*/ 584232 h 3980066"/>
                <a:gd name="connsiteX4679" fmla="*/ 7184300 w 8387961"/>
                <a:gd name="connsiteY4679" fmla="*/ 599570 h 3980066"/>
                <a:gd name="connsiteX4680" fmla="*/ 7176768 w 8387961"/>
                <a:gd name="connsiteY4680" fmla="*/ 588067 h 3980066"/>
                <a:gd name="connsiteX4681" fmla="*/ 722498 w 8387961"/>
                <a:gd name="connsiteY4681" fmla="*/ 556211 h 3980066"/>
                <a:gd name="connsiteX4682" fmla="*/ 719463 w 8387961"/>
                <a:gd name="connsiteY4682" fmla="*/ 557727 h 3980066"/>
                <a:gd name="connsiteX4683" fmla="*/ 724483 w 8387961"/>
                <a:gd name="connsiteY4683" fmla="*/ 564415 h 3980066"/>
                <a:gd name="connsiteX4684" fmla="*/ 724483 w 8387961"/>
                <a:gd name="connsiteY4684" fmla="*/ 592838 h 3980066"/>
                <a:gd name="connsiteX4685" fmla="*/ 744566 w 8387961"/>
                <a:gd name="connsiteY4685" fmla="*/ 584478 h 3980066"/>
                <a:gd name="connsiteX4686" fmla="*/ 759628 w 8387961"/>
                <a:gd name="connsiteY4686" fmla="*/ 576119 h 3980066"/>
                <a:gd name="connsiteX4687" fmla="*/ 789751 w 8387961"/>
                <a:gd name="connsiteY4687" fmla="*/ 566087 h 3980066"/>
                <a:gd name="connsiteX4688" fmla="*/ 798119 w 8387961"/>
                <a:gd name="connsiteY4688" fmla="*/ 596182 h 3980066"/>
                <a:gd name="connsiteX4689" fmla="*/ 793098 w 8387961"/>
                <a:gd name="connsiteY4689" fmla="*/ 622933 h 3980066"/>
                <a:gd name="connsiteX4690" fmla="*/ 786404 w 8387961"/>
                <a:gd name="connsiteY4690" fmla="*/ 648012 h 3980066"/>
                <a:gd name="connsiteX4691" fmla="*/ 798119 w 8387961"/>
                <a:gd name="connsiteY4691" fmla="*/ 663059 h 3980066"/>
                <a:gd name="connsiteX4692" fmla="*/ 808160 w 8387961"/>
                <a:gd name="connsiteY4692" fmla="*/ 674763 h 3980066"/>
                <a:gd name="connsiteX4693" fmla="*/ 807792 w 8387961"/>
                <a:gd name="connsiteY4693" fmla="*/ 675268 h 3980066"/>
                <a:gd name="connsiteX4694" fmla="*/ 810311 w 8387961"/>
                <a:gd name="connsiteY4694" fmla="*/ 672385 h 3980066"/>
                <a:gd name="connsiteX4695" fmla="*/ 800283 w 8387961"/>
                <a:gd name="connsiteY4695" fmla="*/ 660663 h 3980066"/>
                <a:gd name="connsiteX4696" fmla="*/ 788581 w 8387961"/>
                <a:gd name="connsiteY4696" fmla="*/ 645593 h 3980066"/>
                <a:gd name="connsiteX4697" fmla="*/ 795268 w 8387961"/>
                <a:gd name="connsiteY4697" fmla="*/ 620475 h 3980066"/>
                <a:gd name="connsiteX4698" fmla="*/ 800283 w 8387961"/>
                <a:gd name="connsiteY4698" fmla="*/ 593683 h 3980066"/>
                <a:gd name="connsiteX4699" fmla="*/ 791924 w 8387961"/>
                <a:gd name="connsiteY4699" fmla="*/ 563542 h 3980066"/>
                <a:gd name="connsiteX4700" fmla="*/ 761844 w 8387961"/>
                <a:gd name="connsiteY4700" fmla="*/ 573589 h 3980066"/>
                <a:gd name="connsiteX4701" fmla="*/ 746792 w 8387961"/>
                <a:gd name="connsiteY4701" fmla="*/ 581961 h 3980066"/>
                <a:gd name="connsiteX4702" fmla="*/ 726733 w 8387961"/>
                <a:gd name="connsiteY4702" fmla="*/ 590334 h 3980066"/>
                <a:gd name="connsiteX4703" fmla="*/ 726733 w 8387961"/>
                <a:gd name="connsiteY4703" fmla="*/ 561867 h 3980066"/>
                <a:gd name="connsiteX4704" fmla="*/ 690662 w 8387961"/>
                <a:gd name="connsiteY4704" fmla="*/ 550145 h 3980066"/>
                <a:gd name="connsiteX4705" fmla="*/ 687666 w 8387961"/>
                <a:gd name="connsiteY4705" fmla="*/ 552711 h 3980066"/>
                <a:gd name="connsiteX4706" fmla="*/ 726627 w 8387961"/>
                <a:gd name="connsiteY4706" fmla="*/ 552711 h 3980066"/>
                <a:gd name="connsiteX4707" fmla="*/ 731752 w 8387961"/>
                <a:gd name="connsiteY4707" fmla="*/ 550145 h 3980066"/>
                <a:gd name="connsiteX4708" fmla="*/ 156672 w 8387961"/>
                <a:gd name="connsiteY4708" fmla="*/ 548351 h 3980066"/>
                <a:gd name="connsiteX4709" fmla="*/ 156672 w 8387961"/>
                <a:gd name="connsiteY4709" fmla="*/ 560214 h 3980066"/>
                <a:gd name="connsiteX4710" fmla="*/ 145572 w 8387961"/>
                <a:gd name="connsiteY4710" fmla="*/ 561909 h 3980066"/>
                <a:gd name="connsiteX4711" fmla="*/ 126543 w 8387961"/>
                <a:gd name="connsiteY4711" fmla="*/ 555130 h 3980066"/>
                <a:gd name="connsiteX4712" fmla="*/ 3639603 w 8387961"/>
                <a:gd name="connsiteY4712" fmla="*/ 545338 h 3980066"/>
                <a:gd name="connsiteX4713" fmla="*/ 3645629 w 8387961"/>
                <a:gd name="connsiteY4713" fmla="*/ 545338 h 3980066"/>
                <a:gd name="connsiteX4714" fmla="*/ 3639603 w 8387961"/>
                <a:gd name="connsiteY4714" fmla="*/ 558896 h 3980066"/>
                <a:gd name="connsiteX4715" fmla="*/ 3638097 w 8387961"/>
                <a:gd name="connsiteY4715" fmla="*/ 553812 h 3980066"/>
                <a:gd name="connsiteX4716" fmla="*/ 3639603 w 8387961"/>
                <a:gd name="connsiteY4716" fmla="*/ 550422 h 3980066"/>
                <a:gd name="connsiteX4717" fmla="*/ 3919372 w 8387961"/>
                <a:gd name="connsiteY4717" fmla="*/ 459520 h 3980066"/>
                <a:gd name="connsiteX4718" fmla="*/ 3918636 w 8387961"/>
                <a:gd name="connsiteY4718" fmla="*/ 459992 h 3980066"/>
                <a:gd name="connsiteX4719" fmla="*/ 3920304 w 8387961"/>
                <a:gd name="connsiteY4719" fmla="*/ 485235 h 3980066"/>
                <a:gd name="connsiteX4720" fmla="*/ 3920304 w 8387961"/>
                <a:gd name="connsiteY4720" fmla="*/ 512160 h 3980066"/>
                <a:gd name="connsiteX4721" fmla="*/ 3936985 w 8387961"/>
                <a:gd name="connsiteY4721" fmla="*/ 522257 h 3980066"/>
                <a:gd name="connsiteX4722" fmla="*/ 3928645 w 8387961"/>
                <a:gd name="connsiteY4722" fmla="*/ 530671 h 3980066"/>
                <a:gd name="connsiteX4723" fmla="*/ 3928645 w 8387961"/>
                <a:gd name="connsiteY4723" fmla="*/ 539085 h 3980066"/>
                <a:gd name="connsiteX4724" fmla="*/ 3925308 w 8387961"/>
                <a:gd name="connsiteY4724" fmla="*/ 562644 h 3980066"/>
                <a:gd name="connsiteX4725" fmla="*/ 3912163 w 8387961"/>
                <a:gd name="connsiteY4725" fmla="*/ 589168 h 3980066"/>
                <a:gd name="connsiteX4726" fmla="*/ 3912625 w 8387961"/>
                <a:gd name="connsiteY4726" fmla="*/ 588937 h 3980066"/>
                <a:gd name="connsiteX4727" fmla="*/ 3926090 w 8387961"/>
                <a:gd name="connsiteY4727" fmla="*/ 561998 h 3980066"/>
                <a:gd name="connsiteX4728" fmla="*/ 3929456 w 8387961"/>
                <a:gd name="connsiteY4728" fmla="*/ 538426 h 3980066"/>
                <a:gd name="connsiteX4729" fmla="*/ 3929456 w 8387961"/>
                <a:gd name="connsiteY4729" fmla="*/ 530008 h 3980066"/>
                <a:gd name="connsiteX4730" fmla="*/ 3937871 w 8387961"/>
                <a:gd name="connsiteY4730" fmla="*/ 521589 h 3980066"/>
                <a:gd name="connsiteX4731" fmla="*/ 3921040 w 8387961"/>
                <a:gd name="connsiteY4731" fmla="*/ 511487 h 3980066"/>
                <a:gd name="connsiteX4732" fmla="*/ 3921040 w 8387961"/>
                <a:gd name="connsiteY4732" fmla="*/ 484549 h 3980066"/>
                <a:gd name="connsiteX4733" fmla="*/ 157585 w 8387961"/>
                <a:gd name="connsiteY4733" fmla="*/ 457964 h 3980066"/>
                <a:gd name="connsiteX4734" fmla="*/ 181871 w 8387961"/>
                <a:gd name="connsiteY4734" fmla="*/ 457964 h 3980066"/>
                <a:gd name="connsiteX4735" fmla="*/ 207891 w 8387961"/>
                <a:gd name="connsiteY4735" fmla="*/ 469468 h 3980066"/>
                <a:gd name="connsiteX4736" fmla="*/ 178401 w 8387961"/>
                <a:gd name="connsiteY4736" fmla="*/ 479054 h 3980066"/>
                <a:gd name="connsiteX4737" fmla="*/ 173197 w 8387961"/>
                <a:gd name="connsiteY4737" fmla="*/ 471385 h 3980066"/>
                <a:gd name="connsiteX4738" fmla="*/ 150646 w 8387961"/>
                <a:gd name="connsiteY4738" fmla="*/ 469468 h 3980066"/>
                <a:gd name="connsiteX4739" fmla="*/ 3910295 w 8387961"/>
                <a:gd name="connsiteY4739" fmla="*/ 424654 h 3980066"/>
                <a:gd name="connsiteX4740" fmla="*/ 3900288 w 8387961"/>
                <a:gd name="connsiteY4740" fmla="*/ 429702 h 3980066"/>
                <a:gd name="connsiteX4741" fmla="*/ 3900288 w 8387961"/>
                <a:gd name="connsiteY4741" fmla="*/ 428020 h 3980066"/>
                <a:gd name="connsiteX4742" fmla="*/ 1952025 w 8387961"/>
                <a:gd name="connsiteY4742" fmla="*/ 402225 h 3980066"/>
                <a:gd name="connsiteX4743" fmla="*/ 1963540 w 8387961"/>
                <a:gd name="connsiteY4743" fmla="*/ 409092 h 3980066"/>
                <a:gd name="connsiteX4744" fmla="*/ 1960250 w 8387961"/>
                <a:gd name="connsiteY4744" fmla="*/ 419392 h 3980066"/>
                <a:gd name="connsiteX4745" fmla="*/ 1971765 w 8387961"/>
                <a:gd name="connsiteY4745" fmla="*/ 414242 h 3980066"/>
                <a:gd name="connsiteX4746" fmla="*/ 2009602 w 8387961"/>
                <a:gd name="connsiteY4746" fmla="*/ 439992 h 3980066"/>
                <a:gd name="connsiteX4747" fmla="*/ 1996440 w 8387961"/>
                <a:gd name="connsiteY4747" fmla="*/ 453725 h 3980066"/>
                <a:gd name="connsiteX4748" fmla="*/ 2026049 w 8387961"/>
                <a:gd name="connsiteY4748" fmla="*/ 453725 h 3980066"/>
                <a:gd name="connsiteX4749" fmla="*/ 2027697 w 8387961"/>
                <a:gd name="connsiteY4749" fmla="*/ 460592 h 3980066"/>
                <a:gd name="connsiteX4750" fmla="*/ 2003020 w 8387961"/>
                <a:gd name="connsiteY4750" fmla="*/ 467459 h 3980066"/>
                <a:gd name="connsiteX4751" fmla="*/ 1986577 w 8387961"/>
                <a:gd name="connsiteY4751" fmla="*/ 457159 h 3980066"/>
                <a:gd name="connsiteX4752" fmla="*/ 1971765 w 8387961"/>
                <a:gd name="connsiteY4752" fmla="*/ 453725 h 3980066"/>
                <a:gd name="connsiteX4753" fmla="*/ 1973411 w 8387961"/>
                <a:gd name="connsiteY4753" fmla="*/ 450292 h 3980066"/>
                <a:gd name="connsiteX4754" fmla="*/ 1961899 w 8387961"/>
                <a:gd name="connsiteY4754" fmla="*/ 453725 h 3980066"/>
                <a:gd name="connsiteX4755" fmla="*/ 1914196 w 8387961"/>
                <a:gd name="connsiteY4755" fmla="*/ 476043 h 3980066"/>
                <a:gd name="connsiteX4756" fmla="*/ 1914196 w 8387961"/>
                <a:gd name="connsiteY4756" fmla="*/ 462309 h 3980066"/>
                <a:gd name="connsiteX4757" fmla="*/ 1884588 w 8387961"/>
                <a:gd name="connsiteY4757" fmla="*/ 462309 h 3980066"/>
                <a:gd name="connsiteX4758" fmla="*/ 1914196 w 8387961"/>
                <a:gd name="connsiteY4758" fmla="*/ 446859 h 3980066"/>
                <a:gd name="connsiteX4759" fmla="*/ 1932292 w 8387961"/>
                <a:gd name="connsiteY4759" fmla="*/ 424542 h 3980066"/>
                <a:gd name="connsiteX4760" fmla="*/ 88478 w 8387961"/>
                <a:gd name="connsiteY4760" fmla="*/ 398487 h 3980066"/>
                <a:gd name="connsiteX4761" fmla="*/ 57247 w 8387961"/>
                <a:gd name="connsiteY4761" fmla="*/ 420806 h 3980066"/>
                <a:gd name="connsiteX4762" fmla="*/ 73975 w 8387961"/>
                <a:gd name="connsiteY4762" fmla="*/ 405740 h 3980066"/>
                <a:gd name="connsiteX4763" fmla="*/ 3958314 w 8387961"/>
                <a:gd name="connsiteY4763" fmla="*/ 394123 h 3980066"/>
                <a:gd name="connsiteX4764" fmla="*/ 3957001 w 8387961"/>
                <a:gd name="connsiteY4764" fmla="*/ 394363 h 3980066"/>
                <a:gd name="connsiteX4765" fmla="*/ 3960338 w 8387961"/>
                <a:gd name="connsiteY4765" fmla="*/ 401095 h 3980066"/>
                <a:gd name="connsiteX4766" fmla="*/ 3945325 w 8387961"/>
                <a:gd name="connsiteY4766" fmla="*/ 434750 h 3980066"/>
                <a:gd name="connsiteX4767" fmla="*/ 3954900 w 8387961"/>
                <a:gd name="connsiteY4767" fmla="*/ 444410 h 3980066"/>
                <a:gd name="connsiteX4768" fmla="*/ 3956385 w 8387961"/>
                <a:gd name="connsiteY4768" fmla="*/ 444140 h 3980066"/>
                <a:gd name="connsiteX4769" fmla="*/ 3946286 w 8387961"/>
                <a:gd name="connsiteY4769" fmla="*/ 434038 h 3980066"/>
                <a:gd name="connsiteX4770" fmla="*/ 3961434 w 8387961"/>
                <a:gd name="connsiteY4770" fmla="*/ 400364 h 3980066"/>
                <a:gd name="connsiteX4771" fmla="*/ 3214956 w 8387961"/>
                <a:gd name="connsiteY4771" fmla="*/ 385654 h 3980066"/>
                <a:gd name="connsiteX4772" fmla="*/ 3243147 w 8387961"/>
                <a:gd name="connsiteY4772" fmla="*/ 402288 h 3980066"/>
                <a:gd name="connsiteX4773" fmla="*/ 3236514 w 8387961"/>
                <a:gd name="connsiteY4773" fmla="*/ 408941 h 3980066"/>
                <a:gd name="connsiteX4774" fmla="*/ 3244805 w 8387961"/>
                <a:gd name="connsiteY4774" fmla="*/ 415595 h 3980066"/>
                <a:gd name="connsiteX4775" fmla="*/ 3256413 w 8387961"/>
                <a:gd name="connsiteY4775" fmla="*/ 410605 h 3980066"/>
                <a:gd name="connsiteX4776" fmla="*/ 3268021 w 8387961"/>
                <a:gd name="connsiteY4776" fmla="*/ 395634 h 3980066"/>
                <a:gd name="connsiteX4777" fmla="*/ 3279629 w 8387961"/>
                <a:gd name="connsiteY4777" fmla="*/ 402288 h 3980066"/>
                <a:gd name="connsiteX4778" fmla="*/ 3286262 w 8387961"/>
                <a:gd name="connsiteY4778" fmla="*/ 395634 h 3980066"/>
                <a:gd name="connsiteX4779" fmla="*/ 3304503 w 8387961"/>
                <a:gd name="connsiteY4779" fmla="*/ 402288 h 3980066"/>
                <a:gd name="connsiteX4780" fmla="*/ 3306161 w 8387961"/>
                <a:gd name="connsiteY4780" fmla="*/ 405615 h 3980066"/>
                <a:gd name="connsiteX4781" fmla="*/ 3307820 w 8387961"/>
                <a:gd name="connsiteY4781" fmla="*/ 393971 h 3980066"/>
                <a:gd name="connsiteX4782" fmla="*/ 3322744 w 8387961"/>
                <a:gd name="connsiteY4782" fmla="*/ 398961 h 3980066"/>
                <a:gd name="connsiteX4783" fmla="*/ 3339327 w 8387961"/>
                <a:gd name="connsiteY4783" fmla="*/ 392307 h 3980066"/>
                <a:gd name="connsiteX4784" fmla="*/ 3344302 w 8387961"/>
                <a:gd name="connsiteY4784" fmla="*/ 385654 h 3980066"/>
                <a:gd name="connsiteX4785" fmla="*/ 3362543 w 8387961"/>
                <a:gd name="connsiteY4785" fmla="*/ 392307 h 3980066"/>
                <a:gd name="connsiteX4786" fmla="*/ 3377467 w 8387961"/>
                <a:gd name="connsiteY4786" fmla="*/ 388981 h 3980066"/>
                <a:gd name="connsiteX4787" fmla="*/ 3369176 w 8387961"/>
                <a:gd name="connsiteY4787" fmla="*/ 398961 h 3980066"/>
                <a:gd name="connsiteX4788" fmla="*/ 3369176 w 8387961"/>
                <a:gd name="connsiteY4788" fmla="*/ 405615 h 3980066"/>
                <a:gd name="connsiteX4789" fmla="*/ 3379125 w 8387961"/>
                <a:gd name="connsiteY4789" fmla="*/ 408941 h 3980066"/>
                <a:gd name="connsiteX4790" fmla="*/ 3375809 w 8387961"/>
                <a:gd name="connsiteY4790" fmla="*/ 412268 h 3980066"/>
                <a:gd name="connsiteX4791" fmla="*/ 3394050 w 8387961"/>
                <a:gd name="connsiteY4791" fmla="*/ 412268 h 3980066"/>
                <a:gd name="connsiteX4792" fmla="*/ 3394050 w 8387961"/>
                <a:gd name="connsiteY4792" fmla="*/ 415595 h 3980066"/>
                <a:gd name="connsiteX4793" fmla="*/ 3384100 w 8387961"/>
                <a:gd name="connsiteY4793" fmla="*/ 420585 h 3980066"/>
                <a:gd name="connsiteX4794" fmla="*/ 3394050 w 8387961"/>
                <a:gd name="connsiteY4794" fmla="*/ 423912 h 3980066"/>
                <a:gd name="connsiteX4795" fmla="*/ 3387417 w 8387961"/>
                <a:gd name="connsiteY4795" fmla="*/ 425575 h 3980066"/>
                <a:gd name="connsiteX4796" fmla="*/ 3377467 w 8387961"/>
                <a:gd name="connsiteY4796" fmla="*/ 432229 h 3980066"/>
                <a:gd name="connsiteX4797" fmla="*/ 3357568 w 8387961"/>
                <a:gd name="connsiteY4797" fmla="*/ 443872 h 3980066"/>
                <a:gd name="connsiteX4798" fmla="*/ 3326061 w 8387961"/>
                <a:gd name="connsiteY4798" fmla="*/ 453852 h 3980066"/>
                <a:gd name="connsiteX4799" fmla="*/ 3294553 w 8387961"/>
                <a:gd name="connsiteY4799" fmla="*/ 465496 h 3980066"/>
                <a:gd name="connsiteX4800" fmla="*/ 3248122 w 8387961"/>
                <a:gd name="connsiteY4800" fmla="*/ 458842 h 3980066"/>
                <a:gd name="connsiteX4801" fmla="*/ 3219931 w 8387961"/>
                <a:gd name="connsiteY4801" fmla="*/ 455516 h 3980066"/>
                <a:gd name="connsiteX4802" fmla="*/ 3205007 w 8387961"/>
                <a:gd name="connsiteY4802" fmla="*/ 452189 h 3980066"/>
                <a:gd name="connsiteX4803" fmla="*/ 3223248 w 8387961"/>
                <a:gd name="connsiteY4803" fmla="*/ 443872 h 3980066"/>
                <a:gd name="connsiteX4804" fmla="*/ 3226564 w 8387961"/>
                <a:gd name="connsiteY4804" fmla="*/ 440546 h 3980066"/>
                <a:gd name="connsiteX4805" fmla="*/ 3219931 w 8387961"/>
                <a:gd name="connsiteY4805" fmla="*/ 440546 h 3980066"/>
                <a:gd name="connsiteX4806" fmla="*/ 3226564 w 8387961"/>
                <a:gd name="connsiteY4806" fmla="*/ 435555 h 3980066"/>
                <a:gd name="connsiteX4807" fmla="*/ 3216615 w 8387961"/>
                <a:gd name="connsiteY4807" fmla="*/ 433892 h 3980066"/>
                <a:gd name="connsiteX4808" fmla="*/ 3185108 w 8387961"/>
                <a:gd name="connsiteY4808" fmla="*/ 425575 h 3980066"/>
                <a:gd name="connsiteX4809" fmla="*/ 3224906 w 8387961"/>
                <a:gd name="connsiteY4809" fmla="*/ 422249 h 3980066"/>
                <a:gd name="connsiteX4810" fmla="*/ 3218273 w 8387961"/>
                <a:gd name="connsiteY4810" fmla="*/ 418921 h 3980066"/>
                <a:gd name="connsiteX4811" fmla="*/ 3226564 w 8387961"/>
                <a:gd name="connsiteY4811" fmla="*/ 412268 h 3980066"/>
                <a:gd name="connsiteX4812" fmla="*/ 3180133 w 8387961"/>
                <a:gd name="connsiteY4812" fmla="*/ 410605 h 3980066"/>
                <a:gd name="connsiteX4813" fmla="*/ 3193399 w 8387961"/>
                <a:gd name="connsiteY4813" fmla="*/ 408941 h 3980066"/>
                <a:gd name="connsiteX4814" fmla="*/ 3186766 w 8387961"/>
                <a:gd name="connsiteY4814" fmla="*/ 403951 h 3980066"/>
                <a:gd name="connsiteX4815" fmla="*/ 3203349 w 8387961"/>
                <a:gd name="connsiteY4815" fmla="*/ 403951 h 3980066"/>
                <a:gd name="connsiteX4816" fmla="*/ 3205007 w 8387961"/>
                <a:gd name="connsiteY4816" fmla="*/ 403951 h 3980066"/>
                <a:gd name="connsiteX4817" fmla="*/ 3200032 w 8387961"/>
                <a:gd name="connsiteY4817" fmla="*/ 402288 h 3980066"/>
                <a:gd name="connsiteX4818" fmla="*/ 3200032 w 8387961"/>
                <a:gd name="connsiteY4818" fmla="*/ 398961 h 3980066"/>
                <a:gd name="connsiteX4819" fmla="*/ 3206665 w 8387961"/>
                <a:gd name="connsiteY4819" fmla="*/ 393971 h 3980066"/>
                <a:gd name="connsiteX4820" fmla="*/ 3223248 w 8387961"/>
                <a:gd name="connsiteY4820" fmla="*/ 402288 h 3980066"/>
                <a:gd name="connsiteX4821" fmla="*/ 3218273 w 8387961"/>
                <a:gd name="connsiteY4821" fmla="*/ 392307 h 3980066"/>
                <a:gd name="connsiteX4822" fmla="*/ 3996649 w 8387961"/>
                <a:gd name="connsiteY4822" fmla="*/ 348496 h 3980066"/>
                <a:gd name="connsiteX4823" fmla="*/ 3995367 w 8387961"/>
                <a:gd name="connsiteY4823" fmla="*/ 348926 h 3980066"/>
                <a:gd name="connsiteX4824" fmla="*/ 3985358 w 8387961"/>
                <a:gd name="connsiteY4824" fmla="*/ 374168 h 3980066"/>
                <a:gd name="connsiteX4825" fmla="*/ 3975691 w 8387961"/>
                <a:gd name="connsiteY4825" fmla="*/ 390424 h 3980066"/>
                <a:gd name="connsiteX4826" fmla="*/ 3976582 w 8387961"/>
                <a:gd name="connsiteY4826" fmla="*/ 390263 h 3980066"/>
                <a:gd name="connsiteX4827" fmla="*/ 3986680 w 8387961"/>
                <a:gd name="connsiteY4827" fmla="*/ 373425 h 3980066"/>
                <a:gd name="connsiteX4828" fmla="*/ 2187228 w 8387961"/>
                <a:gd name="connsiteY4828" fmla="*/ 337447 h 3980066"/>
                <a:gd name="connsiteX4829" fmla="*/ 2205456 w 8387961"/>
                <a:gd name="connsiteY4829" fmla="*/ 342764 h 3980066"/>
                <a:gd name="connsiteX4830" fmla="*/ 2200485 w 8387961"/>
                <a:gd name="connsiteY4830" fmla="*/ 356942 h 3980066"/>
                <a:gd name="connsiteX4831" fmla="*/ 2162371 w 8387961"/>
                <a:gd name="connsiteY4831" fmla="*/ 367576 h 3980066"/>
                <a:gd name="connsiteX4832" fmla="*/ 2155748 w 8387961"/>
                <a:gd name="connsiteY4832" fmla="*/ 351627 h 3980066"/>
                <a:gd name="connsiteX4833" fmla="*/ 4022055 w 8387961"/>
                <a:gd name="connsiteY4833" fmla="*/ 332098 h 3980066"/>
                <a:gd name="connsiteX4834" fmla="*/ 4020433 w 8387961"/>
                <a:gd name="connsiteY4834" fmla="*/ 340283 h 3980066"/>
                <a:gd name="connsiteX4835" fmla="*/ 4022025 w 8387961"/>
                <a:gd name="connsiteY4835" fmla="*/ 339751 h 3980066"/>
                <a:gd name="connsiteX4836" fmla="*/ 4023555 w 8387961"/>
                <a:gd name="connsiteY4836" fmla="*/ 332098 h 3980066"/>
                <a:gd name="connsiteX4837" fmla="*/ 3976203 w 8387961"/>
                <a:gd name="connsiteY4837" fmla="*/ 325395 h 3980066"/>
                <a:gd name="connsiteX4838" fmla="*/ 3977615 w 8387961"/>
                <a:gd name="connsiteY4838" fmla="*/ 330752 h 3980066"/>
                <a:gd name="connsiteX4839" fmla="*/ 3986089 w 8387961"/>
                <a:gd name="connsiteY4839" fmla="*/ 329414 h 3980066"/>
                <a:gd name="connsiteX4840" fmla="*/ 3977615 w 8387961"/>
                <a:gd name="connsiteY4840" fmla="*/ 337448 h 3980066"/>
                <a:gd name="connsiteX4841" fmla="*/ 3971966 w 8387961"/>
                <a:gd name="connsiteY4841" fmla="*/ 334770 h 3980066"/>
                <a:gd name="connsiteX4842" fmla="*/ 3963492 w 8387961"/>
                <a:gd name="connsiteY4842" fmla="*/ 337448 h 3980066"/>
                <a:gd name="connsiteX4843" fmla="*/ 3969141 w 8387961"/>
                <a:gd name="connsiteY4843" fmla="*/ 334770 h 3980066"/>
                <a:gd name="connsiteX4844" fmla="*/ 196082 w 8387961"/>
                <a:gd name="connsiteY4844" fmla="*/ 325395 h 3980066"/>
                <a:gd name="connsiteX4845" fmla="*/ 207790 w 8387961"/>
                <a:gd name="connsiteY4845" fmla="*/ 340460 h 3980066"/>
                <a:gd name="connsiteX4846" fmla="*/ 207790 w 8387961"/>
                <a:gd name="connsiteY4846" fmla="*/ 335440 h 3980066"/>
                <a:gd name="connsiteX4847" fmla="*/ 226189 w 8387961"/>
                <a:gd name="connsiteY4847" fmla="*/ 352177 h 3980066"/>
                <a:gd name="connsiteX4848" fmla="*/ 226189 w 8387961"/>
                <a:gd name="connsiteY4848" fmla="*/ 365568 h 3980066"/>
                <a:gd name="connsiteX4849" fmla="*/ 211130 w 8387961"/>
                <a:gd name="connsiteY4849" fmla="*/ 382307 h 3980066"/>
                <a:gd name="connsiteX4850" fmla="*/ 202773 w 8387961"/>
                <a:gd name="connsiteY4850" fmla="*/ 392349 h 3980066"/>
                <a:gd name="connsiteX4851" fmla="*/ 212808 w 8387961"/>
                <a:gd name="connsiteY4851" fmla="*/ 392349 h 3980066"/>
                <a:gd name="connsiteX4852" fmla="*/ 214481 w 8387961"/>
                <a:gd name="connsiteY4852" fmla="*/ 385654 h 3980066"/>
                <a:gd name="connsiteX4853" fmla="*/ 227858 w 8387961"/>
                <a:gd name="connsiteY4853" fmla="*/ 375611 h 3980066"/>
                <a:gd name="connsiteX4854" fmla="*/ 247933 w 8387961"/>
                <a:gd name="connsiteY4854" fmla="*/ 373937 h 3980066"/>
                <a:gd name="connsiteX4855" fmla="*/ 254623 w 8387961"/>
                <a:gd name="connsiteY4855" fmla="*/ 377285 h 3980066"/>
                <a:gd name="connsiteX4856" fmla="*/ 254623 w 8387961"/>
                <a:gd name="connsiteY4856" fmla="*/ 373937 h 3980066"/>
                <a:gd name="connsiteX4857" fmla="*/ 266332 w 8387961"/>
                <a:gd name="connsiteY4857" fmla="*/ 375611 h 3980066"/>
                <a:gd name="connsiteX4858" fmla="*/ 278040 w 8387961"/>
                <a:gd name="connsiteY4858" fmla="*/ 387329 h 3980066"/>
                <a:gd name="connsiteX4859" fmla="*/ 284730 w 8387961"/>
                <a:gd name="connsiteY4859" fmla="*/ 397371 h 3980066"/>
                <a:gd name="connsiteX4860" fmla="*/ 256296 w 8387961"/>
                <a:gd name="connsiteY4860" fmla="*/ 407414 h 3980066"/>
                <a:gd name="connsiteX4861" fmla="*/ 237895 w 8387961"/>
                <a:gd name="connsiteY4861" fmla="*/ 407414 h 3980066"/>
                <a:gd name="connsiteX4862" fmla="*/ 231207 w 8387961"/>
                <a:gd name="connsiteY4862" fmla="*/ 412436 h 3980066"/>
                <a:gd name="connsiteX4863" fmla="*/ 216149 w 8387961"/>
                <a:gd name="connsiteY4863" fmla="*/ 414109 h 3980066"/>
                <a:gd name="connsiteX4864" fmla="*/ 214481 w 8387961"/>
                <a:gd name="connsiteY4864" fmla="*/ 407414 h 3980066"/>
                <a:gd name="connsiteX4865" fmla="*/ 211130 w 8387961"/>
                <a:gd name="connsiteY4865" fmla="*/ 415784 h 3980066"/>
                <a:gd name="connsiteX4866" fmla="*/ 201100 w 8387961"/>
                <a:gd name="connsiteY4866" fmla="*/ 420806 h 3980066"/>
                <a:gd name="connsiteX4867" fmla="*/ 172666 w 8387961"/>
                <a:gd name="connsiteY4867" fmla="*/ 434195 h 3980066"/>
                <a:gd name="connsiteX4868" fmla="*/ 174338 w 8387961"/>
                <a:gd name="connsiteY4868" fmla="*/ 437543 h 3980066"/>
                <a:gd name="connsiteX4869" fmla="*/ 164303 w 8387961"/>
                <a:gd name="connsiteY4869" fmla="*/ 442565 h 3980066"/>
                <a:gd name="connsiteX4870" fmla="*/ 147577 w 8387961"/>
                <a:gd name="connsiteY4870" fmla="*/ 445912 h 3980066"/>
                <a:gd name="connsiteX4871" fmla="*/ 154267 w 8387961"/>
                <a:gd name="connsiteY4871" fmla="*/ 440892 h 3980066"/>
                <a:gd name="connsiteX4872" fmla="*/ 140886 w 8387961"/>
                <a:gd name="connsiteY4872" fmla="*/ 437543 h 3980066"/>
                <a:gd name="connsiteX4873" fmla="*/ 122487 w 8387961"/>
                <a:gd name="connsiteY4873" fmla="*/ 432521 h 3980066"/>
                <a:gd name="connsiteX4874" fmla="*/ 134196 w 8387961"/>
                <a:gd name="connsiteY4874" fmla="*/ 414109 h 3980066"/>
                <a:gd name="connsiteX4875" fmla="*/ 94053 w 8387961"/>
                <a:gd name="connsiteY4875" fmla="*/ 414109 h 3980066"/>
                <a:gd name="connsiteX4876" fmla="*/ 95722 w 8387961"/>
                <a:gd name="connsiteY4876" fmla="*/ 404066 h 3980066"/>
                <a:gd name="connsiteX4877" fmla="*/ 115797 w 8387961"/>
                <a:gd name="connsiteY4877" fmla="*/ 394024 h 3980066"/>
                <a:gd name="connsiteX4878" fmla="*/ 110779 w 8387961"/>
                <a:gd name="connsiteY4878" fmla="*/ 395697 h 3980066"/>
                <a:gd name="connsiteX4879" fmla="*/ 110779 w 8387961"/>
                <a:gd name="connsiteY4879" fmla="*/ 390675 h 3980066"/>
                <a:gd name="connsiteX4880" fmla="*/ 100743 w 8387961"/>
                <a:gd name="connsiteY4880" fmla="*/ 395697 h 3980066"/>
                <a:gd name="connsiteX4881" fmla="*/ 90704 w 8387961"/>
                <a:gd name="connsiteY4881" fmla="*/ 397371 h 3980066"/>
                <a:gd name="connsiteX4882" fmla="*/ 88478 w 8387961"/>
                <a:gd name="connsiteY4882" fmla="*/ 398487 h 3980066"/>
                <a:gd name="connsiteX4883" fmla="*/ 92377 w 8387961"/>
                <a:gd name="connsiteY4883" fmla="*/ 395697 h 3980066"/>
                <a:gd name="connsiteX4884" fmla="*/ 125833 w 8387961"/>
                <a:gd name="connsiteY4884" fmla="*/ 372263 h 3980066"/>
                <a:gd name="connsiteX4885" fmla="*/ 162630 w 8387961"/>
                <a:gd name="connsiteY4885" fmla="*/ 350504 h 3980066"/>
                <a:gd name="connsiteX4886" fmla="*/ 4722500 w 8387961"/>
                <a:gd name="connsiteY4886" fmla="*/ 321834 h 3980066"/>
                <a:gd name="connsiteX4887" fmla="*/ 4706721 w 8387961"/>
                <a:gd name="connsiteY4887" fmla="*/ 326134 h 3980066"/>
                <a:gd name="connsiteX4888" fmla="*/ 4705765 w 8387961"/>
                <a:gd name="connsiteY4888" fmla="*/ 325179 h 3980066"/>
                <a:gd name="connsiteX4889" fmla="*/ 4055416 w 8387961"/>
                <a:gd name="connsiteY4889" fmla="*/ 318635 h 3980066"/>
                <a:gd name="connsiteX4890" fmla="*/ 4056990 w 8387961"/>
                <a:gd name="connsiteY4890" fmla="*/ 331333 h 3980066"/>
                <a:gd name="connsiteX4891" fmla="*/ 4059053 w 8387961"/>
                <a:gd name="connsiteY4891" fmla="*/ 331333 h 3980066"/>
                <a:gd name="connsiteX4892" fmla="*/ 4057466 w 8387961"/>
                <a:gd name="connsiteY4892" fmla="*/ 318635 h 3980066"/>
                <a:gd name="connsiteX4893" fmla="*/ 4609385 w 8387961"/>
                <a:gd name="connsiteY4893" fmla="*/ 307319 h 3980066"/>
                <a:gd name="connsiteX4894" fmla="*/ 4639891 w 8387961"/>
                <a:gd name="connsiteY4894" fmla="*/ 317864 h 3980066"/>
                <a:gd name="connsiteX4895" fmla="*/ 4609385 w 8387961"/>
                <a:gd name="connsiteY4895" fmla="*/ 328408 h 3980066"/>
                <a:gd name="connsiteX4896" fmla="*/ 4599217 w 8387961"/>
                <a:gd name="connsiteY4896" fmla="*/ 314349 h 3980066"/>
                <a:gd name="connsiteX4897" fmla="*/ 6875476 w 8387961"/>
                <a:gd name="connsiteY4897" fmla="*/ 298280 h 3980066"/>
                <a:gd name="connsiteX4898" fmla="*/ 6903883 w 8387961"/>
                <a:gd name="connsiteY4898" fmla="*/ 298280 h 3980066"/>
                <a:gd name="connsiteX4899" fmla="*/ 6908618 w 8387961"/>
                <a:gd name="connsiteY4899" fmla="*/ 300288 h 3980066"/>
                <a:gd name="connsiteX4900" fmla="*/ 6903883 w 8387961"/>
                <a:gd name="connsiteY4900" fmla="*/ 304306 h 3980066"/>
                <a:gd name="connsiteX4901" fmla="*/ 1796378 w 8387961"/>
                <a:gd name="connsiteY4901" fmla="*/ 298280 h 3980066"/>
                <a:gd name="connsiteX4902" fmla="*/ 1817558 w 8387961"/>
                <a:gd name="connsiteY4902" fmla="*/ 313070 h 3980066"/>
                <a:gd name="connsiteX4903" fmla="*/ 1815930 w 8387961"/>
                <a:gd name="connsiteY4903" fmla="*/ 318001 h 3980066"/>
                <a:gd name="connsiteX4904" fmla="*/ 1817558 w 8387961"/>
                <a:gd name="connsiteY4904" fmla="*/ 324574 h 3980066"/>
                <a:gd name="connsiteX4905" fmla="*/ 1827335 w 8387961"/>
                <a:gd name="connsiteY4905" fmla="*/ 324574 h 3980066"/>
                <a:gd name="connsiteX4906" fmla="*/ 1793122 w 8387961"/>
                <a:gd name="connsiteY4906" fmla="*/ 334435 h 3980066"/>
                <a:gd name="connsiteX4907" fmla="*/ 1747492 w 8387961"/>
                <a:gd name="connsiteY4907" fmla="*/ 321287 h 3980066"/>
                <a:gd name="connsiteX4908" fmla="*/ 1776825 w 8387961"/>
                <a:gd name="connsiteY4908" fmla="*/ 313070 h 3980066"/>
                <a:gd name="connsiteX4909" fmla="*/ 1781717 w 8387961"/>
                <a:gd name="connsiteY4909" fmla="*/ 304854 h 3980066"/>
                <a:gd name="connsiteX4910" fmla="*/ 1783340 w 8387961"/>
                <a:gd name="connsiteY4910" fmla="*/ 308140 h 3980066"/>
                <a:gd name="connsiteX4911" fmla="*/ 4192197 w 8387961"/>
                <a:gd name="connsiteY4911" fmla="*/ 291710 h 3980066"/>
                <a:gd name="connsiteX4912" fmla="*/ 4165508 w 8387961"/>
                <a:gd name="connsiteY4912" fmla="*/ 303491 h 3980066"/>
                <a:gd name="connsiteX4913" fmla="*/ 4158836 w 8387961"/>
                <a:gd name="connsiteY4913" fmla="*/ 322001 h 3980066"/>
                <a:gd name="connsiteX4914" fmla="*/ 4147159 w 8387961"/>
                <a:gd name="connsiteY4914" fmla="*/ 328732 h 3980066"/>
                <a:gd name="connsiteX4915" fmla="*/ 4120471 w 8387961"/>
                <a:gd name="connsiteY4915" fmla="*/ 328732 h 3980066"/>
                <a:gd name="connsiteX4916" fmla="*/ 4098786 w 8387961"/>
                <a:gd name="connsiteY4916" fmla="*/ 323685 h 3980066"/>
                <a:gd name="connsiteX4917" fmla="*/ 4077101 w 8387961"/>
                <a:gd name="connsiteY4917" fmla="*/ 310222 h 3980066"/>
                <a:gd name="connsiteX4918" fmla="*/ 4066496 w 8387961"/>
                <a:gd name="connsiteY4918" fmla="*/ 317864 h 3980066"/>
                <a:gd name="connsiteX4919" fmla="*/ 4067468 w 8387961"/>
                <a:gd name="connsiteY4919" fmla="*/ 317864 h 3980066"/>
                <a:gd name="connsiteX4920" fmla="*/ 4070875 w 8387961"/>
                <a:gd name="connsiteY4920" fmla="*/ 319310 h 3980066"/>
                <a:gd name="connsiteX4921" fmla="*/ 4079029 w 8387961"/>
                <a:gd name="connsiteY4921" fmla="*/ 313485 h 3980066"/>
                <a:gd name="connsiteX4922" fmla="*/ 4100559 w 8387961"/>
                <a:gd name="connsiteY4922" fmla="*/ 326734 h 3980066"/>
                <a:gd name="connsiteX4923" fmla="*/ 4122088 w 8387961"/>
                <a:gd name="connsiteY4923" fmla="*/ 331703 h 3980066"/>
                <a:gd name="connsiteX4924" fmla="*/ 4148586 w 8387961"/>
                <a:gd name="connsiteY4924" fmla="*/ 331703 h 3980066"/>
                <a:gd name="connsiteX4925" fmla="*/ 4160179 w 8387961"/>
                <a:gd name="connsiteY4925" fmla="*/ 325078 h 3980066"/>
                <a:gd name="connsiteX4926" fmla="*/ 4166803 w 8387961"/>
                <a:gd name="connsiteY4926" fmla="*/ 306860 h 3980066"/>
                <a:gd name="connsiteX4927" fmla="*/ 4193301 w 8387961"/>
                <a:gd name="connsiteY4927" fmla="*/ 295268 h 3980066"/>
                <a:gd name="connsiteX4928" fmla="*/ 4225558 w 8387961"/>
                <a:gd name="connsiteY4928" fmla="*/ 304944 h 3980066"/>
                <a:gd name="connsiteX4929" fmla="*/ 4225558 w 8387961"/>
                <a:gd name="connsiteY4929" fmla="*/ 301808 h 3980066"/>
                <a:gd name="connsiteX4930" fmla="*/ 2636156 w 8387961"/>
                <a:gd name="connsiteY4930" fmla="*/ 287734 h 3980066"/>
                <a:gd name="connsiteX4931" fmla="*/ 2676976 w 8387961"/>
                <a:gd name="connsiteY4931" fmla="*/ 305812 h 3980066"/>
                <a:gd name="connsiteX4932" fmla="*/ 2632754 w 8387961"/>
                <a:gd name="connsiteY4932" fmla="*/ 314850 h 3980066"/>
                <a:gd name="connsiteX4933" fmla="*/ 2637856 w 8387961"/>
                <a:gd name="connsiteY4933" fmla="*/ 311235 h 3980066"/>
                <a:gd name="connsiteX4934" fmla="*/ 2627651 w 8387961"/>
                <a:gd name="connsiteY4934" fmla="*/ 305812 h 3980066"/>
                <a:gd name="connsiteX4935" fmla="*/ 2624250 w 8387961"/>
                <a:gd name="connsiteY4935" fmla="*/ 302196 h 3980066"/>
                <a:gd name="connsiteX4936" fmla="*/ 2625951 w 8387961"/>
                <a:gd name="connsiteY4936" fmla="*/ 294965 h 3980066"/>
                <a:gd name="connsiteX4937" fmla="*/ 2624250 w 8387961"/>
                <a:gd name="connsiteY4937" fmla="*/ 294965 h 3980066"/>
                <a:gd name="connsiteX4938" fmla="*/ 4784995 w 8387961"/>
                <a:gd name="connsiteY4938" fmla="*/ 284721 h 3980066"/>
                <a:gd name="connsiteX4939" fmla="*/ 4826692 w 8387961"/>
                <a:gd name="connsiteY4939" fmla="*/ 298280 h 3980066"/>
                <a:gd name="connsiteX4940" fmla="*/ 4810013 w 8387961"/>
                <a:gd name="connsiteY4940" fmla="*/ 298280 h 3980066"/>
                <a:gd name="connsiteX4941" fmla="*/ 4779992 w 8387961"/>
                <a:gd name="connsiteY4941" fmla="*/ 289241 h 3980066"/>
                <a:gd name="connsiteX4942" fmla="*/ 4195533 w 8387961"/>
                <a:gd name="connsiteY4942" fmla="*/ 268151 h 3980066"/>
                <a:gd name="connsiteX4943" fmla="*/ 4197201 w 8387961"/>
                <a:gd name="connsiteY4943" fmla="*/ 276566 h 3980066"/>
                <a:gd name="connsiteX4944" fmla="*/ 4198869 w 8387961"/>
                <a:gd name="connsiteY4944" fmla="*/ 278247 h 3980066"/>
                <a:gd name="connsiteX4945" fmla="*/ 4200537 w 8387961"/>
                <a:gd name="connsiteY4945" fmla="*/ 281614 h 3980066"/>
                <a:gd name="connsiteX4946" fmla="*/ 4202205 w 8387961"/>
                <a:gd name="connsiteY4946" fmla="*/ 290028 h 3980066"/>
                <a:gd name="connsiteX4947" fmla="*/ 4207209 w 8387961"/>
                <a:gd name="connsiteY4947" fmla="*/ 278247 h 3980066"/>
                <a:gd name="connsiteX4948" fmla="*/ 4218886 w 8387961"/>
                <a:gd name="connsiteY4948" fmla="*/ 273200 h 3980066"/>
                <a:gd name="connsiteX4949" fmla="*/ 4238902 w 8387961"/>
                <a:gd name="connsiteY4949" fmla="*/ 278247 h 3980066"/>
                <a:gd name="connsiteX4950" fmla="*/ 4257251 w 8387961"/>
                <a:gd name="connsiteY4950" fmla="*/ 286663 h 3980066"/>
                <a:gd name="connsiteX4951" fmla="*/ 4218886 w 8387961"/>
                <a:gd name="connsiteY4951" fmla="*/ 290028 h 3980066"/>
                <a:gd name="connsiteX4952" fmla="*/ 4235566 w 8387961"/>
                <a:gd name="connsiteY4952" fmla="*/ 300125 h 3980066"/>
                <a:gd name="connsiteX4953" fmla="*/ 4245574 w 8387961"/>
                <a:gd name="connsiteY4953" fmla="*/ 298442 h 3980066"/>
                <a:gd name="connsiteX4954" fmla="*/ 4257251 w 8387961"/>
                <a:gd name="connsiteY4954" fmla="*/ 298442 h 3980066"/>
                <a:gd name="connsiteX4955" fmla="*/ 4257251 w 8387961"/>
                <a:gd name="connsiteY4955" fmla="*/ 306855 h 3980066"/>
                <a:gd name="connsiteX4956" fmla="*/ 4245574 w 8387961"/>
                <a:gd name="connsiteY4956" fmla="*/ 306855 h 3980066"/>
                <a:gd name="connsiteX4957" fmla="*/ 4226423 w 8387961"/>
                <a:gd name="connsiteY4957" fmla="*/ 318126 h 3980066"/>
                <a:gd name="connsiteX4958" fmla="*/ 4226423 w 8387961"/>
                <a:gd name="connsiteY4958" fmla="*/ 321765 h 3980066"/>
                <a:gd name="connsiteX4959" fmla="*/ 4226423 w 8387961"/>
                <a:gd name="connsiteY4959" fmla="*/ 326734 h 3980066"/>
                <a:gd name="connsiteX4960" fmla="*/ 4226423 w 8387961"/>
                <a:gd name="connsiteY4960" fmla="*/ 343296 h 3980066"/>
                <a:gd name="connsiteX4961" fmla="*/ 4256233 w 8387961"/>
                <a:gd name="connsiteY4961" fmla="*/ 359858 h 3980066"/>
                <a:gd name="connsiteX4962" fmla="*/ 4242984 w 8387961"/>
                <a:gd name="connsiteY4962" fmla="*/ 379731 h 3980066"/>
                <a:gd name="connsiteX4963" fmla="*/ 4267826 w 8387961"/>
                <a:gd name="connsiteY4963" fmla="*/ 406230 h 3980066"/>
                <a:gd name="connsiteX4964" fmla="*/ 4269482 w 8387961"/>
                <a:gd name="connsiteY4964" fmla="*/ 431072 h 3980066"/>
                <a:gd name="connsiteX4965" fmla="*/ 4277762 w 8387961"/>
                <a:gd name="connsiteY4965" fmla="*/ 439353 h 3980066"/>
                <a:gd name="connsiteX4966" fmla="*/ 4289355 w 8387961"/>
                <a:gd name="connsiteY4966" fmla="*/ 450947 h 3980066"/>
                <a:gd name="connsiteX4967" fmla="*/ 4279418 w 8387961"/>
                <a:gd name="connsiteY4967" fmla="*/ 459228 h 3980066"/>
                <a:gd name="connsiteX4968" fmla="*/ 4317509 w 8387961"/>
                <a:gd name="connsiteY4968" fmla="*/ 480757 h 3980066"/>
                <a:gd name="connsiteX4969" fmla="*/ 4300948 w 8387961"/>
                <a:gd name="connsiteY4969" fmla="*/ 495663 h 3980066"/>
                <a:gd name="connsiteX4970" fmla="*/ 4287699 w 8387961"/>
                <a:gd name="connsiteY4970" fmla="*/ 512224 h 3980066"/>
                <a:gd name="connsiteX4971" fmla="*/ 4271138 w 8387961"/>
                <a:gd name="connsiteY4971" fmla="*/ 528786 h 3980066"/>
                <a:gd name="connsiteX4972" fmla="*/ 4256233 w 8387961"/>
                <a:gd name="connsiteY4972" fmla="*/ 543692 h 3980066"/>
                <a:gd name="connsiteX4973" fmla="*/ 4228079 w 8387961"/>
                <a:gd name="connsiteY4973" fmla="*/ 543692 h 3980066"/>
                <a:gd name="connsiteX4974" fmla="*/ 4218142 w 8387961"/>
                <a:gd name="connsiteY4974" fmla="*/ 548660 h 3980066"/>
                <a:gd name="connsiteX4975" fmla="*/ 4166803 w 8387961"/>
                <a:gd name="connsiteY4975" fmla="*/ 558598 h 3980066"/>
                <a:gd name="connsiteX4976" fmla="*/ 4160179 w 8387961"/>
                <a:gd name="connsiteY4976" fmla="*/ 561909 h 3980066"/>
                <a:gd name="connsiteX4977" fmla="*/ 4151898 w 8387961"/>
                <a:gd name="connsiteY4977" fmla="*/ 550316 h 3980066"/>
                <a:gd name="connsiteX4978" fmla="*/ 4143618 w 8387961"/>
                <a:gd name="connsiteY4978" fmla="*/ 551973 h 3980066"/>
                <a:gd name="connsiteX4979" fmla="*/ 4141962 w 8387961"/>
                <a:gd name="connsiteY4979" fmla="*/ 548660 h 3980066"/>
                <a:gd name="connsiteX4980" fmla="*/ 4120432 w 8387961"/>
                <a:gd name="connsiteY4980" fmla="*/ 540379 h 3980066"/>
                <a:gd name="connsiteX4981" fmla="*/ 4113808 w 8387961"/>
                <a:gd name="connsiteY4981" fmla="*/ 505600 h 3980066"/>
                <a:gd name="connsiteX4982" fmla="*/ 4110496 w 8387961"/>
                <a:gd name="connsiteY4982" fmla="*/ 475789 h 3980066"/>
                <a:gd name="connsiteX4983" fmla="*/ 4127057 w 8387961"/>
                <a:gd name="connsiteY4983" fmla="*/ 469165 h 3980066"/>
                <a:gd name="connsiteX4984" fmla="*/ 4140305 w 8387961"/>
                <a:gd name="connsiteY4984" fmla="*/ 454258 h 3980066"/>
                <a:gd name="connsiteX4985" fmla="*/ 4176740 w 8387961"/>
                <a:gd name="connsiteY4985" fmla="*/ 429416 h 3980066"/>
                <a:gd name="connsiteX4986" fmla="*/ 4170115 w 8387961"/>
                <a:gd name="connsiteY4986" fmla="*/ 409542 h 3980066"/>
                <a:gd name="connsiteX4987" fmla="*/ 4160179 w 8387961"/>
                <a:gd name="connsiteY4987" fmla="*/ 402918 h 3980066"/>
                <a:gd name="connsiteX4988" fmla="*/ 4151898 w 8387961"/>
                <a:gd name="connsiteY4988" fmla="*/ 404573 h 3980066"/>
                <a:gd name="connsiteX4989" fmla="*/ 4150830 w 8387961"/>
                <a:gd name="connsiteY4989" fmla="*/ 401903 h 3980066"/>
                <a:gd name="connsiteX4990" fmla="*/ 4124692 w 8387961"/>
                <a:gd name="connsiteY4990" fmla="*/ 400364 h 3980066"/>
                <a:gd name="connsiteX4991" fmla="*/ 4117960 w 8387961"/>
                <a:gd name="connsiteY4991" fmla="*/ 403733 h 3980066"/>
                <a:gd name="connsiteX4992" fmla="*/ 4114594 w 8387961"/>
                <a:gd name="connsiteY4992" fmla="*/ 408782 h 3980066"/>
                <a:gd name="connsiteX4993" fmla="*/ 4111228 w 8387961"/>
                <a:gd name="connsiteY4993" fmla="*/ 407100 h 3980066"/>
                <a:gd name="connsiteX4994" fmla="*/ 4101129 w 8387961"/>
                <a:gd name="connsiteY4994" fmla="*/ 413833 h 3980066"/>
                <a:gd name="connsiteX4995" fmla="*/ 4097763 w 8387961"/>
                <a:gd name="connsiteY4995" fmla="*/ 428987 h 3980066"/>
                <a:gd name="connsiteX4996" fmla="*/ 4102812 w 8387961"/>
                <a:gd name="connsiteY4996" fmla="*/ 440773 h 3980066"/>
                <a:gd name="connsiteX4997" fmla="*/ 4079249 w 8387961"/>
                <a:gd name="connsiteY4997" fmla="*/ 460977 h 3980066"/>
                <a:gd name="connsiteX4998" fmla="*/ 4060736 w 8387961"/>
                <a:gd name="connsiteY4998" fmla="*/ 471079 h 3980066"/>
                <a:gd name="connsiteX4999" fmla="*/ 4050637 w 8387961"/>
                <a:gd name="connsiteY4999" fmla="*/ 477814 h 3980066"/>
                <a:gd name="connsiteX5000" fmla="*/ 4038856 w 8387961"/>
                <a:gd name="connsiteY5000" fmla="*/ 479497 h 3980066"/>
                <a:gd name="connsiteX5001" fmla="*/ 4033806 w 8387961"/>
                <a:gd name="connsiteY5001" fmla="*/ 491284 h 3980066"/>
                <a:gd name="connsiteX5002" fmla="*/ 4030440 w 8387961"/>
                <a:gd name="connsiteY5002" fmla="*/ 494651 h 3980066"/>
                <a:gd name="connsiteX5003" fmla="*/ 4028757 w 8387961"/>
                <a:gd name="connsiteY5003" fmla="*/ 511487 h 3980066"/>
                <a:gd name="connsiteX5004" fmla="*/ 4037173 w 8387961"/>
                <a:gd name="connsiteY5004" fmla="*/ 541794 h 3980066"/>
                <a:gd name="connsiteX5005" fmla="*/ 4060736 w 8387961"/>
                <a:gd name="connsiteY5005" fmla="*/ 551896 h 3980066"/>
                <a:gd name="connsiteX5006" fmla="*/ 4070834 w 8387961"/>
                <a:gd name="connsiteY5006" fmla="*/ 563681 h 3980066"/>
                <a:gd name="connsiteX5007" fmla="*/ 4048954 w 8387961"/>
                <a:gd name="connsiteY5007" fmla="*/ 575468 h 3980066"/>
                <a:gd name="connsiteX5008" fmla="*/ 4040539 w 8387961"/>
                <a:gd name="connsiteY5008" fmla="*/ 568733 h 3980066"/>
                <a:gd name="connsiteX5009" fmla="*/ 4042222 w 8387961"/>
                <a:gd name="connsiteY5009" fmla="*/ 572100 h 3980066"/>
                <a:gd name="connsiteX5010" fmla="*/ 4013609 w 8387961"/>
                <a:gd name="connsiteY5010" fmla="*/ 573784 h 3980066"/>
                <a:gd name="connsiteX5011" fmla="*/ 4062419 w 8387961"/>
                <a:gd name="connsiteY5011" fmla="*/ 578835 h 3980066"/>
                <a:gd name="connsiteX5012" fmla="*/ 4048954 w 8387961"/>
                <a:gd name="connsiteY5012" fmla="*/ 588937 h 3980066"/>
                <a:gd name="connsiteX5013" fmla="*/ 4047271 w 8387961"/>
                <a:gd name="connsiteY5013" fmla="*/ 583886 h 3980066"/>
                <a:gd name="connsiteX5014" fmla="*/ 4032123 w 8387961"/>
                <a:gd name="connsiteY5014" fmla="*/ 599039 h 3980066"/>
                <a:gd name="connsiteX5015" fmla="*/ 4022025 w 8387961"/>
                <a:gd name="connsiteY5015" fmla="*/ 595671 h 3980066"/>
                <a:gd name="connsiteX5016" fmla="*/ 4030440 w 8387961"/>
                <a:gd name="connsiteY5016" fmla="*/ 602407 h 3980066"/>
                <a:gd name="connsiteX5017" fmla="*/ 4028757 w 8387961"/>
                <a:gd name="connsiteY5017" fmla="*/ 604090 h 3980066"/>
                <a:gd name="connsiteX5018" fmla="*/ 4027074 w 8387961"/>
                <a:gd name="connsiteY5018" fmla="*/ 614192 h 3980066"/>
                <a:gd name="connsiteX5019" fmla="*/ 4030440 w 8387961"/>
                <a:gd name="connsiteY5019" fmla="*/ 622611 h 3980066"/>
                <a:gd name="connsiteX5020" fmla="*/ 4028757 w 8387961"/>
                <a:gd name="connsiteY5020" fmla="*/ 620927 h 3980066"/>
                <a:gd name="connsiteX5021" fmla="*/ 4023708 w 8387961"/>
                <a:gd name="connsiteY5021" fmla="*/ 642815 h 3980066"/>
                <a:gd name="connsiteX5022" fmla="*/ 4020342 w 8387961"/>
                <a:gd name="connsiteY5022" fmla="*/ 664704 h 3980066"/>
                <a:gd name="connsiteX5023" fmla="*/ 3983314 w 8387961"/>
                <a:gd name="connsiteY5023" fmla="*/ 673122 h 3980066"/>
                <a:gd name="connsiteX5024" fmla="*/ 3979948 w 8387961"/>
                <a:gd name="connsiteY5024" fmla="*/ 689959 h 3980066"/>
                <a:gd name="connsiteX5025" fmla="*/ 3956385 w 8387961"/>
                <a:gd name="connsiteY5025" fmla="*/ 686591 h 3980066"/>
                <a:gd name="connsiteX5026" fmla="*/ 3947969 w 8387961"/>
                <a:gd name="connsiteY5026" fmla="*/ 664704 h 3980066"/>
                <a:gd name="connsiteX5027" fmla="*/ 3942920 w 8387961"/>
                <a:gd name="connsiteY5027" fmla="*/ 646183 h 3980066"/>
                <a:gd name="connsiteX5028" fmla="*/ 3921040 w 8387961"/>
                <a:gd name="connsiteY5028" fmla="*/ 615877 h 3980066"/>
                <a:gd name="connsiteX5029" fmla="*/ 3922723 w 8387961"/>
                <a:gd name="connsiteY5029" fmla="*/ 609141 h 3980066"/>
                <a:gd name="connsiteX5030" fmla="*/ 3917674 w 8387961"/>
                <a:gd name="connsiteY5030" fmla="*/ 605774 h 3980066"/>
                <a:gd name="connsiteX5031" fmla="*/ 3915991 w 8387961"/>
                <a:gd name="connsiteY5031" fmla="*/ 605774 h 3980066"/>
                <a:gd name="connsiteX5032" fmla="*/ 3909259 w 8387961"/>
                <a:gd name="connsiteY5032" fmla="*/ 590621 h 3980066"/>
                <a:gd name="connsiteX5033" fmla="*/ 3911706 w 8387961"/>
                <a:gd name="connsiteY5033" fmla="*/ 589396 h 3980066"/>
                <a:gd name="connsiteX5034" fmla="*/ 3901956 w 8387961"/>
                <a:gd name="connsiteY5034" fmla="*/ 582838 h 3980066"/>
                <a:gd name="connsiteX5035" fmla="*/ 3896952 w 8387961"/>
                <a:gd name="connsiteY5035" fmla="*/ 564328 h 3980066"/>
                <a:gd name="connsiteX5036" fmla="*/ 3888611 w 8387961"/>
                <a:gd name="connsiteY5036" fmla="*/ 569376 h 3980066"/>
                <a:gd name="connsiteX5037" fmla="*/ 3888611 w 8387961"/>
                <a:gd name="connsiteY5037" fmla="*/ 584522 h 3980066"/>
                <a:gd name="connsiteX5038" fmla="*/ 3875267 w 8387961"/>
                <a:gd name="connsiteY5038" fmla="*/ 584522 h 3980066"/>
                <a:gd name="connsiteX5039" fmla="*/ 3840238 w 8387961"/>
                <a:gd name="connsiteY5039" fmla="*/ 613129 h 3980066"/>
                <a:gd name="connsiteX5040" fmla="*/ 3810213 w 8387961"/>
                <a:gd name="connsiteY5040" fmla="*/ 611447 h 3980066"/>
                <a:gd name="connsiteX5041" fmla="*/ 3791864 w 8387961"/>
                <a:gd name="connsiteY5041" fmla="*/ 601350 h 3980066"/>
                <a:gd name="connsiteX5042" fmla="*/ 3790196 w 8387961"/>
                <a:gd name="connsiteY5042" fmla="*/ 589570 h 3980066"/>
                <a:gd name="connsiteX5043" fmla="*/ 3800205 w 8387961"/>
                <a:gd name="connsiteY5043" fmla="*/ 586205 h 3980066"/>
                <a:gd name="connsiteX5044" fmla="*/ 3801873 w 8387961"/>
                <a:gd name="connsiteY5044" fmla="*/ 579472 h 3980066"/>
                <a:gd name="connsiteX5045" fmla="*/ 3800205 w 8387961"/>
                <a:gd name="connsiteY5045" fmla="*/ 572742 h 3980066"/>
                <a:gd name="connsiteX5046" fmla="*/ 3795200 w 8387961"/>
                <a:gd name="connsiteY5046" fmla="*/ 574425 h 3980066"/>
                <a:gd name="connsiteX5047" fmla="*/ 3785192 w 8387961"/>
                <a:gd name="connsiteY5047" fmla="*/ 579472 h 3980066"/>
                <a:gd name="connsiteX5048" fmla="*/ 3785192 w 8387961"/>
                <a:gd name="connsiteY5048" fmla="*/ 571059 h 3980066"/>
                <a:gd name="connsiteX5049" fmla="*/ 3796868 w 8387961"/>
                <a:gd name="connsiteY5049" fmla="*/ 566010 h 3980066"/>
                <a:gd name="connsiteX5050" fmla="*/ 3795200 w 8387961"/>
                <a:gd name="connsiteY5050" fmla="*/ 564328 h 3980066"/>
                <a:gd name="connsiteX5051" fmla="*/ 3805209 w 8387961"/>
                <a:gd name="connsiteY5051" fmla="*/ 549182 h 3980066"/>
                <a:gd name="connsiteX5052" fmla="*/ 3806877 w 8387961"/>
                <a:gd name="connsiteY5052" fmla="*/ 555913 h 3980066"/>
                <a:gd name="connsiteX5053" fmla="*/ 3811881 w 8387961"/>
                <a:gd name="connsiteY5053" fmla="*/ 545817 h 3980066"/>
                <a:gd name="connsiteX5054" fmla="*/ 3801873 w 8387961"/>
                <a:gd name="connsiteY5054" fmla="*/ 549182 h 3980066"/>
                <a:gd name="connsiteX5055" fmla="*/ 3791864 w 8387961"/>
                <a:gd name="connsiteY5055" fmla="*/ 559279 h 3980066"/>
                <a:gd name="connsiteX5056" fmla="*/ 3788528 w 8387961"/>
                <a:gd name="connsiteY5056" fmla="*/ 552548 h 3980066"/>
                <a:gd name="connsiteX5057" fmla="*/ 3778520 w 8387961"/>
                <a:gd name="connsiteY5057" fmla="*/ 554230 h 3980066"/>
                <a:gd name="connsiteX5058" fmla="*/ 3785192 w 8387961"/>
                <a:gd name="connsiteY5058" fmla="*/ 549182 h 3980066"/>
                <a:gd name="connsiteX5059" fmla="*/ 3788528 w 8387961"/>
                <a:gd name="connsiteY5059" fmla="*/ 542451 h 3980066"/>
                <a:gd name="connsiteX5060" fmla="*/ 3775184 w 8387961"/>
                <a:gd name="connsiteY5060" fmla="*/ 540768 h 3980066"/>
                <a:gd name="connsiteX5061" fmla="*/ 3780188 w 8387961"/>
                <a:gd name="connsiteY5061" fmla="*/ 540768 h 3980066"/>
                <a:gd name="connsiteX5062" fmla="*/ 3778520 w 8387961"/>
                <a:gd name="connsiteY5062" fmla="*/ 539085 h 3980066"/>
                <a:gd name="connsiteX5063" fmla="*/ 3775184 w 8387961"/>
                <a:gd name="connsiteY5063" fmla="*/ 534037 h 3980066"/>
                <a:gd name="connsiteX5064" fmla="*/ 3801873 w 8387961"/>
                <a:gd name="connsiteY5064" fmla="*/ 530671 h 3980066"/>
                <a:gd name="connsiteX5065" fmla="*/ 3818553 w 8387961"/>
                <a:gd name="connsiteY5065" fmla="*/ 534037 h 3980066"/>
                <a:gd name="connsiteX5066" fmla="*/ 3825225 w 8387961"/>
                <a:gd name="connsiteY5066" fmla="*/ 530671 h 3980066"/>
                <a:gd name="connsiteX5067" fmla="*/ 3821889 w 8387961"/>
                <a:gd name="connsiteY5067" fmla="*/ 522257 h 3980066"/>
                <a:gd name="connsiteX5068" fmla="*/ 3820221 w 8387961"/>
                <a:gd name="connsiteY5068" fmla="*/ 523940 h 3980066"/>
                <a:gd name="connsiteX5069" fmla="*/ 3806877 w 8387961"/>
                <a:gd name="connsiteY5069" fmla="*/ 523940 h 3980066"/>
                <a:gd name="connsiteX5070" fmla="*/ 3776852 w 8387961"/>
                <a:gd name="connsiteY5070" fmla="*/ 528988 h 3980066"/>
                <a:gd name="connsiteX5071" fmla="*/ 3780188 w 8387961"/>
                <a:gd name="connsiteY5071" fmla="*/ 522257 h 3980066"/>
                <a:gd name="connsiteX5072" fmla="*/ 3778520 w 8387961"/>
                <a:gd name="connsiteY5072" fmla="*/ 522257 h 3980066"/>
                <a:gd name="connsiteX5073" fmla="*/ 3785192 w 8387961"/>
                <a:gd name="connsiteY5073" fmla="*/ 520574 h 3980066"/>
                <a:gd name="connsiteX5074" fmla="*/ 3775184 w 8387961"/>
                <a:gd name="connsiteY5074" fmla="*/ 512160 h 3980066"/>
                <a:gd name="connsiteX5075" fmla="*/ 3805209 w 8387961"/>
                <a:gd name="connsiteY5075" fmla="*/ 510477 h 3980066"/>
                <a:gd name="connsiteX5076" fmla="*/ 3776852 w 8387961"/>
                <a:gd name="connsiteY5076" fmla="*/ 508794 h 3980066"/>
                <a:gd name="connsiteX5077" fmla="*/ 3776852 w 8387961"/>
                <a:gd name="connsiteY5077" fmla="*/ 502063 h 3980066"/>
                <a:gd name="connsiteX5078" fmla="*/ 3781856 w 8387961"/>
                <a:gd name="connsiteY5078" fmla="*/ 503746 h 3980066"/>
                <a:gd name="connsiteX5079" fmla="*/ 3795200 w 8387961"/>
                <a:gd name="connsiteY5079" fmla="*/ 502063 h 3980066"/>
                <a:gd name="connsiteX5080" fmla="*/ 3790196 w 8387961"/>
                <a:gd name="connsiteY5080" fmla="*/ 500380 h 3980066"/>
                <a:gd name="connsiteX5081" fmla="*/ 3801873 w 8387961"/>
                <a:gd name="connsiteY5081" fmla="*/ 498697 h 3980066"/>
                <a:gd name="connsiteX5082" fmla="*/ 3800205 w 8387961"/>
                <a:gd name="connsiteY5082" fmla="*/ 493649 h 3980066"/>
                <a:gd name="connsiteX5083" fmla="*/ 3815217 w 8387961"/>
                <a:gd name="connsiteY5083" fmla="*/ 500380 h 3980066"/>
                <a:gd name="connsiteX5084" fmla="*/ 3816885 w 8387961"/>
                <a:gd name="connsiteY5084" fmla="*/ 498697 h 3980066"/>
                <a:gd name="connsiteX5085" fmla="*/ 3801873 w 8387961"/>
                <a:gd name="connsiteY5085" fmla="*/ 491967 h 3980066"/>
                <a:gd name="connsiteX5086" fmla="*/ 3820221 w 8387961"/>
                <a:gd name="connsiteY5086" fmla="*/ 488600 h 3980066"/>
                <a:gd name="connsiteX5087" fmla="*/ 3828561 w 8387961"/>
                <a:gd name="connsiteY5087" fmla="*/ 485235 h 3980066"/>
                <a:gd name="connsiteX5088" fmla="*/ 3820221 w 8387961"/>
                <a:gd name="connsiteY5088" fmla="*/ 485235 h 3980066"/>
                <a:gd name="connsiteX5089" fmla="*/ 3811881 w 8387961"/>
                <a:gd name="connsiteY5089" fmla="*/ 485235 h 3980066"/>
                <a:gd name="connsiteX5090" fmla="*/ 3815217 w 8387961"/>
                <a:gd name="connsiteY5090" fmla="*/ 478504 h 3980066"/>
                <a:gd name="connsiteX5091" fmla="*/ 3841906 w 8387961"/>
                <a:gd name="connsiteY5091" fmla="*/ 485235 h 3980066"/>
                <a:gd name="connsiteX5092" fmla="*/ 3836902 w 8387961"/>
                <a:gd name="connsiteY5092" fmla="*/ 480186 h 3980066"/>
                <a:gd name="connsiteX5093" fmla="*/ 3840238 w 8387961"/>
                <a:gd name="connsiteY5093" fmla="*/ 481869 h 3980066"/>
                <a:gd name="connsiteX5094" fmla="*/ 3838570 w 8387961"/>
                <a:gd name="connsiteY5094" fmla="*/ 478504 h 3980066"/>
                <a:gd name="connsiteX5095" fmla="*/ 3845242 w 8387961"/>
                <a:gd name="connsiteY5095" fmla="*/ 471772 h 3980066"/>
                <a:gd name="connsiteX5096" fmla="*/ 3855250 w 8387961"/>
                <a:gd name="connsiteY5096" fmla="*/ 465041 h 3980066"/>
                <a:gd name="connsiteX5097" fmla="*/ 3856918 w 8387961"/>
                <a:gd name="connsiteY5097" fmla="*/ 463359 h 3980066"/>
                <a:gd name="connsiteX5098" fmla="*/ 3871931 w 8387961"/>
                <a:gd name="connsiteY5098" fmla="*/ 465041 h 3980066"/>
                <a:gd name="connsiteX5099" fmla="*/ 3880271 w 8387961"/>
                <a:gd name="connsiteY5099" fmla="*/ 465041 h 3980066"/>
                <a:gd name="connsiteX5100" fmla="*/ 3896952 w 8387961"/>
                <a:gd name="connsiteY5100" fmla="*/ 459992 h 3980066"/>
                <a:gd name="connsiteX5101" fmla="*/ 3896952 w 8387961"/>
                <a:gd name="connsiteY5101" fmla="*/ 451579 h 3980066"/>
                <a:gd name="connsiteX5102" fmla="*/ 3888611 w 8387961"/>
                <a:gd name="connsiteY5102" fmla="*/ 454944 h 3980066"/>
                <a:gd name="connsiteX5103" fmla="*/ 3876935 w 8387961"/>
                <a:gd name="connsiteY5103" fmla="*/ 463359 h 3980066"/>
                <a:gd name="connsiteX5104" fmla="*/ 3868595 w 8387961"/>
                <a:gd name="connsiteY5104" fmla="*/ 458309 h 3980066"/>
                <a:gd name="connsiteX5105" fmla="*/ 3875267 w 8387961"/>
                <a:gd name="connsiteY5105" fmla="*/ 451579 h 3980066"/>
                <a:gd name="connsiteX5106" fmla="*/ 3886943 w 8387961"/>
                <a:gd name="connsiteY5106" fmla="*/ 439799 h 3980066"/>
                <a:gd name="connsiteX5107" fmla="*/ 3895283 w 8387961"/>
                <a:gd name="connsiteY5107" fmla="*/ 438116 h 3980066"/>
                <a:gd name="connsiteX5108" fmla="*/ 3905292 w 8387961"/>
                <a:gd name="connsiteY5108" fmla="*/ 433068 h 3980066"/>
                <a:gd name="connsiteX5109" fmla="*/ 3910295 w 8387961"/>
                <a:gd name="connsiteY5109" fmla="*/ 424654 h 3980066"/>
                <a:gd name="connsiteX5110" fmla="*/ 3910296 w 8387961"/>
                <a:gd name="connsiteY5110" fmla="*/ 424653 h 3980066"/>
                <a:gd name="connsiteX5111" fmla="*/ 3925308 w 8387961"/>
                <a:gd name="connsiteY5111" fmla="*/ 419605 h 3980066"/>
                <a:gd name="connsiteX5112" fmla="*/ 3920304 w 8387961"/>
                <a:gd name="connsiteY5112" fmla="*/ 417923 h 3980066"/>
                <a:gd name="connsiteX5113" fmla="*/ 3920304 w 8387961"/>
                <a:gd name="connsiteY5113" fmla="*/ 411191 h 3980066"/>
                <a:gd name="connsiteX5114" fmla="*/ 3920304 w 8387961"/>
                <a:gd name="connsiteY5114" fmla="*/ 404459 h 3980066"/>
                <a:gd name="connsiteX5115" fmla="*/ 3925308 w 8387961"/>
                <a:gd name="connsiteY5115" fmla="*/ 397729 h 3980066"/>
                <a:gd name="connsiteX5116" fmla="*/ 3941989 w 8387961"/>
                <a:gd name="connsiteY5116" fmla="*/ 390998 h 3980066"/>
                <a:gd name="connsiteX5117" fmla="*/ 3930313 w 8387961"/>
                <a:gd name="connsiteY5117" fmla="*/ 390998 h 3980066"/>
                <a:gd name="connsiteX5118" fmla="*/ 3926976 w 8387961"/>
                <a:gd name="connsiteY5118" fmla="*/ 389314 h 3980066"/>
                <a:gd name="connsiteX5119" fmla="*/ 3931981 w 8387961"/>
                <a:gd name="connsiteY5119" fmla="*/ 382583 h 3980066"/>
                <a:gd name="connsiteX5120" fmla="*/ 3930313 w 8387961"/>
                <a:gd name="connsiteY5120" fmla="*/ 382583 h 3980066"/>
                <a:gd name="connsiteX5121" fmla="*/ 3940321 w 8387961"/>
                <a:gd name="connsiteY5121" fmla="*/ 377535 h 3980066"/>
                <a:gd name="connsiteX5122" fmla="*/ 3957001 w 8387961"/>
                <a:gd name="connsiteY5122" fmla="*/ 370804 h 3980066"/>
                <a:gd name="connsiteX5123" fmla="*/ 3972014 w 8387961"/>
                <a:gd name="connsiteY5123" fmla="*/ 370804 h 3980066"/>
                <a:gd name="connsiteX5124" fmla="*/ 3958669 w 8387961"/>
                <a:gd name="connsiteY5124" fmla="*/ 364071 h 3980066"/>
                <a:gd name="connsiteX5125" fmla="*/ 3960338 w 8387961"/>
                <a:gd name="connsiteY5125" fmla="*/ 360707 h 3980066"/>
                <a:gd name="connsiteX5126" fmla="*/ 3972014 w 8387961"/>
                <a:gd name="connsiteY5126" fmla="*/ 360707 h 3980066"/>
                <a:gd name="connsiteX5127" fmla="*/ 3975350 w 8387961"/>
                <a:gd name="connsiteY5127" fmla="*/ 360707 h 3980066"/>
                <a:gd name="connsiteX5128" fmla="*/ 3970346 w 8387961"/>
                <a:gd name="connsiteY5128" fmla="*/ 357341 h 3980066"/>
                <a:gd name="connsiteX5129" fmla="*/ 3977018 w 8387961"/>
                <a:gd name="connsiteY5129" fmla="*/ 352292 h 3980066"/>
                <a:gd name="connsiteX5130" fmla="*/ 3958669 w 8387961"/>
                <a:gd name="connsiteY5130" fmla="*/ 353974 h 3980066"/>
                <a:gd name="connsiteX5131" fmla="*/ 3972014 w 8387961"/>
                <a:gd name="connsiteY5131" fmla="*/ 343879 h 3980066"/>
                <a:gd name="connsiteX5132" fmla="*/ 3978686 w 8387961"/>
                <a:gd name="connsiteY5132" fmla="*/ 342195 h 3980066"/>
                <a:gd name="connsiteX5133" fmla="*/ 3985358 w 8387961"/>
                <a:gd name="connsiteY5133" fmla="*/ 348926 h 3980066"/>
                <a:gd name="connsiteX5134" fmla="*/ 3985358 w 8387961"/>
                <a:gd name="connsiteY5134" fmla="*/ 347244 h 3980066"/>
                <a:gd name="connsiteX5135" fmla="*/ 3988694 w 8387961"/>
                <a:gd name="connsiteY5135" fmla="*/ 340513 h 3980066"/>
                <a:gd name="connsiteX5136" fmla="*/ 3990362 w 8387961"/>
                <a:gd name="connsiteY5136" fmla="*/ 338830 h 3980066"/>
                <a:gd name="connsiteX5137" fmla="*/ 4005375 w 8387961"/>
                <a:gd name="connsiteY5137" fmla="*/ 340513 h 3980066"/>
                <a:gd name="connsiteX5138" fmla="*/ 4008711 w 8387961"/>
                <a:gd name="connsiteY5138" fmla="*/ 333782 h 3980066"/>
                <a:gd name="connsiteX5139" fmla="*/ 3987026 w 8387961"/>
                <a:gd name="connsiteY5139" fmla="*/ 332098 h 3980066"/>
                <a:gd name="connsiteX5140" fmla="*/ 4008711 w 8387961"/>
                <a:gd name="connsiteY5140" fmla="*/ 328732 h 3980066"/>
                <a:gd name="connsiteX5141" fmla="*/ 4012047 w 8387961"/>
                <a:gd name="connsiteY5141" fmla="*/ 327050 h 3980066"/>
                <a:gd name="connsiteX5142" fmla="*/ 4010379 w 8387961"/>
                <a:gd name="connsiteY5142" fmla="*/ 316954 h 3980066"/>
                <a:gd name="connsiteX5143" fmla="*/ 4017051 w 8387961"/>
                <a:gd name="connsiteY5143" fmla="*/ 310222 h 3980066"/>
                <a:gd name="connsiteX5144" fmla="*/ 4027060 w 8387961"/>
                <a:gd name="connsiteY5144" fmla="*/ 311905 h 3980066"/>
                <a:gd name="connsiteX5145" fmla="*/ 4025392 w 8387961"/>
                <a:gd name="connsiteY5145" fmla="*/ 308538 h 3980066"/>
                <a:gd name="connsiteX5146" fmla="*/ 4038736 w 8387961"/>
                <a:gd name="connsiteY5146" fmla="*/ 310222 h 3980066"/>
                <a:gd name="connsiteX5147" fmla="*/ 4037068 w 8387961"/>
                <a:gd name="connsiteY5147" fmla="*/ 303491 h 3980066"/>
                <a:gd name="connsiteX5148" fmla="*/ 4040404 w 8387961"/>
                <a:gd name="connsiteY5148" fmla="*/ 298442 h 3980066"/>
                <a:gd name="connsiteX5149" fmla="*/ 4045408 w 8387961"/>
                <a:gd name="connsiteY5149" fmla="*/ 306855 h 3980066"/>
                <a:gd name="connsiteX5150" fmla="*/ 4050412 w 8387961"/>
                <a:gd name="connsiteY5150" fmla="*/ 303491 h 3980066"/>
                <a:gd name="connsiteX5151" fmla="*/ 4052080 w 8387961"/>
                <a:gd name="connsiteY5151" fmla="*/ 296758 h 3980066"/>
                <a:gd name="connsiteX5152" fmla="*/ 4052080 w 8387961"/>
                <a:gd name="connsiteY5152" fmla="*/ 311905 h 3980066"/>
                <a:gd name="connsiteX5153" fmla="*/ 4060421 w 8387961"/>
                <a:gd name="connsiteY5153" fmla="*/ 303491 h 3980066"/>
                <a:gd name="connsiteX5154" fmla="*/ 4072097 w 8387961"/>
                <a:gd name="connsiteY5154" fmla="*/ 298442 h 3980066"/>
                <a:gd name="connsiteX5155" fmla="*/ 4085441 w 8387961"/>
                <a:gd name="connsiteY5155" fmla="*/ 298442 h 3980066"/>
                <a:gd name="connsiteX5156" fmla="*/ 4088778 w 8387961"/>
                <a:gd name="connsiteY5156" fmla="*/ 293394 h 3980066"/>
                <a:gd name="connsiteX5157" fmla="*/ 4075433 w 8387961"/>
                <a:gd name="connsiteY5157" fmla="*/ 290028 h 3980066"/>
                <a:gd name="connsiteX5158" fmla="*/ 4097118 w 8387961"/>
                <a:gd name="connsiteY5158" fmla="*/ 288345 h 3980066"/>
                <a:gd name="connsiteX5159" fmla="*/ 4095450 w 8387961"/>
                <a:gd name="connsiteY5159" fmla="*/ 291710 h 3980066"/>
                <a:gd name="connsiteX5160" fmla="*/ 4108794 w 8387961"/>
                <a:gd name="connsiteY5160" fmla="*/ 291710 h 3980066"/>
                <a:gd name="connsiteX5161" fmla="*/ 4130479 w 8387961"/>
                <a:gd name="connsiteY5161" fmla="*/ 278247 h 3980066"/>
                <a:gd name="connsiteX5162" fmla="*/ 4130479 w 8387961"/>
                <a:gd name="connsiteY5162" fmla="*/ 273200 h 3980066"/>
                <a:gd name="connsiteX5163" fmla="*/ 4145491 w 8387961"/>
                <a:gd name="connsiteY5163" fmla="*/ 273200 h 3980066"/>
                <a:gd name="connsiteX5164" fmla="*/ 4150495 w 8387961"/>
                <a:gd name="connsiteY5164" fmla="*/ 276566 h 3980066"/>
                <a:gd name="connsiteX5165" fmla="*/ 4142155 w 8387961"/>
                <a:gd name="connsiteY5165" fmla="*/ 291710 h 3980066"/>
                <a:gd name="connsiteX5166" fmla="*/ 4165508 w 8387961"/>
                <a:gd name="connsiteY5166" fmla="*/ 271517 h 3980066"/>
                <a:gd name="connsiteX5167" fmla="*/ 4170512 w 8387961"/>
                <a:gd name="connsiteY5167" fmla="*/ 286663 h 3980066"/>
                <a:gd name="connsiteX5168" fmla="*/ 4182188 w 8387961"/>
                <a:gd name="connsiteY5168" fmla="*/ 271517 h 3980066"/>
                <a:gd name="connsiteX5169" fmla="*/ 7034452 w 8387961"/>
                <a:gd name="connsiteY5169" fmla="*/ 257606 h 3980066"/>
                <a:gd name="connsiteX5170" fmla="*/ 7059264 w 8387961"/>
                <a:gd name="connsiteY5170" fmla="*/ 272519 h 3980066"/>
                <a:gd name="connsiteX5171" fmla="*/ 7045086 w 8387961"/>
                <a:gd name="connsiteY5171" fmla="*/ 274177 h 3980066"/>
                <a:gd name="connsiteX5172" fmla="*/ 7029135 w 8387961"/>
                <a:gd name="connsiteY5172" fmla="*/ 267548 h 3980066"/>
                <a:gd name="connsiteX5173" fmla="*/ 308187 w 8387961"/>
                <a:gd name="connsiteY5173" fmla="*/ 257606 h 3980066"/>
                <a:gd name="connsiteX5174" fmla="*/ 337447 w 8387961"/>
                <a:gd name="connsiteY5174" fmla="*/ 262690 h 3980066"/>
                <a:gd name="connsiteX5175" fmla="*/ 334012 w 8387961"/>
                <a:gd name="connsiteY5175" fmla="*/ 267774 h 3980066"/>
                <a:gd name="connsiteX5176" fmla="*/ 277197 w 8387961"/>
                <a:gd name="connsiteY5176" fmla="*/ 271164 h 3980066"/>
                <a:gd name="connsiteX5177" fmla="*/ 1903519 w 8387961"/>
                <a:gd name="connsiteY5177" fmla="*/ 250408 h 3980066"/>
                <a:gd name="connsiteX5178" fmla="*/ 1911876 w 8387961"/>
                <a:gd name="connsiteY5178" fmla="*/ 250408 h 3980066"/>
                <a:gd name="connsiteX5179" fmla="*/ 1923585 w 8387961"/>
                <a:gd name="connsiteY5179" fmla="*/ 258781 h 3980066"/>
                <a:gd name="connsiteX5180" fmla="*/ 1915222 w 8387961"/>
                <a:gd name="connsiteY5180" fmla="*/ 273852 h 3980066"/>
                <a:gd name="connsiteX5181" fmla="*/ 1923585 w 8387961"/>
                <a:gd name="connsiteY5181" fmla="*/ 288922 h 3980066"/>
                <a:gd name="connsiteX5182" fmla="*/ 1913549 w 8387961"/>
                <a:gd name="connsiteY5182" fmla="*/ 288922 h 3980066"/>
                <a:gd name="connsiteX5183" fmla="*/ 1913549 w 8387961"/>
                <a:gd name="connsiteY5183" fmla="*/ 292271 h 3980066"/>
                <a:gd name="connsiteX5184" fmla="*/ 1898511 w 8387961"/>
                <a:gd name="connsiteY5184" fmla="*/ 300644 h 3980066"/>
                <a:gd name="connsiteX5185" fmla="*/ 1900184 w 8387961"/>
                <a:gd name="connsiteY5185" fmla="*/ 302318 h 3980066"/>
                <a:gd name="connsiteX5186" fmla="*/ 1921913 w 8387961"/>
                <a:gd name="connsiteY5186" fmla="*/ 303993 h 3980066"/>
                <a:gd name="connsiteX5187" fmla="*/ 1933607 w 8387961"/>
                <a:gd name="connsiteY5187" fmla="*/ 309016 h 3980066"/>
                <a:gd name="connsiteX5188" fmla="*/ 1913549 w 8387961"/>
                <a:gd name="connsiteY5188" fmla="*/ 312365 h 3980066"/>
                <a:gd name="connsiteX5189" fmla="*/ 1921913 w 8387961"/>
                <a:gd name="connsiteY5189" fmla="*/ 319063 h 3980066"/>
                <a:gd name="connsiteX5190" fmla="*/ 1911876 w 8387961"/>
                <a:gd name="connsiteY5190" fmla="*/ 340832 h 3980066"/>
                <a:gd name="connsiteX5191" fmla="*/ 1948651 w 8387961"/>
                <a:gd name="connsiteY5191" fmla="*/ 314040 h 3980066"/>
                <a:gd name="connsiteX5192" fmla="*/ 1965371 w 8387961"/>
                <a:gd name="connsiteY5192" fmla="*/ 322413 h 3980066"/>
                <a:gd name="connsiteX5193" fmla="*/ 1953665 w 8387961"/>
                <a:gd name="connsiteY5193" fmla="*/ 340832 h 3980066"/>
                <a:gd name="connsiteX5194" fmla="*/ 1945315 w 8387961"/>
                <a:gd name="connsiteY5194" fmla="*/ 344182 h 3980066"/>
                <a:gd name="connsiteX5195" fmla="*/ 1950322 w 8387961"/>
                <a:gd name="connsiteY5195" fmla="*/ 364276 h 3980066"/>
                <a:gd name="connsiteX5196" fmla="*/ 1965371 w 8387961"/>
                <a:gd name="connsiteY5196" fmla="*/ 362600 h 3980066"/>
                <a:gd name="connsiteX5197" fmla="*/ 2010502 w 8387961"/>
                <a:gd name="connsiteY5197" fmla="*/ 327436 h 3980066"/>
                <a:gd name="connsiteX5198" fmla="*/ 2028887 w 8387961"/>
                <a:gd name="connsiteY5198" fmla="*/ 327436 h 3980066"/>
                <a:gd name="connsiteX5199" fmla="*/ 2030558 w 8387961"/>
                <a:gd name="connsiteY5199" fmla="*/ 322413 h 3980066"/>
                <a:gd name="connsiteX5200" fmla="*/ 2028887 w 8387961"/>
                <a:gd name="connsiteY5200" fmla="*/ 317389 h 3980066"/>
                <a:gd name="connsiteX5201" fmla="*/ 2033903 w 8387961"/>
                <a:gd name="connsiteY5201" fmla="*/ 302318 h 3980066"/>
                <a:gd name="connsiteX5202" fmla="*/ 2092406 w 8387961"/>
                <a:gd name="connsiteY5202" fmla="*/ 303993 h 3980066"/>
                <a:gd name="connsiteX5203" fmla="*/ 2070675 w 8387961"/>
                <a:gd name="connsiteY5203" fmla="*/ 307342 h 3980066"/>
                <a:gd name="connsiteX5204" fmla="*/ 2102436 w 8387961"/>
                <a:gd name="connsiteY5204" fmla="*/ 314040 h 3980066"/>
                <a:gd name="connsiteX5205" fmla="*/ 2082379 w 8387961"/>
                <a:gd name="connsiteY5205" fmla="*/ 322413 h 3980066"/>
                <a:gd name="connsiteX5206" fmla="*/ 2095749 w 8387961"/>
                <a:gd name="connsiteY5206" fmla="*/ 327436 h 3980066"/>
                <a:gd name="connsiteX5207" fmla="*/ 2072347 w 8387961"/>
                <a:gd name="connsiteY5207" fmla="*/ 334135 h 3980066"/>
                <a:gd name="connsiteX5208" fmla="*/ 2070675 w 8387961"/>
                <a:gd name="connsiteY5208" fmla="*/ 342507 h 3980066"/>
                <a:gd name="connsiteX5209" fmla="*/ 2072347 w 8387961"/>
                <a:gd name="connsiteY5209" fmla="*/ 357577 h 3980066"/>
                <a:gd name="connsiteX5210" fmla="*/ 2063996 w 8387961"/>
                <a:gd name="connsiteY5210" fmla="*/ 369299 h 3980066"/>
                <a:gd name="connsiteX5211" fmla="*/ 2015520 w 8387961"/>
                <a:gd name="connsiteY5211" fmla="*/ 387719 h 3980066"/>
                <a:gd name="connsiteX5212" fmla="*/ 2008828 w 8387961"/>
                <a:gd name="connsiteY5212" fmla="*/ 379346 h 3980066"/>
                <a:gd name="connsiteX5213" fmla="*/ 2002141 w 8387961"/>
                <a:gd name="connsiteY5213" fmla="*/ 377672 h 3980066"/>
                <a:gd name="connsiteX5214" fmla="*/ 1992118 w 8387961"/>
                <a:gd name="connsiteY5214" fmla="*/ 374323 h 3980066"/>
                <a:gd name="connsiteX5215" fmla="*/ 2002141 w 8387961"/>
                <a:gd name="connsiteY5215" fmla="*/ 389393 h 3980066"/>
                <a:gd name="connsiteX5216" fmla="*/ 1988772 w 8387961"/>
                <a:gd name="connsiteY5216" fmla="*/ 391067 h 3980066"/>
                <a:gd name="connsiteX5217" fmla="*/ 1975396 w 8387961"/>
                <a:gd name="connsiteY5217" fmla="*/ 384370 h 3980066"/>
                <a:gd name="connsiteX5218" fmla="*/ 1948651 w 8387961"/>
                <a:gd name="connsiteY5218" fmla="*/ 382694 h 3980066"/>
                <a:gd name="connsiteX5219" fmla="*/ 1958680 w 8387961"/>
                <a:gd name="connsiteY5219" fmla="*/ 392742 h 3980066"/>
                <a:gd name="connsiteX5220" fmla="*/ 1911876 w 8387961"/>
                <a:gd name="connsiteY5220" fmla="*/ 414511 h 3980066"/>
                <a:gd name="connsiteX5221" fmla="*/ 1898511 w 8387961"/>
                <a:gd name="connsiteY5221" fmla="*/ 407813 h 3980066"/>
                <a:gd name="connsiteX5222" fmla="*/ 1850035 w 8387961"/>
                <a:gd name="connsiteY5222" fmla="*/ 399440 h 3980066"/>
                <a:gd name="connsiteX5223" fmla="*/ 1875109 w 8387961"/>
                <a:gd name="connsiteY5223" fmla="*/ 411161 h 3980066"/>
                <a:gd name="connsiteX5224" fmla="*/ 1918567 w 8387961"/>
                <a:gd name="connsiteY5224" fmla="*/ 417860 h 3980066"/>
                <a:gd name="connsiteX5225" fmla="*/ 1911876 w 8387961"/>
                <a:gd name="connsiteY5225" fmla="*/ 424558 h 3980066"/>
                <a:gd name="connsiteX5226" fmla="*/ 1865073 w 8387961"/>
                <a:gd name="connsiteY5226" fmla="*/ 449675 h 3980066"/>
                <a:gd name="connsiteX5227" fmla="*/ 1853380 w 8387961"/>
                <a:gd name="connsiteY5227" fmla="*/ 444651 h 3980066"/>
                <a:gd name="connsiteX5228" fmla="*/ 1853380 w 8387961"/>
                <a:gd name="connsiteY5228" fmla="*/ 451350 h 3980066"/>
                <a:gd name="connsiteX5229" fmla="*/ 1841670 w 8387961"/>
                <a:gd name="connsiteY5229" fmla="*/ 448001 h 3980066"/>
                <a:gd name="connsiteX5230" fmla="*/ 1834984 w 8387961"/>
                <a:gd name="connsiteY5230" fmla="*/ 451350 h 3980066"/>
                <a:gd name="connsiteX5231" fmla="*/ 1824960 w 8387961"/>
                <a:gd name="connsiteY5231" fmla="*/ 459722 h 3980066"/>
                <a:gd name="connsiteX5232" fmla="*/ 1793195 w 8387961"/>
                <a:gd name="connsiteY5232" fmla="*/ 453025 h 3980066"/>
                <a:gd name="connsiteX5233" fmla="*/ 1763106 w 8387961"/>
                <a:gd name="connsiteY5233" fmla="*/ 448001 h 3980066"/>
                <a:gd name="connsiteX5234" fmla="*/ 1763106 w 8387961"/>
                <a:gd name="connsiteY5234" fmla="*/ 454698 h 3980066"/>
                <a:gd name="connsiteX5235" fmla="*/ 1788180 w 8387961"/>
                <a:gd name="connsiteY5235" fmla="*/ 459722 h 3980066"/>
                <a:gd name="connsiteX5236" fmla="*/ 1783165 w 8387961"/>
                <a:gd name="connsiteY5236" fmla="*/ 461397 h 3980066"/>
                <a:gd name="connsiteX5237" fmla="*/ 1808239 w 8387961"/>
                <a:gd name="connsiteY5237" fmla="*/ 468095 h 3980066"/>
                <a:gd name="connsiteX5238" fmla="*/ 1804904 w 8387961"/>
                <a:gd name="connsiteY5238" fmla="*/ 474792 h 3980066"/>
                <a:gd name="connsiteX5239" fmla="*/ 1771465 w 8387961"/>
                <a:gd name="connsiteY5239" fmla="*/ 481491 h 3980066"/>
                <a:gd name="connsiteX5240" fmla="*/ 1769793 w 8387961"/>
                <a:gd name="connsiteY5240" fmla="*/ 488189 h 3980066"/>
                <a:gd name="connsiteX5241" fmla="*/ 1758101 w 8387961"/>
                <a:gd name="connsiteY5241" fmla="*/ 489863 h 3980066"/>
                <a:gd name="connsiteX5242" fmla="*/ 1748064 w 8387961"/>
                <a:gd name="connsiteY5242" fmla="*/ 498236 h 3980066"/>
                <a:gd name="connsiteX5243" fmla="*/ 1739705 w 8387961"/>
                <a:gd name="connsiteY5243" fmla="*/ 494887 h 3980066"/>
                <a:gd name="connsiteX5244" fmla="*/ 1743048 w 8387961"/>
                <a:gd name="connsiteY5244" fmla="*/ 498236 h 3980066"/>
                <a:gd name="connsiteX5245" fmla="*/ 1721317 w 8387961"/>
                <a:gd name="connsiteY5245" fmla="*/ 504934 h 3980066"/>
                <a:gd name="connsiteX5246" fmla="*/ 1719646 w 8387961"/>
                <a:gd name="connsiteY5246" fmla="*/ 513306 h 3980066"/>
                <a:gd name="connsiteX5247" fmla="*/ 1672842 w 8387961"/>
                <a:gd name="connsiteY5247" fmla="*/ 543448 h 3980066"/>
                <a:gd name="connsiteX5248" fmla="*/ 1642754 w 8387961"/>
                <a:gd name="connsiteY5248" fmla="*/ 583636 h 3980066"/>
                <a:gd name="connsiteX5249" fmla="*/ 1644425 w 8387961"/>
                <a:gd name="connsiteY5249" fmla="*/ 593683 h 3980066"/>
                <a:gd name="connsiteX5250" fmla="*/ 1637746 w 8387961"/>
                <a:gd name="connsiteY5250" fmla="*/ 608753 h 3980066"/>
                <a:gd name="connsiteX5251" fmla="*/ 1644425 w 8387961"/>
                <a:gd name="connsiteY5251" fmla="*/ 598706 h 3980066"/>
                <a:gd name="connsiteX5252" fmla="*/ 1664484 w 8387961"/>
                <a:gd name="connsiteY5252" fmla="*/ 593683 h 3980066"/>
                <a:gd name="connsiteX5253" fmla="*/ 1667827 w 8387961"/>
                <a:gd name="connsiteY5253" fmla="*/ 610428 h 3980066"/>
                <a:gd name="connsiteX5254" fmla="*/ 1649440 w 8387961"/>
                <a:gd name="connsiteY5254" fmla="*/ 643918 h 3980066"/>
                <a:gd name="connsiteX5255" fmla="*/ 1654457 w 8387961"/>
                <a:gd name="connsiteY5255" fmla="*/ 642244 h 3980066"/>
                <a:gd name="connsiteX5256" fmla="*/ 1652784 w 8387961"/>
                <a:gd name="connsiteY5256" fmla="*/ 643918 h 3980066"/>
                <a:gd name="connsiteX5257" fmla="*/ 1691229 w 8387961"/>
                <a:gd name="connsiteY5257" fmla="*/ 633871 h 3980066"/>
                <a:gd name="connsiteX5258" fmla="*/ 1721317 w 8387961"/>
                <a:gd name="connsiteY5258" fmla="*/ 643918 h 3980066"/>
                <a:gd name="connsiteX5259" fmla="*/ 1744720 w 8387961"/>
                <a:gd name="connsiteY5259" fmla="*/ 669036 h 3980066"/>
                <a:gd name="connsiteX5260" fmla="*/ 1768121 w 8387961"/>
                <a:gd name="connsiteY5260" fmla="*/ 679083 h 3980066"/>
                <a:gd name="connsiteX5261" fmla="*/ 1788180 w 8387961"/>
                <a:gd name="connsiteY5261" fmla="*/ 689130 h 3980066"/>
                <a:gd name="connsiteX5262" fmla="*/ 1778156 w 8387961"/>
                <a:gd name="connsiteY5262" fmla="*/ 695828 h 3980066"/>
                <a:gd name="connsiteX5263" fmla="*/ 1784837 w 8387961"/>
                <a:gd name="connsiteY5263" fmla="*/ 692479 h 3980066"/>
                <a:gd name="connsiteX5264" fmla="*/ 1813254 w 8387961"/>
                <a:gd name="connsiteY5264" fmla="*/ 692479 h 3980066"/>
                <a:gd name="connsiteX5265" fmla="*/ 1841670 w 8387961"/>
                <a:gd name="connsiteY5265" fmla="*/ 694154 h 3980066"/>
                <a:gd name="connsiteX5266" fmla="*/ 1829969 w 8387961"/>
                <a:gd name="connsiteY5266" fmla="*/ 722620 h 3980066"/>
                <a:gd name="connsiteX5267" fmla="*/ 1819941 w 8387961"/>
                <a:gd name="connsiteY5267" fmla="*/ 751086 h 3980066"/>
                <a:gd name="connsiteX5268" fmla="*/ 1821615 w 8387961"/>
                <a:gd name="connsiteY5268" fmla="*/ 771180 h 3980066"/>
                <a:gd name="connsiteX5269" fmla="*/ 1818268 w 8387961"/>
                <a:gd name="connsiteY5269" fmla="*/ 779553 h 3980066"/>
                <a:gd name="connsiteX5270" fmla="*/ 1834984 w 8387961"/>
                <a:gd name="connsiteY5270" fmla="*/ 799647 h 3980066"/>
                <a:gd name="connsiteX5271" fmla="*/ 1818268 w 8387961"/>
                <a:gd name="connsiteY5271" fmla="*/ 813043 h 3980066"/>
                <a:gd name="connsiteX5272" fmla="*/ 1834984 w 8387961"/>
                <a:gd name="connsiteY5272" fmla="*/ 802996 h 3980066"/>
                <a:gd name="connsiteX5273" fmla="*/ 1851708 w 8387961"/>
                <a:gd name="connsiteY5273" fmla="*/ 821416 h 3980066"/>
                <a:gd name="connsiteX5274" fmla="*/ 1848362 w 8387961"/>
                <a:gd name="connsiteY5274" fmla="*/ 813043 h 3980066"/>
                <a:gd name="connsiteX5275" fmla="*/ 1863401 w 8387961"/>
                <a:gd name="connsiteY5275" fmla="*/ 794624 h 3980066"/>
                <a:gd name="connsiteX5276" fmla="*/ 1868418 w 8387961"/>
                <a:gd name="connsiteY5276" fmla="*/ 804671 h 3980066"/>
                <a:gd name="connsiteX5277" fmla="*/ 1873436 w 8387961"/>
                <a:gd name="connsiteY5277" fmla="*/ 799647 h 3980066"/>
                <a:gd name="connsiteX5278" fmla="*/ 1881788 w 8387961"/>
                <a:gd name="connsiteY5278" fmla="*/ 784577 h 3980066"/>
                <a:gd name="connsiteX5279" fmla="*/ 1893492 w 8387961"/>
                <a:gd name="connsiteY5279" fmla="*/ 769506 h 3980066"/>
                <a:gd name="connsiteX5280" fmla="*/ 1901847 w 8387961"/>
                <a:gd name="connsiteY5280" fmla="*/ 729318 h 3980066"/>
                <a:gd name="connsiteX5281" fmla="*/ 1900184 w 8387961"/>
                <a:gd name="connsiteY5281" fmla="*/ 709224 h 3980066"/>
                <a:gd name="connsiteX5282" fmla="*/ 1915222 w 8387961"/>
                <a:gd name="connsiteY5282" fmla="*/ 702526 h 3980066"/>
                <a:gd name="connsiteX5283" fmla="*/ 1948651 w 8387961"/>
                <a:gd name="connsiteY5283" fmla="*/ 689130 h 3980066"/>
                <a:gd name="connsiteX5284" fmla="*/ 1980411 w 8387961"/>
                <a:gd name="connsiteY5284" fmla="*/ 672385 h 3980066"/>
                <a:gd name="connsiteX5285" fmla="*/ 1992118 w 8387961"/>
                <a:gd name="connsiteY5285" fmla="*/ 648942 h 3980066"/>
                <a:gd name="connsiteX5286" fmla="*/ 2005484 w 8387961"/>
                <a:gd name="connsiteY5286" fmla="*/ 623824 h 3980066"/>
                <a:gd name="connsiteX5287" fmla="*/ 1982083 w 8387961"/>
                <a:gd name="connsiteY5287" fmla="*/ 598706 h 3980066"/>
                <a:gd name="connsiteX5288" fmla="*/ 2015520 w 8387961"/>
                <a:gd name="connsiteY5288" fmla="*/ 570240 h 3980066"/>
                <a:gd name="connsiteX5289" fmla="*/ 2020528 w 8387961"/>
                <a:gd name="connsiteY5289" fmla="*/ 568565 h 3980066"/>
                <a:gd name="connsiteX5290" fmla="*/ 2030558 w 8387961"/>
                <a:gd name="connsiteY5290" fmla="*/ 558518 h 3980066"/>
                <a:gd name="connsiteX5291" fmla="*/ 2035576 w 8387961"/>
                <a:gd name="connsiteY5291" fmla="*/ 538424 h 3980066"/>
                <a:gd name="connsiteX5292" fmla="*/ 2030558 w 8387961"/>
                <a:gd name="connsiteY5292" fmla="*/ 538424 h 3980066"/>
                <a:gd name="connsiteX5293" fmla="*/ 2043930 w 8387961"/>
                <a:gd name="connsiteY5293" fmla="*/ 520004 h 3980066"/>
                <a:gd name="connsiteX5294" fmla="*/ 2042267 w 8387961"/>
                <a:gd name="connsiteY5294" fmla="*/ 511632 h 3980066"/>
                <a:gd name="connsiteX5295" fmla="*/ 2060650 w 8387961"/>
                <a:gd name="connsiteY5295" fmla="*/ 491538 h 3980066"/>
                <a:gd name="connsiteX5296" fmla="*/ 2100764 w 8387961"/>
                <a:gd name="connsiteY5296" fmla="*/ 498236 h 3980066"/>
                <a:gd name="connsiteX5297" fmla="*/ 2092406 w 8387961"/>
                <a:gd name="connsiteY5297" fmla="*/ 499910 h 3980066"/>
                <a:gd name="connsiteX5298" fmla="*/ 2115808 w 8387961"/>
                <a:gd name="connsiteY5298" fmla="*/ 499910 h 3980066"/>
                <a:gd name="connsiteX5299" fmla="*/ 2140881 w 8387961"/>
                <a:gd name="connsiteY5299" fmla="*/ 491538 h 3980066"/>
                <a:gd name="connsiteX5300" fmla="*/ 2160949 w 8387961"/>
                <a:gd name="connsiteY5300" fmla="*/ 501585 h 3980066"/>
                <a:gd name="connsiteX5301" fmla="*/ 2159276 w 8387961"/>
                <a:gd name="connsiteY5301" fmla="*/ 504934 h 3980066"/>
                <a:gd name="connsiteX5302" fmla="*/ 2165955 w 8387961"/>
                <a:gd name="connsiteY5302" fmla="*/ 514981 h 3980066"/>
                <a:gd name="connsiteX5303" fmla="*/ 2174314 w 8387961"/>
                <a:gd name="connsiteY5303" fmla="*/ 513306 h 3980066"/>
                <a:gd name="connsiteX5304" fmla="*/ 2165955 w 8387961"/>
                <a:gd name="connsiteY5304" fmla="*/ 521679 h 3980066"/>
                <a:gd name="connsiteX5305" fmla="*/ 2196043 w 8387961"/>
                <a:gd name="connsiteY5305" fmla="*/ 533401 h 3980066"/>
                <a:gd name="connsiteX5306" fmla="*/ 2204406 w 8387961"/>
                <a:gd name="connsiteY5306" fmla="*/ 533401 h 3980066"/>
                <a:gd name="connsiteX5307" fmla="*/ 2201061 w 8387961"/>
                <a:gd name="connsiteY5307" fmla="*/ 540098 h 3980066"/>
                <a:gd name="connsiteX5308" fmla="*/ 2196043 w 8387961"/>
                <a:gd name="connsiteY5308" fmla="*/ 553494 h 3980066"/>
                <a:gd name="connsiteX5309" fmla="*/ 2164283 w 8387961"/>
                <a:gd name="connsiteY5309" fmla="*/ 555169 h 3980066"/>
                <a:gd name="connsiteX5310" fmla="*/ 2191029 w 8387961"/>
                <a:gd name="connsiteY5310" fmla="*/ 560193 h 3980066"/>
                <a:gd name="connsiteX5311" fmla="*/ 2182678 w 8387961"/>
                <a:gd name="connsiteY5311" fmla="*/ 571914 h 3980066"/>
                <a:gd name="connsiteX5312" fmla="*/ 2189357 w 8387961"/>
                <a:gd name="connsiteY5312" fmla="*/ 575263 h 3980066"/>
                <a:gd name="connsiteX5313" fmla="*/ 2181005 w 8387961"/>
                <a:gd name="connsiteY5313" fmla="*/ 590334 h 3980066"/>
                <a:gd name="connsiteX5314" fmla="*/ 2172642 w 8387961"/>
                <a:gd name="connsiteY5314" fmla="*/ 588659 h 3980066"/>
                <a:gd name="connsiteX5315" fmla="*/ 2162612 w 8387961"/>
                <a:gd name="connsiteY5315" fmla="*/ 593683 h 3980066"/>
                <a:gd name="connsiteX5316" fmla="*/ 2169298 w 8387961"/>
                <a:gd name="connsiteY5316" fmla="*/ 593683 h 3980066"/>
                <a:gd name="connsiteX5317" fmla="*/ 2196043 w 8387961"/>
                <a:gd name="connsiteY5317" fmla="*/ 588659 h 3980066"/>
                <a:gd name="connsiteX5318" fmla="*/ 2200791 w 8387961"/>
                <a:gd name="connsiteY5318" fmla="*/ 604514 h 3980066"/>
                <a:gd name="connsiteX5319" fmla="*/ 2199280 w 8387961"/>
                <a:gd name="connsiteY5319" fmla="*/ 606251 h 3980066"/>
                <a:gd name="connsiteX5320" fmla="*/ 2169298 w 8387961"/>
                <a:gd name="connsiteY5320" fmla="*/ 620475 h 3980066"/>
                <a:gd name="connsiteX5321" fmla="*/ 2192700 w 8387961"/>
                <a:gd name="connsiteY5321" fmla="*/ 613777 h 3980066"/>
                <a:gd name="connsiteX5322" fmla="*/ 2199280 w 8387961"/>
                <a:gd name="connsiteY5322" fmla="*/ 606251 h 3980066"/>
                <a:gd name="connsiteX5323" fmla="*/ 2201061 w 8387961"/>
                <a:gd name="connsiteY5323" fmla="*/ 605404 h 3980066"/>
                <a:gd name="connsiteX5324" fmla="*/ 2200791 w 8387961"/>
                <a:gd name="connsiteY5324" fmla="*/ 604514 h 3980066"/>
                <a:gd name="connsiteX5325" fmla="*/ 2204406 w 8387961"/>
                <a:gd name="connsiteY5325" fmla="*/ 600381 h 3980066"/>
                <a:gd name="connsiteX5326" fmla="*/ 2201061 w 8387961"/>
                <a:gd name="connsiteY5326" fmla="*/ 610428 h 3980066"/>
                <a:gd name="connsiteX5327" fmla="*/ 2209416 w 8387961"/>
                <a:gd name="connsiteY5327" fmla="*/ 605404 h 3980066"/>
                <a:gd name="connsiteX5328" fmla="*/ 2206079 w 8387961"/>
                <a:gd name="connsiteY5328" fmla="*/ 615452 h 3980066"/>
                <a:gd name="connsiteX5329" fmla="*/ 2222790 w 8387961"/>
                <a:gd name="connsiteY5329" fmla="*/ 603730 h 3980066"/>
                <a:gd name="connsiteX5330" fmla="*/ 2244519 w 8387961"/>
                <a:gd name="connsiteY5330" fmla="*/ 592008 h 3980066"/>
                <a:gd name="connsiteX5331" fmla="*/ 2249537 w 8387961"/>
                <a:gd name="connsiteY5331" fmla="*/ 603730 h 3980066"/>
                <a:gd name="connsiteX5332" fmla="*/ 2252883 w 8387961"/>
                <a:gd name="connsiteY5332" fmla="*/ 595357 h 3980066"/>
                <a:gd name="connsiteX5333" fmla="*/ 2264577 w 8387961"/>
                <a:gd name="connsiteY5333" fmla="*/ 583636 h 3980066"/>
                <a:gd name="connsiteX5334" fmla="*/ 2272939 w 8387961"/>
                <a:gd name="connsiteY5334" fmla="*/ 578612 h 3980066"/>
                <a:gd name="connsiteX5335" fmla="*/ 2281294 w 8387961"/>
                <a:gd name="connsiteY5335" fmla="*/ 573589 h 3980066"/>
                <a:gd name="connsiteX5336" fmla="*/ 2274612 w 8387961"/>
                <a:gd name="connsiteY5336" fmla="*/ 565216 h 3980066"/>
                <a:gd name="connsiteX5337" fmla="*/ 2286308 w 8387961"/>
                <a:gd name="connsiteY5337" fmla="*/ 565216 h 3980066"/>
                <a:gd name="connsiteX5338" fmla="*/ 2286308 w 8387961"/>
                <a:gd name="connsiteY5338" fmla="*/ 558518 h 3980066"/>
                <a:gd name="connsiteX5339" fmla="*/ 2301359 w 8387961"/>
                <a:gd name="connsiteY5339" fmla="*/ 551820 h 3980066"/>
                <a:gd name="connsiteX5340" fmla="*/ 2294668 w 8387961"/>
                <a:gd name="connsiteY5340" fmla="*/ 558518 h 3980066"/>
                <a:gd name="connsiteX5341" fmla="*/ 2303032 w 8387961"/>
                <a:gd name="connsiteY5341" fmla="*/ 555169 h 3980066"/>
                <a:gd name="connsiteX5342" fmla="*/ 2303032 w 8387961"/>
                <a:gd name="connsiteY5342" fmla="*/ 561867 h 3980066"/>
                <a:gd name="connsiteX5343" fmla="*/ 2309710 w 8387961"/>
                <a:gd name="connsiteY5343" fmla="*/ 573589 h 3980066"/>
                <a:gd name="connsiteX5344" fmla="*/ 2313053 w 8387961"/>
                <a:gd name="connsiteY5344" fmla="*/ 578612 h 3980066"/>
                <a:gd name="connsiteX5345" fmla="*/ 2304695 w 8387961"/>
                <a:gd name="connsiteY5345" fmla="*/ 585310 h 3980066"/>
                <a:gd name="connsiteX5346" fmla="*/ 2313053 w 8387961"/>
                <a:gd name="connsiteY5346" fmla="*/ 585310 h 3980066"/>
                <a:gd name="connsiteX5347" fmla="*/ 2321415 w 8387961"/>
                <a:gd name="connsiteY5347" fmla="*/ 592008 h 3980066"/>
                <a:gd name="connsiteX5348" fmla="*/ 2299686 w 8387961"/>
                <a:gd name="connsiteY5348" fmla="*/ 605404 h 3980066"/>
                <a:gd name="connsiteX5349" fmla="*/ 2319742 w 8387961"/>
                <a:gd name="connsiteY5349" fmla="*/ 600381 h 3980066"/>
                <a:gd name="connsiteX5350" fmla="*/ 2321415 w 8387961"/>
                <a:gd name="connsiteY5350" fmla="*/ 605404 h 3980066"/>
                <a:gd name="connsiteX5351" fmla="*/ 2304695 w 8387961"/>
                <a:gd name="connsiteY5351" fmla="*/ 612102 h 3980066"/>
                <a:gd name="connsiteX5352" fmla="*/ 2316397 w 8387961"/>
                <a:gd name="connsiteY5352" fmla="*/ 610428 h 3980066"/>
                <a:gd name="connsiteX5353" fmla="*/ 2319742 w 8387961"/>
                <a:gd name="connsiteY5353" fmla="*/ 613777 h 3980066"/>
                <a:gd name="connsiteX5354" fmla="*/ 2326434 w 8387961"/>
                <a:gd name="connsiteY5354" fmla="*/ 620475 h 3980066"/>
                <a:gd name="connsiteX5355" fmla="*/ 2319742 w 8387961"/>
                <a:gd name="connsiteY5355" fmla="*/ 628848 h 3980066"/>
                <a:gd name="connsiteX5356" fmla="*/ 2324761 w 8387961"/>
                <a:gd name="connsiteY5356" fmla="*/ 632196 h 3980066"/>
                <a:gd name="connsiteX5357" fmla="*/ 2333112 w 8387961"/>
                <a:gd name="connsiteY5357" fmla="*/ 640569 h 3980066"/>
                <a:gd name="connsiteX5358" fmla="*/ 2316397 w 8387961"/>
                <a:gd name="connsiteY5358" fmla="*/ 650616 h 3980066"/>
                <a:gd name="connsiteX5359" fmla="*/ 2309710 w 8387961"/>
                <a:gd name="connsiteY5359" fmla="*/ 645593 h 3980066"/>
                <a:gd name="connsiteX5360" fmla="*/ 2304695 w 8387961"/>
                <a:gd name="connsiteY5360" fmla="*/ 645593 h 3980066"/>
                <a:gd name="connsiteX5361" fmla="*/ 2314725 w 8387961"/>
                <a:gd name="connsiteY5361" fmla="*/ 652291 h 3980066"/>
                <a:gd name="connsiteX5362" fmla="*/ 2309710 w 8387961"/>
                <a:gd name="connsiteY5362" fmla="*/ 652291 h 3980066"/>
                <a:gd name="connsiteX5363" fmla="*/ 2316397 w 8387961"/>
                <a:gd name="connsiteY5363" fmla="*/ 653965 h 3980066"/>
                <a:gd name="connsiteX5364" fmla="*/ 2311382 w 8387961"/>
                <a:gd name="connsiteY5364" fmla="*/ 655640 h 3980066"/>
                <a:gd name="connsiteX5365" fmla="*/ 2319742 w 8387961"/>
                <a:gd name="connsiteY5365" fmla="*/ 662338 h 3980066"/>
                <a:gd name="connsiteX5366" fmla="*/ 2306367 w 8387961"/>
                <a:gd name="connsiteY5366" fmla="*/ 662338 h 3980066"/>
                <a:gd name="connsiteX5367" fmla="*/ 2321415 w 8387961"/>
                <a:gd name="connsiteY5367" fmla="*/ 665687 h 3980066"/>
                <a:gd name="connsiteX5368" fmla="*/ 2331441 w 8387961"/>
                <a:gd name="connsiteY5368" fmla="*/ 679083 h 3980066"/>
                <a:gd name="connsiteX5369" fmla="*/ 2329769 w 8387961"/>
                <a:gd name="connsiteY5369" fmla="*/ 682432 h 3980066"/>
                <a:gd name="connsiteX5370" fmla="*/ 2336455 w 8387961"/>
                <a:gd name="connsiteY5370" fmla="*/ 675734 h 3980066"/>
                <a:gd name="connsiteX5371" fmla="*/ 2334784 w 8387961"/>
                <a:gd name="connsiteY5371" fmla="*/ 685781 h 3980066"/>
                <a:gd name="connsiteX5372" fmla="*/ 2331441 w 8387961"/>
                <a:gd name="connsiteY5372" fmla="*/ 692479 h 3980066"/>
                <a:gd name="connsiteX5373" fmla="*/ 2324761 w 8387961"/>
                <a:gd name="connsiteY5373" fmla="*/ 695828 h 3980066"/>
                <a:gd name="connsiteX5374" fmla="*/ 2339798 w 8387961"/>
                <a:gd name="connsiteY5374" fmla="*/ 690804 h 3980066"/>
                <a:gd name="connsiteX5375" fmla="*/ 2334784 w 8387961"/>
                <a:gd name="connsiteY5375" fmla="*/ 695828 h 3980066"/>
                <a:gd name="connsiteX5376" fmla="*/ 2346490 w 8387961"/>
                <a:gd name="connsiteY5376" fmla="*/ 692479 h 3980066"/>
                <a:gd name="connsiteX5377" fmla="*/ 2349836 w 8387961"/>
                <a:gd name="connsiteY5377" fmla="*/ 694154 h 3980066"/>
                <a:gd name="connsiteX5378" fmla="*/ 2339798 w 8387961"/>
                <a:gd name="connsiteY5378" fmla="*/ 702526 h 3980066"/>
                <a:gd name="connsiteX5379" fmla="*/ 2359857 w 8387961"/>
                <a:gd name="connsiteY5379" fmla="*/ 692479 h 3980066"/>
                <a:gd name="connsiteX5380" fmla="*/ 2351508 w 8387961"/>
                <a:gd name="connsiteY5380" fmla="*/ 699177 h 3980066"/>
                <a:gd name="connsiteX5381" fmla="*/ 2359857 w 8387961"/>
                <a:gd name="connsiteY5381" fmla="*/ 699177 h 3980066"/>
                <a:gd name="connsiteX5382" fmla="*/ 2391620 w 8387961"/>
                <a:gd name="connsiteY5382" fmla="*/ 710899 h 3980066"/>
                <a:gd name="connsiteX5383" fmla="*/ 2339798 w 8387961"/>
                <a:gd name="connsiteY5383" fmla="*/ 725970 h 3980066"/>
                <a:gd name="connsiteX5384" fmla="*/ 2366546 w 8387961"/>
                <a:gd name="connsiteY5384" fmla="*/ 720946 h 3980066"/>
                <a:gd name="connsiteX5385" fmla="*/ 2324761 w 8387961"/>
                <a:gd name="connsiteY5385" fmla="*/ 736017 h 3980066"/>
                <a:gd name="connsiteX5386" fmla="*/ 2309710 w 8387961"/>
                <a:gd name="connsiteY5386" fmla="*/ 734341 h 3980066"/>
                <a:gd name="connsiteX5387" fmla="*/ 2321415 w 8387961"/>
                <a:gd name="connsiteY5387" fmla="*/ 741040 h 3980066"/>
                <a:gd name="connsiteX5388" fmla="*/ 2311382 w 8387961"/>
                <a:gd name="connsiteY5388" fmla="*/ 746064 h 3980066"/>
                <a:gd name="connsiteX5389" fmla="*/ 2341471 w 8387961"/>
                <a:gd name="connsiteY5389" fmla="*/ 736017 h 3980066"/>
                <a:gd name="connsiteX5390" fmla="*/ 2376573 w 8387961"/>
                <a:gd name="connsiteY5390" fmla="*/ 724295 h 3980066"/>
                <a:gd name="connsiteX5391" fmla="*/ 2366546 w 8387961"/>
                <a:gd name="connsiteY5391" fmla="*/ 724295 h 3980066"/>
                <a:gd name="connsiteX5392" fmla="*/ 2386603 w 8387961"/>
                <a:gd name="connsiteY5392" fmla="*/ 722620 h 3980066"/>
                <a:gd name="connsiteX5393" fmla="*/ 2383259 w 8387961"/>
                <a:gd name="connsiteY5393" fmla="*/ 739365 h 3980066"/>
                <a:gd name="connsiteX5394" fmla="*/ 2399975 w 8387961"/>
                <a:gd name="connsiteY5394" fmla="*/ 734341 h 3980066"/>
                <a:gd name="connsiteX5395" fmla="*/ 2396639 w 8387961"/>
                <a:gd name="connsiteY5395" fmla="*/ 736017 h 3980066"/>
                <a:gd name="connsiteX5396" fmla="*/ 2413349 w 8387961"/>
                <a:gd name="connsiteY5396" fmla="*/ 744388 h 3980066"/>
                <a:gd name="connsiteX5397" fmla="*/ 2410004 w 8387961"/>
                <a:gd name="connsiteY5397" fmla="*/ 752761 h 3980066"/>
                <a:gd name="connsiteX5398" fmla="*/ 2404989 w 8387961"/>
                <a:gd name="connsiteY5398" fmla="*/ 761133 h 3980066"/>
                <a:gd name="connsiteX5399" fmla="*/ 2404989 w 8387961"/>
                <a:gd name="connsiteY5399" fmla="*/ 764482 h 3980066"/>
                <a:gd name="connsiteX5400" fmla="*/ 2393293 w 8387961"/>
                <a:gd name="connsiteY5400" fmla="*/ 766157 h 3980066"/>
                <a:gd name="connsiteX5401" fmla="*/ 2410004 w 8387961"/>
                <a:gd name="connsiteY5401" fmla="*/ 771180 h 3980066"/>
                <a:gd name="connsiteX5402" fmla="*/ 2396639 w 8387961"/>
                <a:gd name="connsiteY5402" fmla="*/ 772855 h 3980066"/>
                <a:gd name="connsiteX5403" fmla="*/ 2410004 w 8387961"/>
                <a:gd name="connsiteY5403" fmla="*/ 779553 h 3980066"/>
                <a:gd name="connsiteX5404" fmla="*/ 2364873 w 8387961"/>
                <a:gd name="connsiteY5404" fmla="*/ 801322 h 3980066"/>
                <a:gd name="connsiteX5405" fmla="*/ 2324761 w 8387961"/>
                <a:gd name="connsiteY5405" fmla="*/ 811369 h 3980066"/>
                <a:gd name="connsiteX5406" fmla="*/ 2282965 w 8387961"/>
                <a:gd name="connsiteY5406" fmla="*/ 834812 h 3980066"/>
                <a:gd name="connsiteX5407" fmla="*/ 2236161 w 8387961"/>
                <a:gd name="connsiteY5407" fmla="*/ 834812 h 3980066"/>
                <a:gd name="connsiteX5408" fmla="*/ 2186014 w 8387961"/>
                <a:gd name="connsiteY5408" fmla="*/ 836486 h 3980066"/>
                <a:gd name="connsiteX5409" fmla="*/ 2135874 w 8387961"/>
                <a:gd name="connsiteY5409" fmla="*/ 836486 h 3980066"/>
                <a:gd name="connsiteX5410" fmla="*/ 2110799 w 8387961"/>
                <a:gd name="connsiteY5410" fmla="*/ 861604 h 3980066"/>
                <a:gd name="connsiteX5411" fmla="*/ 2074019 w 8387961"/>
                <a:gd name="connsiteY5411" fmla="*/ 873326 h 3980066"/>
                <a:gd name="connsiteX5412" fmla="*/ 2041171 w 8387961"/>
                <a:gd name="connsiteY5412" fmla="*/ 896360 h 3980066"/>
                <a:gd name="connsiteX5413" fmla="*/ 2015520 w 8387961"/>
                <a:gd name="connsiteY5413" fmla="*/ 886722 h 3980066"/>
                <a:gd name="connsiteX5414" fmla="*/ 2040594 w 8387961"/>
                <a:gd name="connsiteY5414" fmla="*/ 896769 h 3980066"/>
                <a:gd name="connsiteX5415" fmla="*/ 2041171 w 8387961"/>
                <a:gd name="connsiteY5415" fmla="*/ 896360 h 3980066"/>
                <a:gd name="connsiteX5416" fmla="*/ 2042267 w 8387961"/>
                <a:gd name="connsiteY5416" fmla="*/ 896769 h 3980066"/>
                <a:gd name="connsiteX5417" fmla="*/ 2020528 w 8387961"/>
                <a:gd name="connsiteY5417" fmla="*/ 915188 h 3980066"/>
                <a:gd name="connsiteX5418" fmla="*/ 1995463 w 8387961"/>
                <a:gd name="connsiteY5418" fmla="*/ 935282 h 3980066"/>
                <a:gd name="connsiteX5419" fmla="*/ 2032230 w 8387961"/>
                <a:gd name="connsiteY5419" fmla="*/ 915188 h 3980066"/>
                <a:gd name="connsiteX5420" fmla="*/ 2058977 w 8387961"/>
                <a:gd name="connsiteY5420" fmla="*/ 900118 h 3980066"/>
                <a:gd name="connsiteX5421" fmla="*/ 2082379 w 8387961"/>
                <a:gd name="connsiteY5421" fmla="*/ 883373 h 3980066"/>
                <a:gd name="connsiteX5422" fmla="*/ 2115808 w 8387961"/>
                <a:gd name="connsiteY5422" fmla="*/ 873326 h 3980066"/>
                <a:gd name="connsiteX5423" fmla="*/ 2150912 w 8387961"/>
                <a:gd name="connsiteY5423" fmla="*/ 863279 h 3980066"/>
                <a:gd name="connsiteX5424" fmla="*/ 2175986 w 8387961"/>
                <a:gd name="connsiteY5424" fmla="*/ 873326 h 3980066"/>
                <a:gd name="connsiteX5425" fmla="*/ 2179332 w 8387961"/>
                <a:gd name="connsiteY5425" fmla="*/ 880024 h 3980066"/>
                <a:gd name="connsiteX5426" fmla="*/ 2172642 w 8387961"/>
                <a:gd name="connsiteY5426" fmla="*/ 880024 h 3980066"/>
                <a:gd name="connsiteX5427" fmla="*/ 2170970 w 8387961"/>
                <a:gd name="connsiteY5427" fmla="*/ 890071 h 3980066"/>
                <a:gd name="connsiteX5428" fmla="*/ 2140881 w 8387961"/>
                <a:gd name="connsiteY5428" fmla="*/ 900118 h 3980066"/>
                <a:gd name="connsiteX5429" fmla="*/ 2115808 w 8387961"/>
                <a:gd name="connsiteY5429" fmla="*/ 900118 h 3980066"/>
                <a:gd name="connsiteX5430" fmla="*/ 2110799 w 8387961"/>
                <a:gd name="connsiteY5430" fmla="*/ 901792 h 3980066"/>
                <a:gd name="connsiteX5431" fmla="*/ 2132528 w 8387961"/>
                <a:gd name="connsiteY5431" fmla="*/ 905141 h 3980066"/>
                <a:gd name="connsiteX5432" fmla="*/ 2134201 w 8387961"/>
                <a:gd name="connsiteY5432" fmla="*/ 911839 h 3980066"/>
                <a:gd name="connsiteX5433" fmla="*/ 2154257 w 8387961"/>
                <a:gd name="connsiteY5433" fmla="*/ 910165 h 3980066"/>
                <a:gd name="connsiteX5434" fmla="*/ 2135874 w 8387961"/>
                <a:gd name="connsiteY5434" fmla="*/ 930259 h 3980066"/>
                <a:gd name="connsiteX5435" fmla="*/ 2145896 w 8387961"/>
                <a:gd name="connsiteY5435" fmla="*/ 931933 h 3980066"/>
                <a:gd name="connsiteX5436" fmla="*/ 2145896 w 8387961"/>
                <a:gd name="connsiteY5436" fmla="*/ 953702 h 3980066"/>
                <a:gd name="connsiteX5437" fmla="*/ 2159276 w 8387961"/>
                <a:gd name="connsiteY5437" fmla="*/ 957051 h 3980066"/>
                <a:gd name="connsiteX5438" fmla="*/ 2174314 w 8387961"/>
                <a:gd name="connsiteY5438" fmla="*/ 965424 h 3980066"/>
                <a:gd name="connsiteX5439" fmla="*/ 2194372 w 8387961"/>
                <a:gd name="connsiteY5439" fmla="*/ 967098 h 3980066"/>
                <a:gd name="connsiteX5440" fmla="*/ 2204406 w 8387961"/>
                <a:gd name="connsiteY5440" fmla="*/ 963749 h 3980066"/>
                <a:gd name="connsiteX5441" fmla="*/ 2216102 w 8387961"/>
                <a:gd name="connsiteY5441" fmla="*/ 975471 h 3980066"/>
                <a:gd name="connsiteX5442" fmla="*/ 2209416 w 8387961"/>
                <a:gd name="connsiteY5442" fmla="*/ 977145 h 3980066"/>
                <a:gd name="connsiteX5443" fmla="*/ 2216102 w 8387961"/>
                <a:gd name="connsiteY5443" fmla="*/ 982169 h 3980066"/>
                <a:gd name="connsiteX5444" fmla="*/ 2186014 w 8387961"/>
                <a:gd name="connsiteY5444" fmla="*/ 992216 h 3980066"/>
                <a:gd name="connsiteX5445" fmla="*/ 2155930 w 8387961"/>
                <a:gd name="connsiteY5445" fmla="*/ 1002263 h 3980066"/>
                <a:gd name="connsiteX5446" fmla="*/ 2152585 w 8387961"/>
                <a:gd name="connsiteY5446" fmla="*/ 1000588 h 3980066"/>
                <a:gd name="connsiteX5447" fmla="*/ 2144224 w 8387961"/>
                <a:gd name="connsiteY5447" fmla="*/ 1003937 h 3980066"/>
                <a:gd name="connsiteX5448" fmla="*/ 2140881 w 8387961"/>
                <a:gd name="connsiteY5448" fmla="*/ 1000588 h 3980066"/>
                <a:gd name="connsiteX5449" fmla="*/ 2105781 w 8387961"/>
                <a:gd name="connsiteY5449" fmla="*/ 1027380 h 3980066"/>
                <a:gd name="connsiteX5450" fmla="*/ 2092406 w 8387961"/>
                <a:gd name="connsiteY5450" fmla="*/ 1032404 h 3980066"/>
                <a:gd name="connsiteX5451" fmla="*/ 2084052 w 8387961"/>
                <a:gd name="connsiteY5451" fmla="*/ 1015659 h 3980066"/>
                <a:gd name="connsiteX5452" fmla="*/ 2095371 w 8387961"/>
                <a:gd name="connsiteY5452" fmla="*/ 1002695 h 3980066"/>
                <a:gd name="connsiteX5453" fmla="*/ 2110799 w 8387961"/>
                <a:gd name="connsiteY5453" fmla="*/ 995565 h 3980066"/>
                <a:gd name="connsiteX5454" fmla="*/ 2104108 w 8387961"/>
                <a:gd name="connsiteY5454" fmla="*/ 997239 h 3980066"/>
                <a:gd name="connsiteX5455" fmla="*/ 2140881 w 8387961"/>
                <a:gd name="connsiteY5455" fmla="*/ 980494 h 3980066"/>
                <a:gd name="connsiteX5456" fmla="*/ 2142553 w 8387961"/>
                <a:gd name="connsiteY5456" fmla="*/ 985518 h 3980066"/>
                <a:gd name="connsiteX5457" fmla="*/ 2164283 w 8387961"/>
                <a:gd name="connsiteY5457" fmla="*/ 977145 h 3980066"/>
                <a:gd name="connsiteX5458" fmla="*/ 2129183 w 8387961"/>
                <a:gd name="connsiteY5458" fmla="*/ 975471 h 3980066"/>
                <a:gd name="connsiteX5459" fmla="*/ 2145896 w 8387961"/>
                <a:gd name="connsiteY5459" fmla="*/ 963749 h 3980066"/>
                <a:gd name="connsiteX5460" fmla="*/ 2140881 w 8387961"/>
                <a:gd name="connsiteY5460" fmla="*/ 963749 h 3980066"/>
                <a:gd name="connsiteX5461" fmla="*/ 2139210 w 8387961"/>
                <a:gd name="connsiteY5461" fmla="*/ 957051 h 3980066"/>
                <a:gd name="connsiteX5462" fmla="*/ 2132528 w 8387961"/>
                <a:gd name="connsiteY5462" fmla="*/ 970447 h 3980066"/>
                <a:gd name="connsiteX5463" fmla="*/ 2099092 w 8387961"/>
                <a:gd name="connsiteY5463" fmla="*/ 980494 h 3980066"/>
                <a:gd name="connsiteX5464" fmla="*/ 2100764 w 8387961"/>
                <a:gd name="connsiteY5464" fmla="*/ 977145 h 3980066"/>
                <a:gd name="connsiteX5465" fmla="*/ 2079034 w 8387961"/>
                <a:gd name="connsiteY5465" fmla="*/ 987192 h 3980066"/>
                <a:gd name="connsiteX5466" fmla="*/ 2072786 w 8387961"/>
                <a:gd name="connsiteY5466" fmla="*/ 984063 h 3980066"/>
                <a:gd name="connsiteX5467" fmla="*/ 2074227 w 8387961"/>
                <a:gd name="connsiteY5467" fmla="*/ 992728 h 3980066"/>
                <a:gd name="connsiteX5468" fmla="*/ 2044098 w 8387961"/>
                <a:gd name="connsiteY5468" fmla="*/ 1006150 h 3980066"/>
                <a:gd name="connsiteX5469" fmla="*/ 2032381 w 8387961"/>
                <a:gd name="connsiteY5469" fmla="*/ 1004473 h 3980066"/>
                <a:gd name="connsiteX5470" fmla="*/ 2025685 w 8387961"/>
                <a:gd name="connsiteY5470" fmla="*/ 1004473 h 3980066"/>
                <a:gd name="connsiteX5471" fmla="*/ 2025685 w 8387961"/>
                <a:gd name="connsiteY5471" fmla="*/ 1002795 h 3980066"/>
                <a:gd name="connsiteX5472" fmla="*/ 2003925 w 8387961"/>
                <a:gd name="connsiteY5472" fmla="*/ 1022928 h 3980066"/>
                <a:gd name="connsiteX5473" fmla="*/ 2000578 w 8387961"/>
                <a:gd name="connsiteY5473" fmla="*/ 1021250 h 3980066"/>
                <a:gd name="connsiteX5474" fmla="*/ 1992208 w 8387961"/>
                <a:gd name="connsiteY5474" fmla="*/ 1024605 h 3980066"/>
                <a:gd name="connsiteX5475" fmla="*/ 1963753 w 8387961"/>
                <a:gd name="connsiteY5475" fmla="*/ 1054804 h 3980066"/>
                <a:gd name="connsiteX5476" fmla="*/ 1962079 w 8387961"/>
                <a:gd name="connsiteY5476" fmla="*/ 1061515 h 3980066"/>
                <a:gd name="connsiteX5477" fmla="*/ 1960406 w 8387961"/>
                <a:gd name="connsiteY5477" fmla="*/ 1076615 h 3980066"/>
                <a:gd name="connsiteX5478" fmla="*/ 1973281 w 8387961"/>
                <a:gd name="connsiteY5478" fmla="*/ 1083068 h 3980066"/>
                <a:gd name="connsiteX5479" fmla="*/ 1973796 w 8387961"/>
                <a:gd name="connsiteY5479" fmla="*/ 1086681 h 3980066"/>
                <a:gd name="connsiteX5480" fmla="*/ 1958732 w 8387961"/>
                <a:gd name="connsiteY5480" fmla="*/ 1095070 h 3980066"/>
                <a:gd name="connsiteX5481" fmla="*/ 1952036 w 8387961"/>
                <a:gd name="connsiteY5481" fmla="*/ 1093392 h 3980066"/>
                <a:gd name="connsiteX5482" fmla="*/ 1941993 w 8387961"/>
                <a:gd name="connsiteY5482" fmla="*/ 1086681 h 3980066"/>
                <a:gd name="connsiteX5483" fmla="*/ 1938645 w 8387961"/>
                <a:gd name="connsiteY5483" fmla="*/ 1086681 h 3980066"/>
                <a:gd name="connsiteX5484" fmla="*/ 1931950 w 8387961"/>
                <a:gd name="connsiteY5484" fmla="*/ 1095070 h 3980066"/>
                <a:gd name="connsiteX5485" fmla="*/ 1905169 w 8387961"/>
                <a:gd name="connsiteY5485" fmla="*/ 1101781 h 3980066"/>
                <a:gd name="connsiteX5486" fmla="*/ 1878387 w 8387961"/>
                <a:gd name="connsiteY5486" fmla="*/ 1106814 h 3980066"/>
                <a:gd name="connsiteX5487" fmla="*/ 1870019 w 8387961"/>
                <a:gd name="connsiteY5487" fmla="*/ 1111847 h 3980066"/>
                <a:gd name="connsiteX5488" fmla="*/ 1871692 w 8387961"/>
                <a:gd name="connsiteY5488" fmla="*/ 1101781 h 3980066"/>
                <a:gd name="connsiteX5489" fmla="*/ 1859975 w 8387961"/>
                <a:gd name="connsiteY5489" fmla="*/ 1123591 h 3980066"/>
                <a:gd name="connsiteX5490" fmla="*/ 1854954 w 8387961"/>
                <a:gd name="connsiteY5490" fmla="*/ 1143724 h 3980066"/>
                <a:gd name="connsiteX5491" fmla="*/ 1854954 w 8387961"/>
                <a:gd name="connsiteY5491" fmla="*/ 1140369 h 3980066"/>
                <a:gd name="connsiteX5492" fmla="*/ 1824824 w 8387961"/>
                <a:gd name="connsiteY5492" fmla="*/ 1167212 h 3980066"/>
                <a:gd name="connsiteX5493" fmla="*/ 1828172 w 8387961"/>
                <a:gd name="connsiteY5493" fmla="*/ 1160501 h 3980066"/>
                <a:gd name="connsiteX5494" fmla="*/ 1819802 w 8387961"/>
                <a:gd name="connsiteY5494" fmla="*/ 1149316 h 3980066"/>
                <a:gd name="connsiteX5495" fmla="*/ 1829846 w 8387961"/>
                <a:gd name="connsiteY5495" fmla="*/ 1140369 h 3980066"/>
                <a:gd name="connsiteX5496" fmla="*/ 1818129 w 8387961"/>
                <a:gd name="connsiteY5496" fmla="*/ 1147079 h 3980066"/>
                <a:gd name="connsiteX5497" fmla="*/ 1819802 w 8387961"/>
                <a:gd name="connsiteY5497" fmla="*/ 1149316 h 3980066"/>
                <a:gd name="connsiteX5498" fmla="*/ 1814781 w 8387961"/>
                <a:gd name="connsiteY5498" fmla="*/ 1153790 h 3980066"/>
                <a:gd name="connsiteX5499" fmla="*/ 1818129 w 8387961"/>
                <a:gd name="connsiteY5499" fmla="*/ 1183989 h 3980066"/>
                <a:gd name="connsiteX5500" fmla="*/ 1798043 w 8387961"/>
                <a:gd name="connsiteY5500" fmla="*/ 1204122 h 3980066"/>
                <a:gd name="connsiteX5501" fmla="*/ 1794695 w 8387961"/>
                <a:gd name="connsiteY5501" fmla="*/ 1197411 h 3980066"/>
                <a:gd name="connsiteX5502" fmla="*/ 1799717 w 8387961"/>
                <a:gd name="connsiteY5502" fmla="*/ 1190700 h 3980066"/>
                <a:gd name="connsiteX5503" fmla="*/ 1791347 w 8387961"/>
                <a:gd name="connsiteY5503" fmla="*/ 1185667 h 3980066"/>
                <a:gd name="connsiteX5504" fmla="*/ 1793021 w 8387961"/>
                <a:gd name="connsiteY5504" fmla="*/ 1177279 h 3980066"/>
                <a:gd name="connsiteX5505" fmla="*/ 1798043 w 8387961"/>
                <a:gd name="connsiteY5505" fmla="*/ 1170568 h 3980066"/>
                <a:gd name="connsiteX5506" fmla="*/ 1808086 w 8387961"/>
                <a:gd name="connsiteY5506" fmla="*/ 1153790 h 3980066"/>
                <a:gd name="connsiteX5507" fmla="*/ 1791347 w 8387961"/>
                <a:gd name="connsiteY5507" fmla="*/ 1160501 h 3980066"/>
                <a:gd name="connsiteX5508" fmla="*/ 1787999 w 8387961"/>
                <a:gd name="connsiteY5508" fmla="*/ 1185667 h 3980066"/>
                <a:gd name="connsiteX5509" fmla="*/ 1781305 w 8387961"/>
                <a:gd name="connsiteY5509" fmla="*/ 1175601 h 3980066"/>
                <a:gd name="connsiteX5510" fmla="*/ 1784652 w 8387961"/>
                <a:gd name="connsiteY5510" fmla="*/ 1192378 h 3980066"/>
                <a:gd name="connsiteX5511" fmla="*/ 1771261 w 8387961"/>
                <a:gd name="connsiteY5511" fmla="*/ 1183989 h 3980066"/>
                <a:gd name="connsiteX5512" fmla="*/ 1774609 w 8387961"/>
                <a:gd name="connsiteY5512" fmla="*/ 1172245 h 3980066"/>
                <a:gd name="connsiteX5513" fmla="*/ 1762892 w 8387961"/>
                <a:gd name="connsiteY5513" fmla="*/ 1183989 h 3980066"/>
                <a:gd name="connsiteX5514" fmla="*/ 1771261 w 8387961"/>
                <a:gd name="connsiteY5514" fmla="*/ 1183989 h 3980066"/>
                <a:gd name="connsiteX5515" fmla="*/ 1782978 w 8387961"/>
                <a:gd name="connsiteY5515" fmla="*/ 1204122 h 3980066"/>
                <a:gd name="connsiteX5516" fmla="*/ 1767914 w 8387961"/>
                <a:gd name="connsiteY5516" fmla="*/ 1194056 h 3980066"/>
                <a:gd name="connsiteX5517" fmla="*/ 1779631 w 8387961"/>
                <a:gd name="connsiteY5517" fmla="*/ 1217544 h 3980066"/>
                <a:gd name="connsiteX5518" fmla="*/ 1769587 w 8387961"/>
                <a:gd name="connsiteY5518" fmla="*/ 1210833 h 3980066"/>
                <a:gd name="connsiteX5519" fmla="*/ 1777957 w 8387961"/>
                <a:gd name="connsiteY5519" fmla="*/ 1224255 h 3980066"/>
                <a:gd name="connsiteX5520" fmla="*/ 1759544 w 8387961"/>
                <a:gd name="connsiteY5520" fmla="*/ 1215866 h 3980066"/>
                <a:gd name="connsiteX5521" fmla="*/ 1767914 w 8387961"/>
                <a:gd name="connsiteY5521" fmla="*/ 1225933 h 3980066"/>
                <a:gd name="connsiteX5522" fmla="*/ 1777957 w 8387961"/>
                <a:gd name="connsiteY5522" fmla="*/ 1227610 h 3980066"/>
                <a:gd name="connsiteX5523" fmla="*/ 1781871 w 8387961"/>
                <a:gd name="connsiteY5523" fmla="*/ 1248208 h 3980066"/>
                <a:gd name="connsiteX5524" fmla="*/ 1781305 w 8387961"/>
                <a:gd name="connsiteY5524" fmla="*/ 1254454 h 3980066"/>
                <a:gd name="connsiteX5525" fmla="*/ 1777957 w 8387961"/>
                <a:gd name="connsiteY5525" fmla="*/ 1252776 h 3980066"/>
                <a:gd name="connsiteX5526" fmla="*/ 1769587 w 8387961"/>
                <a:gd name="connsiteY5526" fmla="*/ 1254454 h 3980066"/>
                <a:gd name="connsiteX5527" fmla="*/ 1759544 w 8387961"/>
                <a:gd name="connsiteY5527" fmla="*/ 1252776 h 3980066"/>
                <a:gd name="connsiteX5528" fmla="*/ 1757871 w 8387961"/>
                <a:gd name="connsiteY5528" fmla="*/ 1252776 h 3980066"/>
                <a:gd name="connsiteX5529" fmla="*/ 1764566 w 8387961"/>
                <a:gd name="connsiteY5529" fmla="*/ 1256132 h 3980066"/>
                <a:gd name="connsiteX5530" fmla="*/ 1772935 w 8387961"/>
                <a:gd name="connsiteY5530" fmla="*/ 1262843 h 3980066"/>
                <a:gd name="connsiteX5531" fmla="*/ 1779631 w 8387961"/>
                <a:gd name="connsiteY5531" fmla="*/ 1257810 h 3980066"/>
                <a:gd name="connsiteX5532" fmla="*/ 1771261 w 8387961"/>
                <a:gd name="connsiteY5532" fmla="*/ 1272909 h 3980066"/>
                <a:gd name="connsiteX5533" fmla="*/ 1744480 w 8387961"/>
                <a:gd name="connsiteY5533" fmla="*/ 1271231 h 3980066"/>
                <a:gd name="connsiteX5534" fmla="*/ 1757871 w 8387961"/>
                <a:gd name="connsiteY5534" fmla="*/ 1277942 h 3980066"/>
                <a:gd name="connsiteX5535" fmla="*/ 1752849 w 8387961"/>
                <a:gd name="connsiteY5535" fmla="*/ 1284653 h 3980066"/>
                <a:gd name="connsiteX5536" fmla="*/ 1741132 w 8387961"/>
                <a:gd name="connsiteY5536" fmla="*/ 1282975 h 3980066"/>
                <a:gd name="connsiteX5537" fmla="*/ 1759544 w 8387961"/>
                <a:gd name="connsiteY5537" fmla="*/ 1288009 h 3980066"/>
                <a:gd name="connsiteX5538" fmla="*/ 1729415 w 8387961"/>
                <a:gd name="connsiteY5538" fmla="*/ 1298075 h 3980066"/>
                <a:gd name="connsiteX5539" fmla="*/ 1711003 w 8387961"/>
                <a:gd name="connsiteY5539" fmla="*/ 1316530 h 3980066"/>
                <a:gd name="connsiteX5540" fmla="*/ 1700960 w 8387961"/>
                <a:gd name="connsiteY5540" fmla="*/ 1321563 h 3980066"/>
                <a:gd name="connsiteX5541" fmla="*/ 1674178 w 8387961"/>
                <a:gd name="connsiteY5541" fmla="*/ 1338340 h 3980066"/>
                <a:gd name="connsiteX5542" fmla="*/ 1670830 w 8387961"/>
                <a:gd name="connsiteY5542" fmla="*/ 1338340 h 3980066"/>
                <a:gd name="connsiteX5543" fmla="*/ 1637354 w 8387961"/>
                <a:gd name="connsiteY5543" fmla="*/ 1363506 h 3980066"/>
                <a:gd name="connsiteX5544" fmla="*/ 1628985 w 8387961"/>
                <a:gd name="connsiteY5544" fmla="*/ 1365184 h 3980066"/>
                <a:gd name="connsiteX5545" fmla="*/ 1627311 w 8387961"/>
                <a:gd name="connsiteY5545" fmla="*/ 1366862 h 3980066"/>
                <a:gd name="connsiteX5546" fmla="*/ 1618941 w 8387961"/>
                <a:gd name="connsiteY5546" fmla="*/ 1381961 h 3980066"/>
                <a:gd name="connsiteX5547" fmla="*/ 1608898 w 8387961"/>
                <a:gd name="connsiteY5547" fmla="*/ 1395383 h 3980066"/>
                <a:gd name="connsiteX5548" fmla="*/ 1607224 w 8387961"/>
                <a:gd name="connsiteY5548" fmla="*/ 1398739 h 3980066"/>
                <a:gd name="connsiteX5549" fmla="*/ 1598856 w 8387961"/>
                <a:gd name="connsiteY5549" fmla="*/ 1405450 h 3980066"/>
                <a:gd name="connsiteX5550" fmla="*/ 1600530 w 8387961"/>
                <a:gd name="connsiteY5550" fmla="*/ 1428938 h 3980066"/>
                <a:gd name="connsiteX5551" fmla="*/ 1602203 w 8387961"/>
                <a:gd name="connsiteY5551" fmla="*/ 1454104 h 3980066"/>
                <a:gd name="connsiteX5552" fmla="*/ 1603877 w 8387961"/>
                <a:gd name="connsiteY5552" fmla="*/ 1477592 h 3980066"/>
                <a:gd name="connsiteX5553" fmla="*/ 1607224 w 8387961"/>
                <a:gd name="connsiteY5553" fmla="*/ 1502758 h 3980066"/>
                <a:gd name="connsiteX5554" fmla="*/ 1602203 w 8387961"/>
                <a:gd name="connsiteY5554" fmla="*/ 1477592 h 3980066"/>
                <a:gd name="connsiteX5555" fmla="*/ 1607224 w 8387961"/>
                <a:gd name="connsiteY5555" fmla="*/ 1504436 h 3980066"/>
                <a:gd name="connsiteX5556" fmla="*/ 1610572 w 8387961"/>
                <a:gd name="connsiteY5556" fmla="*/ 1529602 h 3980066"/>
                <a:gd name="connsiteX5557" fmla="*/ 1602203 w 8387961"/>
                <a:gd name="connsiteY5557" fmla="*/ 1554767 h 3980066"/>
                <a:gd name="connsiteX5558" fmla="*/ 1593834 w 8387961"/>
                <a:gd name="connsiteY5558" fmla="*/ 1578256 h 3980066"/>
                <a:gd name="connsiteX5559" fmla="*/ 1578769 w 8387961"/>
                <a:gd name="connsiteY5559" fmla="*/ 1583289 h 3980066"/>
                <a:gd name="connsiteX5560" fmla="*/ 1567052 w 8387961"/>
                <a:gd name="connsiteY5560" fmla="*/ 1559801 h 3980066"/>
                <a:gd name="connsiteX5561" fmla="*/ 1562031 w 8387961"/>
                <a:gd name="connsiteY5561" fmla="*/ 1544701 h 3980066"/>
                <a:gd name="connsiteX5562" fmla="*/ 1567052 w 8387961"/>
                <a:gd name="connsiteY5562" fmla="*/ 1536312 h 3980066"/>
                <a:gd name="connsiteX5563" fmla="*/ 1560358 w 8387961"/>
                <a:gd name="connsiteY5563" fmla="*/ 1543023 h 3980066"/>
                <a:gd name="connsiteX5564" fmla="*/ 1560358 w 8387961"/>
                <a:gd name="connsiteY5564" fmla="*/ 1532957 h 3980066"/>
                <a:gd name="connsiteX5565" fmla="*/ 1557009 w 8387961"/>
                <a:gd name="connsiteY5565" fmla="*/ 1529602 h 3980066"/>
                <a:gd name="connsiteX5566" fmla="*/ 1550314 w 8387961"/>
                <a:gd name="connsiteY5566" fmla="*/ 1517857 h 3980066"/>
                <a:gd name="connsiteX5567" fmla="*/ 1553661 w 8387961"/>
                <a:gd name="connsiteY5567" fmla="*/ 1499402 h 3980066"/>
                <a:gd name="connsiteX5568" fmla="*/ 1548640 w 8387961"/>
                <a:gd name="connsiteY5568" fmla="*/ 1507791 h 3980066"/>
                <a:gd name="connsiteX5569" fmla="*/ 1553661 w 8387961"/>
                <a:gd name="connsiteY5569" fmla="*/ 1474236 h 3980066"/>
                <a:gd name="connsiteX5570" fmla="*/ 1541945 w 8387961"/>
                <a:gd name="connsiteY5570" fmla="*/ 1454104 h 3980066"/>
                <a:gd name="connsiteX5571" fmla="*/ 1528554 w 8387961"/>
                <a:gd name="connsiteY5571" fmla="*/ 1435649 h 3980066"/>
                <a:gd name="connsiteX5572" fmla="*/ 1491729 w 8387961"/>
                <a:gd name="connsiteY5572" fmla="*/ 1447393 h 3980066"/>
                <a:gd name="connsiteX5573" fmla="*/ 1486708 w 8387961"/>
                <a:gd name="connsiteY5573" fmla="*/ 1433971 h 3980066"/>
                <a:gd name="connsiteX5574" fmla="*/ 1491729 w 8387961"/>
                <a:gd name="connsiteY5574" fmla="*/ 1437326 h 3980066"/>
                <a:gd name="connsiteX5575" fmla="*/ 1488382 w 8387961"/>
                <a:gd name="connsiteY5575" fmla="*/ 1428938 h 3980066"/>
                <a:gd name="connsiteX5576" fmla="*/ 1481686 w 8387961"/>
                <a:gd name="connsiteY5576" fmla="*/ 1428938 h 3980066"/>
                <a:gd name="connsiteX5577" fmla="*/ 1469412 w 8387961"/>
                <a:gd name="connsiteY5577" fmla="*/ 1425862 h 3980066"/>
                <a:gd name="connsiteX5578" fmla="*/ 1473318 w 8387961"/>
                <a:gd name="connsiteY5578" fmla="*/ 1425582 h 3980066"/>
                <a:gd name="connsiteX5579" fmla="*/ 1468296 w 8387961"/>
                <a:gd name="connsiteY5579" fmla="*/ 1425582 h 3980066"/>
                <a:gd name="connsiteX5580" fmla="*/ 1469412 w 8387961"/>
                <a:gd name="connsiteY5580" fmla="*/ 1425862 h 3980066"/>
                <a:gd name="connsiteX5581" fmla="*/ 1449883 w 8387961"/>
                <a:gd name="connsiteY5581" fmla="*/ 1427260 h 3980066"/>
                <a:gd name="connsiteX5582" fmla="*/ 1456579 w 8387961"/>
                <a:gd name="connsiteY5582" fmla="*/ 1423905 h 3980066"/>
                <a:gd name="connsiteX5583" fmla="*/ 1441514 w 8387961"/>
                <a:gd name="connsiteY5583" fmla="*/ 1427260 h 3980066"/>
                <a:gd name="connsiteX5584" fmla="*/ 1429797 w 8387961"/>
                <a:gd name="connsiteY5584" fmla="*/ 1428938 h 3980066"/>
                <a:gd name="connsiteX5585" fmla="*/ 1431471 w 8387961"/>
                <a:gd name="connsiteY5585" fmla="*/ 1415516 h 3980066"/>
                <a:gd name="connsiteX5586" fmla="*/ 1426450 w 8387961"/>
                <a:gd name="connsiteY5586" fmla="*/ 1427260 h 3980066"/>
                <a:gd name="connsiteX5587" fmla="*/ 1382930 w 8387961"/>
                <a:gd name="connsiteY5587" fmla="*/ 1432293 h 3980066"/>
                <a:gd name="connsiteX5588" fmla="*/ 1366191 w 8387961"/>
                <a:gd name="connsiteY5588" fmla="*/ 1432293 h 3980066"/>
                <a:gd name="connsiteX5589" fmla="*/ 1382930 w 8387961"/>
                <a:gd name="connsiteY5589" fmla="*/ 1435649 h 3980066"/>
                <a:gd name="connsiteX5590" fmla="*/ 1386278 w 8387961"/>
                <a:gd name="connsiteY5590" fmla="*/ 1437326 h 3980066"/>
                <a:gd name="connsiteX5591" fmla="*/ 1389625 w 8387961"/>
                <a:gd name="connsiteY5591" fmla="*/ 1439004 h 3980066"/>
                <a:gd name="connsiteX5592" fmla="*/ 1381256 w 8387961"/>
                <a:gd name="connsiteY5592" fmla="*/ 1445715 h 3980066"/>
                <a:gd name="connsiteX5593" fmla="*/ 1391300 w 8387961"/>
                <a:gd name="connsiteY5593" fmla="*/ 1459137 h 3980066"/>
                <a:gd name="connsiteX5594" fmla="*/ 1387437 w 8387961"/>
                <a:gd name="connsiteY5594" fmla="*/ 1463783 h 3980066"/>
                <a:gd name="connsiteX5595" fmla="*/ 1367865 w 8387961"/>
                <a:gd name="connsiteY5595" fmla="*/ 1449071 h 3980066"/>
                <a:gd name="connsiteX5596" fmla="*/ 1369539 w 8387961"/>
                <a:gd name="connsiteY5596" fmla="*/ 1462492 h 3980066"/>
                <a:gd name="connsiteX5597" fmla="*/ 1356148 w 8387961"/>
                <a:gd name="connsiteY5597" fmla="*/ 1459137 h 3980066"/>
                <a:gd name="connsiteX5598" fmla="*/ 1339410 w 8387961"/>
                <a:gd name="connsiteY5598" fmla="*/ 1455781 h 3980066"/>
                <a:gd name="connsiteX5599" fmla="*/ 1331041 w 8387961"/>
                <a:gd name="connsiteY5599" fmla="*/ 1445715 h 3980066"/>
                <a:gd name="connsiteX5600" fmla="*/ 1319323 w 8387961"/>
                <a:gd name="connsiteY5600" fmla="*/ 1447393 h 3980066"/>
                <a:gd name="connsiteX5601" fmla="*/ 1297564 w 8387961"/>
                <a:gd name="connsiteY5601" fmla="*/ 1445715 h 3980066"/>
                <a:gd name="connsiteX5602" fmla="*/ 1277477 w 8387961"/>
                <a:gd name="connsiteY5602" fmla="*/ 1442360 h 3980066"/>
                <a:gd name="connsiteX5603" fmla="*/ 1272456 w 8387961"/>
                <a:gd name="connsiteY5603" fmla="*/ 1442360 h 3980066"/>
                <a:gd name="connsiteX5604" fmla="*/ 1255508 w 8387961"/>
                <a:gd name="connsiteY5604" fmla="*/ 1452269 h 3980066"/>
                <a:gd name="connsiteX5605" fmla="*/ 1249022 w 8387961"/>
                <a:gd name="connsiteY5605" fmla="*/ 1447393 h 3980066"/>
                <a:gd name="connsiteX5606" fmla="*/ 1245675 w 8387961"/>
                <a:gd name="connsiteY5606" fmla="*/ 1455781 h 3980066"/>
                <a:gd name="connsiteX5607" fmla="*/ 1215545 w 8387961"/>
                <a:gd name="connsiteY5607" fmla="*/ 1475914 h 3980066"/>
                <a:gd name="connsiteX5608" fmla="*/ 1220567 w 8387961"/>
                <a:gd name="connsiteY5608" fmla="*/ 1475914 h 3980066"/>
                <a:gd name="connsiteX5609" fmla="*/ 1207176 w 8387961"/>
                <a:gd name="connsiteY5609" fmla="*/ 1484303 h 3980066"/>
                <a:gd name="connsiteX5610" fmla="*/ 1212197 w 8387961"/>
                <a:gd name="connsiteY5610" fmla="*/ 1477592 h 3980066"/>
                <a:gd name="connsiteX5611" fmla="*/ 1200481 w 8387961"/>
                <a:gd name="connsiteY5611" fmla="*/ 1477592 h 3980066"/>
                <a:gd name="connsiteX5612" fmla="*/ 1200481 w 8387961"/>
                <a:gd name="connsiteY5612" fmla="*/ 1482625 h 3980066"/>
                <a:gd name="connsiteX5613" fmla="*/ 1192111 w 8387961"/>
                <a:gd name="connsiteY5613" fmla="*/ 1487658 h 3980066"/>
                <a:gd name="connsiteX5614" fmla="*/ 1178721 w 8387961"/>
                <a:gd name="connsiteY5614" fmla="*/ 1497725 h 3980066"/>
                <a:gd name="connsiteX5615" fmla="*/ 1172026 w 8387961"/>
                <a:gd name="connsiteY5615" fmla="*/ 1502758 h 3980066"/>
                <a:gd name="connsiteX5616" fmla="*/ 1168678 w 8387961"/>
                <a:gd name="connsiteY5616" fmla="*/ 1517857 h 3980066"/>
                <a:gd name="connsiteX5617" fmla="*/ 1160308 w 8387961"/>
                <a:gd name="connsiteY5617" fmla="*/ 1514502 h 3980066"/>
                <a:gd name="connsiteX5618" fmla="*/ 1161982 w 8387961"/>
                <a:gd name="connsiteY5618" fmla="*/ 1519535 h 3980066"/>
                <a:gd name="connsiteX5619" fmla="*/ 1165330 w 8387961"/>
                <a:gd name="connsiteY5619" fmla="*/ 1524568 h 3980066"/>
                <a:gd name="connsiteX5620" fmla="*/ 1167004 w 8387961"/>
                <a:gd name="connsiteY5620" fmla="*/ 1558123 h 3980066"/>
                <a:gd name="connsiteX5621" fmla="*/ 1135201 w 8387961"/>
                <a:gd name="connsiteY5621" fmla="*/ 1554767 h 3980066"/>
                <a:gd name="connsiteX5622" fmla="*/ 1119091 w 8387961"/>
                <a:gd name="connsiteY5622" fmla="*/ 1540235 h 3980066"/>
                <a:gd name="connsiteX5623" fmla="*/ 1119229 w 8387961"/>
                <a:gd name="connsiteY5623" fmla="*/ 1540713 h 3980066"/>
                <a:gd name="connsiteX5624" fmla="*/ 1136020 w 8387961"/>
                <a:gd name="connsiteY5624" fmla="*/ 1555732 h 3980066"/>
                <a:gd name="connsiteX5625" fmla="*/ 1167921 w 8387961"/>
                <a:gd name="connsiteY5625" fmla="*/ 1559069 h 3980066"/>
                <a:gd name="connsiteX5626" fmla="*/ 1151130 w 8387961"/>
                <a:gd name="connsiteY5626" fmla="*/ 1599118 h 3980066"/>
                <a:gd name="connsiteX5627" fmla="*/ 1136020 w 8387961"/>
                <a:gd name="connsiteY5627" fmla="*/ 1639166 h 3980066"/>
                <a:gd name="connsiteX5628" fmla="*/ 1130984 w 8387961"/>
                <a:gd name="connsiteY5628" fmla="*/ 1679215 h 3980066"/>
                <a:gd name="connsiteX5629" fmla="*/ 1139384 w 8387961"/>
                <a:gd name="connsiteY5629" fmla="*/ 1709251 h 3980066"/>
                <a:gd name="connsiteX5630" fmla="*/ 1149457 w 8387961"/>
                <a:gd name="connsiteY5630" fmla="*/ 1735950 h 3980066"/>
                <a:gd name="connsiteX5631" fmla="*/ 1157847 w 8387961"/>
                <a:gd name="connsiteY5631" fmla="*/ 1755975 h 3980066"/>
                <a:gd name="connsiteX5632" fmla="*/ 1166243 w 8387961"/>
                <a:gd name="connsiteY5632" fmla="*/ 1774330 h 3980066"/>
                <a:gd name="connsiteX5633" fmla="*/ 1167921 w 8387961"/>
                <a:gd name="connsiteY5633" fmla="*/ 1775999 h 3980066"/>
                <a:gd name="connsiteX5634" fmla="*/ 1196465 w 8387961"/>
                <a:gd name="connsiteY5634" fmla="*/ 1789348 h 3980066"/>
                <a:gd name="connsiteX5635" fmla="*/ 1219971 w 8387961"/>
                <a:gd name="connsiteY5635" fmla="*/ 1787680 h 3980066"/>
                <a:gd name="connsiteX5636" fmla="*/ 1248516 w 8387961"/>
                <a:gd name="connsiteY5636" fmla="*/ 1781005 h 3980066"/>
                <a:gd name="connsiteX5637" fmla="*/ 1266988 w 8387961"/>
                <a:gd name="connsiteY5637" fmla="*/ 1781005 h 3980066"/>
                <a:gd name="connsiteX5638" fmla="*/ 1278737 w 8387961"/>
                <a:gd name="connsiteY5638" fmla="*/ 1784342 h 3980066"/>
                <a:gd name="connsiteX5639" fmla="*/ 1287134 w 8387961"/>
                <a:gd name="connsiteY5639" fmla="*/ 1777668 h 3980066"/>
                <a:gd name="connsiteX5640" fmla="*/ 1282097 w 8387961"/>
                <a:gd name="connsiteY5640" fmla="*/ 1770993 h 3980066"/>
                <a:gd name="connsiteX5641" fmla="*/ 1303924 w 8387961"/>
                <a:gd name="connsiteY5641" fmla="*/ 1749300 h 3980066"/>
                <a:gd name="connsiteX5642" fmla="*/ 1317356 w 8387961"/>
                <a:gd name="connsiteY5642" fmla="*/ 1714257 h 3980066"/>
                <a:gd name="connsiteX5643" fmla="*/ 1344226 w 8387961"/>
                <a:gd name="connsiteY5643" fmla="*/ 1699239 h 3980066"/>
                <a:gd name="connsiteX5644" fmla="*/ 1369409 w 8387961"/>
                <a:gd name="connsiteY5644" fmla="*/ 1695902 h 3980066"/>
                <a:gd name="connsiteX5645" fmla="*/ 1394591 w 8387961"/>
                <a:gd name="connsiteY5645" fmla="*/ 1694233 h 3980066"/>
                <a:gd name="connsiteX5646" fmla="*/ 1401306 w 8387961"/>
                <a:gd name="connsiteY5646" fmla="*/ 1694233 h 3980066"/>
                <a:gd name="connsiteX5647" fmla="*/ 1411382 w 8387961"/>
                <a:gd name="connsiteY5647" fmla="*/ 1699239 h 3980066"/>
                <a:gd name="connsiteX5648" fmla="*/ 1413064 w 8387961"/>
                <a:gd name="connsiteY5648" fmla="*/ 1704245 h 3980066"/>
                <a:gd name="connsiteX5649" fmla="*/ 1389555 w 8387961"/>
                <a:gd name="connsiteY5649" fmla="*/ 1740956 h 3980066"/>
                <a:gd name="connsiteX5650" fmla="*/ 1384518 w 8387961"/>
                <a:gd name="connsiteY5650" fmla="*/ 1750969 h 3980066"/>
                <a:gd name="connsiteX5651" fmla="*/ 1384518 w 8387961"/>
                <a:gd name="connsiteY5651" fmla="*/ 1755975 h 3980066"/>
                <a:gd name="connsiteX5652" fmla="*/ 1384518 w 8387961"/>
                <a:gd name="connsiteY5652" fmla="*/ 1759312 h 3980066"/>
                <a:gd name="connsiteX5653" fmla="*/ 1372772 w 8387961"/>
                <a:gd name="connsiteY5653" fmla="*/ 1787680 h 3980066"/>
                <a:gd name="connsiteX5654" fmla="*/ 1367727 w 8387961"/>
                <a:gd name="connsiteY5654" fmla="*/ 1777668 h 3980066"/>
                <a:gd name="connsiteX5655" fmla="*/ 1362689 w 8387961"/>
                <a:gd name="connsiteY5655" fmla="*/ 1784342 h 3980066"/>
                <a:gd name="connsiteX5656" fmla="*/ 1360887 w 8387961"/>
                <a:gd name="connsiteY5656" fmla="*/ 1785879 h 3980066"/>
                <a:gd name="connsiteX5657" fmla="*/ 1361841 w 8387961"/>
                <a:gd name="connsiteY5657" fmla="*/ 1788658 h 3980066"/>
                <a:gd name="connsiteX5658" fmla="*/ 1354955 w 8387961"/>
                <a:gd name="connsiteY5658" fmla="*/ 1817052 h 3980066"/>
                <a:gd name="connsiteX5659" fmla="*/ 1348075 w 8387961"/>
                <a:gd name="connsiteY5659" fmla="*/ 1847115 h 3980066"/>
                <a:gd name="connsiteX5660" fmla="*/ 1334297 w 8387961"/>
                <a:gd name="connsiteY5660" fmla="*/ 1860477 h 3980066"/>
                <a:gd name="connsiteX5661" fmla="*/ 1327518 w 8387961"/>
                <a:gd name="connsiteY5661" fmla="*/ 1860477 h 3980066"/>
                <a:gd name="connsiteX5662" fmla="*/ 1327466 w 8387961"/>
                <a:gd name="connsiteY5662" fmla="*/ 1860869 h 3980066"/>
                <a:gd name="connsiteX5663" fmla="*/ 1335916 w 8387961"/>
                <a:gd name="connsiteY5663" fmla="*/ 1860869 h 3980066"/>
                <a:gd name="connsiteX5664" fmla="*/ 1346046 w 8387961"/>
                <a:gd name="connsiteY5664" fmla="*/ 1864171 h 3980066"/>
                <a:gd name="connsiteX5665" fmla="*/ 1352446 w 8387961"/>
                <a:gd name="connsiteY5665" fmla="*/ 1867299 h 3980066"/>
                <a:gd name="connsiteX5666" fmla="*/ 1355018 w 8387961"/>
                <a:gd name="connsiteY5666" fmla="*/ 1867299 h 3980066"/>
                <a:gd name="connsiteX5667" fmla="*/ 1380150 w 8387961"/>
                <a:gd name="connsiteY5667" fmla="*/ 1863888 h 3980066"/>
                <a:gd name="connsiteX5668" fmla="*/ 1406966 w 8387961"/>
                <a:gd name="connsiteY5668" fmla="*/ 1860477 h 3980066"/>
                <a:gd name="connsiteX5669" fmla="*/ 1427065 w 8387961"/>
                <a:gd name="connsiteY5669" fmla="*/ 1863888 h 3980066"/>
                <a:gd name="connsiteX5670" fmla="*/ 1448847 w 8387961"/>
                <a:gd name="connsiteY5670" fmla="*/ 1863888 h 3980066"/>
                <a:gd name="connsiteX5671" fmla="*/ 1465606 w 8387961"/>
                <a:gd name="connsiteY5671" fmla="*/ 1875826 h 3980066"/>
                <a:gd name="connsiteX5672" fmla="*/ 1460575 w 8387961"/>
                <a:gd name="connsiteY5672" fmla="*/ 1874120 h 3980066"/>
                <a:gd name="connsiteX5673" fmla="*/ 1462250 w 8387961"/>
                <a:gd name="connsiteY5673" fmla="*/ 1879237 h 3980066"/>
                <a:gd name="connsiteX5674" fmla="*/ 1472304 w 8387961"/>
                <a:gd name="connsiteY5674" fmla="*/ 1879237 h 3980066"/>
                <a:gd name="connsiteX5675" fmla="*/ 1482358 w 8387961"/>
                <a:gd name="connsiteY5675" fmla="*/ 1889469 h 3980066"/>
                <a:gd name="connsiteX5676" fmla="*/ 1460575 w 8387961"/>
                <a:gd name="connsiteY5676" fmla="*/ 1891175 h 3980066"/>
                <a:gd name="connsiteX5677" fmla="*/ 1438793 w 8387961"/>
                <a:gd name="connsiteY5677" fmla="*/ 1896291 h 3980066"/>
                <a:gd name="connsiteX5678" fmla="*/ 1406966 w 8387961"/>
                <a:gd name="connsiteY5678" fmla="*/ 1921872 h 3980066"/>
                <a:gd name="connsiteX5679" fmla="*/ 1396911 w 8387961"/>
                <a:gd name="connsiteY5679" fmla="*/ 1925283 h 3980066"/>
                <a:gd name="connsiteX5680" fmla="*/ 1385183 w 8387961"/>
                <a:gd name="connsiteY5680" fmla="*/ 1932105 h 3980066"/>
                <a:gd name="connsiteX5681" fmla="*/ 1375254 w 8387961"/>
                <a:gd name="connsiteY5681" fmla="*/ 1950624 h 3980066"/>
                <a:gd name="connsiteX5682" fmla="*/ 1375524 w 8387961"/>
                <a:gd name="connsiteY5682" fmla="*/ 1950624 h 3980066"/>
                <a:gd name="connsiteX5683" fmla="*/ 1385543 w 8387961"/>
                <a:gd name="connsiteY5683" fmla="*/ 1932286 h 3980066"/>
                <a:gd name="connsiteX5684" fmla="*/ 1397223 w 8387961"/>
                <a:gd name="connsiteY5684" fmla="*/ 1925617 h 3980066"/>
                <a:gd name="connsiteX5685" fmla="*/ 1407239 w 8387961"/>
                <a:gd name="connsiteY5685" fmla="*/ 1922283 h 3980066"/>
                <a:gd name="connsiteX5686" fmla="*/ 1438956 w 8387961"/>
                <a:gd name="connsiteY5686" fmla="*/ 1897275 h 3980066"/>
                <a:gd name="connsiteX5687" fmla="*/ 1460659 w 8387961"/>
                <a:gd name="connsiteY5687" fmla="*/ 1892274 h 3980066"/>
                <a:gd name="connsiteX5688" fmla="*/ 1482358 w 8387961"/>
                <a:gd name="connsiteY5688" fmla="*/ 1890607 h 3980066"/>
                <a:gd name="connsiteX5689" fmla="*/ 1475682 w 8387961"/>
                <a:gd name="connsiteY5689" fmla="*/ 1895608 h 3980066"/>
                <a:gd name="connsiteX5690" fmla="*/ 1475682 w 8387961"/>
                <a:gd name="connsiteY5690" fmla="*/ 1918948 h 3980066"/>
                <a:gd name="connsiteX5691" fmla="*/ 1470678 w 8387961"/>
                <a:gd name="connsiteY5691" fmla="*/ 1942288 h 3980066"/>
                <a:gd name="connsiteX5692" fmla="*/ 1467335 w 8387961"/>
                <a:gd name="connsiteY5692" fmla="*/ 1965628 h 3980066"/>
                <a:gd name="connsiteX5693" fmla="*/ 1465666 w 8387961"/>
                <a:gd name="connsiteY5693" fmla="*/ 1958960 h 3980066"/>
                <a:gd name="connsiteX5694" fmla="*/ 1460659 w 8387961"/>
                <a:gd name="connsiteY5694" fmla="*/ 1977298 h 3980066"/>
                <a:gd name="connsiteX5695" fmla="*/ 1458988 w 8387961"/>
                <a:gd name="connsiteY5695" fmla="*/ 1992303 h 3980066"/>
                <a:gd name="connsiteX5696" fmla="*/ 1458988 w 8387961"/>
                <a:gd name="connsiteY5696" fmla="*/ 2010396 h 3980066"/>
                <a:gd name="connsiteX5697" fmla="*/ 1459993 w 8387961"/>
                <a:gd name="connsiteY5697" fmla="*/ 2010192 h 3980066"/>
                <a:gd name="connsiteX5698" fmla="*/ 1473435 w 8387961"/>
                <a:gd name="connsiteY5698" fmla="*/ 2030571 h 3980066"/>
                <a:gd name="connsiteX5699" fmla="*/ 1486885 w 8387961"/>
                <a:gd name="connsiteY5699" fmla="*/ 2050949 h 3980066"/>
                <a:gd name="connsiteX5700" fmla="*/ 1476796 w 8387961"/>
                <a:gd name="connsiteY5700" fmla="*/ 2054345 h 3980066"/>
                <a:gd name="connsiteX5701" fmla="*/ 1476850 w 8387961"/>
                <a:gd name="connsiteY5701" fmla="*/ 2054994 h 3980066"/>
                <a:gd name="connsiteX5702" fmla="*/ 1486275 w 8387961"/>
                <a:gd name="connsiteY5702" fmla="*/ 2051798 h 3980066"/>
                <a:gd name="connsiteX5703" fmla="*/ 1492911 w 8387961"/>
                <a:gd name="connsiteY5703" fmla="*/ 2065284 h 3980066"/>
                <a:gd name="connsiteX5704" fmla="*/ 1506168 w 8387961"/>
                <a:gd name="connsiteY5704" fmla="*/ 2068656 h 3980066"/>
                <a:gd name="connsiteX5705" fmla="*/ 1512789 w 8387961"/>
                <a:gd name="connsiteY5705" fmla="*/ 2077085 h 3980066"/>
                <a:gd name="connsiteX5706" fmla="*/ 1549247 w 8387961"/>
                <a:gd name="connsiteY5706" fmla="*/ 2061913 h 3980066"/>
                <a:gd name="connsiteX5707" fmla="*/ 1552559 w 8387961"/>
                <a:gd name="connsiteY5707" fmla="*/ 2066970 h 3980066"/>
                <a:gd name="connsiteX5708" fmla="*/ 1559194 w 8387961"/>
                <a:gd name="connsiteY5708" fmla="*/ 2075399 h 3980066"/>
                <a:gd name="connsiteX5709" fmla="*/ 1539302 w 8387961"/>
                <a:gd name="connsiteY5709" fmla="*/ 2092257 h 3980066"/>
                <a:gd name="connsiteX5710" fmla="*/ 1550902 w 8387961"/>
                <a:gd name="connsiteY5710" fmla="*/ 2112487 h 3980066"/>
                <a:gd name="connsiteX5711" fmla="*/ 1527703 w 8387961"/>
                <a:gd name="connsiteY5711" fmla="*/ 2122602 h 3980066"/>
                <a:gd name="connsiteX5712" fmla="*/ 1522734 w 8387961"/>
                <a:gd name="connsiteY5712" fmla="*/ 2105744 h 3980066"/>
                <a:gd name="connsiteX5713" fmla="*/ 1519424 w 8387961"/>
                <a:gd name="connsiteY5713" fmla="*/ 2110801 h 3980066"/>
                <a:gd name="connsiteX5714" fmla="*/ 1507822 w 8387961"/>
                <a:gd name="connsiteY5714" fmla="*/ 2099001 h 3980066"/>
                <a:gd name="connsiteX5715" fmla="*/ 1481308 w 8387961"/>
                <a:gd name="connsiteY5715" fmla="*/ 2090571 h 3980066"/>
                <a:gd name="connsiteX5716" fmla="*/ 1476818 w 8387961"/>
                <a:gd name="connsiteY5716" fmla="*/ 2098177 h 3980066"/>
                <a:gd name="connsiteX5717" fmla="*/ 1476796 w 8387961"/>
                <a:gd name="connsiteY5717" fmla="*/ 2098498 h 3980066"/>
                <a:gd name="connsiteX5718" fmla="*/ 1476704 w 8387961"/>
                <a:gd name="connsiteY5718" fmla="*/ 2098373 h 3980066"/>
                <a:gd name="connsiteX5719" fmla="*/ 1476333 w 8387961"/>
                <a:gd name="connsiteY5719" fmla="*/ 2099001 h 3980066"/>
                <a:gd name="connsiteX5720" fmla="*/ 1476405 w 8387961"/>
                <a:gd name="connsiteY5720" fmla="*/ 2097971 h 3980066"/>
                <a:gd name="connsiteX5721" fmla="*/ 1461673 w 8387961"/>
                <a:gd name="connsiteY5721" fmla="*/ 2078120 h 3980066"/>
                <a:gd name="connsiteX5722" fmla="*/ 1461673 w 8387961"/>
                <a:gd name="connsiteY5722" fmla="*/ 2086611 h 3980066"/>
                <a:gd name="connsiteX5723" fmla="*/ 1458321 w 8387961"/>
                <a:gd name="connsiteY5723" fmla="*/ 2076422 h 3980066"/>
                <a:gd name="connsiteX5724" fmla="*/ 1449911 w 8387961"/>
                <a:gd name="connsiteY5724" fmla="*/ 2059440 h 3980066"/>
                <a:gd name="connsiteX5725" fmla="*/ 1431429 w 8387961"/>
                <a:gd name="connsiteY5725" fmla="*/ 2045854 h 3980066"/>
                <a:gd name="connsiteX5726" fmla="*/ 1416305 w 8387961"/>
                <a:gd name="connsiteY5726" fmla="*/ 2030571 h 3980066"/>
                <a:gd name="connsiteX5727" fmla="*/ 1421346 w 8387961"/>
                <a:gd name="connsiteY5727" fmla="*/ 2045854 h 3980066"/>
                <a:gd name="connsiteX5728" fmla="*/ 1419667 w 8387961"/>
                <a:gd name="connsiteY5728" fmla="*/ 2050949 h 3980066"/>
                <a:gd name="connsiteX5729" fmla="*/ 1399503 w 8387961"/>
                <a:gd name="connsiteY5729" fmla="*/ 2027174 h 3980066"/>
                <a:gd name="connsiteX5730" fmla="*/ 1402865 w 8387961"/>
                <a:gd name="connsiteY5730" fmla="*/ 2013589 h 3980066"/>
                <a:gd name="connsiteX5731" fmla="*/ 1402865 w 8387961"/>
                <a:gd name="connsiteY5731" fmla="*/ 2008494 h 3980066"/>
                <a:gd name="connsiteX5732" fmla="*/ 1406229 w 8387961"/>
                <a:gd name="connsiteY5732" fmla="*/ 2006228 h 3980066"/>
                <a:gd name="connsiteX5733" fmla="*/ 1382199 w 8387961"/>
                <a:gd name="connsiteY5733" fmla="*/ 1980633 h 3980066"/>
                <a:gd name="connsiteX5734" fmla="*/ 1358832 w 8387961"/>
                <a:gd name="connsiteY5734" fmla="*/ 1952291 h 3980066"/>
                <a:gd name="connsiteX5735" fmla="*/ 1368374 w 8387961"/>
                <a:gd name="connsiteY5735" fmla="*/ 1950702 h 3980066"/>
                <a:gd name="connsiteX5736" fmla="*/ 1365073 w 8387961"/>
                <a:gd name="connsiteY5736" fmla="*/ 1938927 h 3980066"/>
                <a:gd name="connsiteX5737" fmla="*/ 1355018 w 8387961"/>
                <a:gd name="connsiteY5737" fmla="*/ 1937221 h 3980066"/>
                <a:gd name="connsiteX5738" fmla="*/ 1356691 w 8387961"/>
                <a:gd name="connsiteY5738" fmla="*/ 1921872 h 3980066"/>
                <a:gd name="connsiteX5739" fmla="*/ 1355648 w 8387961"/>
                <a:gd name="connsiteY5739" fmla="*/ 1921708 h 3980066"/>
                <a:gd name="connsiteX5740" fmla="*/ 1354141 w 8387961"/>
                <a:gd name="connsiteY5740" fmla="*/ 1935997 h 3980066"/>
                <a:gd name="connsiteX5741" fmla="*/ 1347446 w 8387961"/>
                <a:gd name="connsiteY5741" fmla="*/ 1944839 h 3980066"/>
                <a:gd name="connsiteX5742" fmla="*/ 1334063 w 8387961"/>
                <a:gd name="connsiteY5742" fmla="*/ 1939534 h 3980066"/>
                <a:gd name="connsiteX5743" fmla="*/ 1315644 w 8387961"/>
                <a:gd name="connsiteY5743" fmla="*/ 1934228 h 3980066"/>
                <a:gd name="connsiteX5744" fmla="*/ 1295556 w 8387961"/>
                <a:gd name="connsiteY5744" fmla="*/ 1925386 h 3980066"/>
                <a:gd name="connsiteX5745" fmla="*/ 1296019 w 8387961"/>
                <a:gd name="connsiteY5745" fmla="*/ 1924939 h 3980066"/>
                <a:gd name="connsiteX5746" fmla="*/ 1275105 w 8387961"/>
                <a:gd name="connsiteY5746" fmla="*/ 1918651 h 3980066"/>
                <a:gd name="connsiteX5747" fmla="*/ 1251464 w 8387961"/>
                <a:gd name="connsiteY5747" fmla="*/ 1910397 h 3980066"/>
                <a:gd name="connsiteX5748" fmla="*/ 1241324 w 8387961"/>
                <a:gd name="connsiteY5748" fmla="*/ 1900491 h 3980066"/>
                <a:gd name="connsiteX5749" fmla="*/ 1241627 w 8387961"/>
                <a:gd name="connsiteY5749" fmla="*/ 1899311 h 3980066"/>
                <a:gd name="connsiteX5750" fmla="*/ 1218295 w 8387961"/>
                <a:gd name="connsiteY5750" fmla="*/ 1876120 h 3980066"/>
                <a:gd name="connsiteX5751" fmla="*/ 1201063 w 8387961"/>
                <a:gd name="connsiteY5751" fmla="*/ 1857853 h 3980066"/>
                <a:gd name="connsiteX5752" fmla="*/ 1203186 w 8387961"/>
                <a:gd name="connsiteY5752" fmla="*/ 1859434 h 3980066"/>
                <a:gd name="connsiteX5753" fmla="*/ 1193113 w 8387961"/>
                <a:gd name="connsiteY5753" fmla="*/ 1849421 h 3980066"/>
                <a:gd name="connsiteX5754" fmla="*/ 1201063 w 8387961"/>
                <a:gd name="connsiteY5754" fmla="*/ 1857853 h 3980066"/>
                <a:gd name="connsiteX5755" fmla="*/ 1189749 w 8387961"/>
                <a:gd name="connsiteY5755" fmla="*/ 1849421 h 3980066"/>
                <a:gd name="connsiteX5756" fmla="*/ 1176316 w 8387961"/>
                <a:gd name="connsiteY5756" fmla="*/ 1851090 h 3980066"/>
                <a:gd name="connsiteX5757" fmla="*/ 1181353 w 8387961"/>
                <a:gd name="connsiteY5757" fmla="*/ 1851090 h 3980066"/>
                <a:gd name="connsiteX5758" fmla="*/ 1156168 w 8387961"/>
                <a:gd name="connsiteY5758" fmla="*/ 1859434 h 3980066"/>
                <a:gd name="connsiteX5759" fmla="*/ 1129312 w 8387961"/>
                <a:gd name="connsiteY5759" fmla="*/ 1867777 h 3980066"/>
                <a:gd name="connsiteX5760" fmla="*/ 1100765 w 8387961"/>
                <a:gd name="connsiteY5760" fmla="*/ 1854427 h 3980066"/>
                <a:gd name="connsiteX5761" fmla="*/ 1070536 w 8387961"/>
                <a:gd name="connsiteY5761" fmla="*/ 1839409 h 3980066"/>
                <a:gd name="connsiteX5762" fmla="*/ 1042000 w 8387961"/>
                <a:gd name="connsiteY5762" fmla="*/ 1826060 h 3980066"/>
                <a:gd name="connsiteX5763" fmla="*/ 1011770 w 8387961"/>
                <a:gd name="connsiteY5763" fmla="*/ 1814379 h 3980066"/>
                <a:gd name="connsiteX5764" fmla="*/ 996660 w 8387961"/>
                <a:gd name="connsiteY5764" fmla="*/ 1801029 h 3980066"/>
                <a:gd name="connsiteX5765" fmla="*/ 978198 w 8387961"/>
                <a:gd name="connsiteY5765" fmla="*/ 1791017 h 3980066"/>
                <a:gd name="connsiteX5766" fmla="*/ 958040 w 8387961"/>
                <a:gd name="connsiteY5766" fmla="*/ 1781005 h 3980066"/>
                <a:gd name="connsiteX5767" fmla="*/ 939579 w 8387961"/>
                <a:gd name="connsiteY5767" fmla="*/ 1764318 h 3980066"/>
                <a:gd name="connsiteX5768" fmla="*/ 921106 w 8387961"/>
                <a:gd name="connsiteY5768" fmla="*/ 1745962 h 3980066"/>
                <a:gd name="connsiteX5769" fmla="*/ 917744 w 8387961"/>
                <a:gd name="connsiteY5769" fmla="*/ 1724269 h 3980066"/>
                <a:gd name="connsiteX5770" fmla="*/ 927819 w 8387961"/>
                <a:gd name="connsiteY5770" fmla="*/ 1719263 h 3980066"/>
                <a:gd name="connsiteX5771" fmla="*/ 924460 w 8387961"/>
                <a:gd name="connsiteY5771" fmla="*/ 1710920 h 3980066"/>
                <a:gd name="connsiteX5772" fmla="*/ 931179 w 8387961"/>
                <a:gd name="connsiteY5772" fmla="*/ 1694233 h 3980066"/>
                <a:gd name="connsiteX5773" fmla="*/ 921106 w 8387961"/>
                <a:gd name="connsiteY5773" fmla="*/ 1669203 h 3980066"/>
                <a:gd name="connsiteX5774" fmla="*/ 914396 w 8387961"/>
                <a:gd name="connsiteY5774" fmla="*/ 1647510 h 3980066"/>
                <a:gd name="connsiteX5775" fmla="*/ 897596 w 8387961"/>
                <a:gd name="connsiteY5775" fmla="*/ 1625817 h 3980066"/>
                <a:gd name="connsiteX5776" fmla="*/ 880814 w 8387961"/>
                <a:gd name="connsiteY5776" fmla="*/ 1605792 h 3980066"/>
                <a:gd name="connsiteX5777" fmla="*/ 889202 w 8387961"/>
                <a:gd name="connsiteY5777" fmla="*/ 1607461 h 3980066"/>
                <a:gd name="connsiteX5778" fmla="*/ 877450 w 8387961"/>
                <a:gd name="connsiteY5778" fmla="*/ 1590774 h 3980066"/>
                <a:gd name="connsiteX5779" fmla="*/ 874090 w 8387961"/>
                <a:gd name="connsiteY5779" fmla="*/ 1587437 h 3980066"/>
                <a:gd name="connsiteX5780" fmla="*/ 875777 w 8387961"/>
                <a:gd name="connsiteY5780" fmla="*/ 1585768 h 3980066"/>
                <a:gd name="connsiteX5781" fmla="*/ 857305 w 8387961"/>
                <a:gd name="connsiteY5781" fmla="*/ 1575756 h 3980066"/>
                <a:gd name="connsiteX5782" fmla="*/ 860657 w 8387961"/>
                <a:gd name="connsiteY5782" fmla="*/ 1567412 h 3980066"/>
                <a:gd name="connsiteX5783" fmla="*/ 850582 w 8387961"/>
                <a:gd name="connsiteY5783" fmla="*/ 1567412 h 3980066"/>
                <a:gd name="connsiteX5784" fmla="*/ 858978 w 8387961"/>
                <a:gd name="connsiteY5784" fmla="*/ 1549057 h 3980066"/>
                <a:gd name="connsiteX5785" fmla="*/ 848904 w 8387961"/>
                <a:gd name="connsiteY5785" fmla="*/ 1539045 h 3980066"/>
                <a:gd name="connsiteX5786" fmla="*/ 830436 w 8387961"/>
                <a:gd name="connsiteY5786" fmla="*/ 1509008 h 3980066"/>
                <a:gd name="connsiteX5787" fmla="*/ 830436 w 8387961"/>
                <a:gd name="connsiteY5787" fmla="*/ 1500665 h 3980066"/>
                <a:gd name="connsiteX5788" fmla="*/ 815324 w 8387961"/>
                <a:gd name="connsiteY5788" fmla="*/ 1488984 h 3980066"/>
                <a:gd name="connsiteX5789" fmla="*/ 805249 w 8387961"/>
                <a:gd name="connsiteY5789" fmla="*/ 1463953 h 3980066"/>
                <a:gd name="connsiteX5790" fmla="*/ 795175 w 8387961"/>
                <a:gd name="connsiteY5790" fmla="*/ 1437254 h 3980066"/>
                <a:gd name="connsiteX5791" fmla="*/ 795175 w 8387961"/>
                <a:gd name="connsiteY5791" fmla="*/ 1403881 h 3980066"/>
                <a:gd name="connsiteX5792" fmla="*/ 778393 w 8387961"/>
                <a:gd name="connsiteY5792" fmla="*/ 1395537 h 3980066"/>
                <a:gd name="connsiteX5793" fmla="*/ 758236 w 8387961"/>
                <a:gd name="connsiteY5793" fmla="*/ 1383856 h 3980066"/>
                <a:gd name="connsiteX5794" fmla="*/ 754883 w 8387961"/>
                <a:gd name="connsiteY5794" fmla="*/ 1413893 h 3980066"/>
                <a:gd name="connsiteX5795" fmla="*/ 753199 w 8387961"/>
                <a:gd name="connsiteY5795" fmla="*/ 1445598 h 3980066"/>
                <a:gd name="connsiteX5796" fmla="*/ 764956 w 8387961"/>
                <a:gd name="connsiteY5796" fmla="*/ 1468960 h 3980066"/>
                <a:gd name="connsiteX5797" fmla="*/ 778393 w 8387961"/>
                <a:gd name="connsiteY5797" fmla="*/ 1495659 h 3980066"/>
                <a:gd name="connsiteX5798" fmla="*/ 786780 w 8387961"/>
                <a:gd name="connsiteY5798" fmla="*/ 1517352 h 3980066"/>
                <a:gd name="connsiteX5799" fmla="*/ 793503 w 8387961"/>
                <a:gd name="connsiteY5799" fmla="*/ 1537376 h 3980066"/>
                <a:gd name="connsiteX5800" fmla="*/ 796854 w 8387961"/>
                <a:gd name="connsiteY5800" fmla="*/ 1535707 h 3980066"/>
                <a:gd name="connsiteX5801" fmla="*/ 800211 w 8387961"/>
                <a:gd name="connsiteY5801" fmla="*/ 1569081 h 3980066"/>
                <a:gd name="connsiteX5802" fmla="*/ 806927 w 8387961"/>
                <a:gd name="connsiteY5802" fmla="*/ 1605792 h 3980066"/>
                <a:gd name="connsiteX5803" fmla="*/ 815324 w 8387961"/>
                <a:gd name="connsiteY5803" fmla="*/ 1610798 h 3980066"/>
                <a:gd name="connsiteX5804" fmla="*/ 827085 w 8387961"/>
                <a:gd name="connsiteY5804" fmla="*/ 1627485 h 3980066"/>
                <a:gd name="connsiteX5805" fmla="*/ 833794 w 8387961"/>
                <a:gd name="connsiteY5805" fmla="*/ 1640835 h 3980066"/>
                <a:gd name="connsiteX5806" fmla="*/ 815324 w 8387961"/>
                <a:gd name="connsiteY5806" fmla="*/ 1649178 h 3980066"/>
                <a:gd name="connsiteX5807" fmla="*/ 798539 w 8387961"/>
                <a:gd name="connsiteY5807" fmla="*/ 1620811 h 3980066"/>
                <a:gd name="connsiteX5808" fmla="*/ 775030 w 8387961"/>
                <a:gd name="connsiteY5808" fmla="*/ 1595780 h 3980066"/>
                <a:gd name="connsiteX5809" fmla="*/ 776706 w 8387961"/>
                <a:gd name="connsiteY5809" fmla="*/ 1570750 h 3980066"/>
                <a:gd name="connsiteX5810" fmla="*/ 768310 w 8387961"/>
                <a:gd name="connsiteY5810" fmla="*/ 1549057 h 3980066"/>
                <a:gd name="connsiteX5811" fmla="*/ 759920 w 8387961"/>
                <a:gd name="connsiteY5811" fmla="*/ 1534039 h 3980066"/>
                <a:gd name="connsiteX5812" fmla="*/ 744810 w 8387961"/>
                <a:gd name="connsiteY5812" fmla="*/ 1530701 h 3980066"/>
                <a:gd name="connsiteX5813" fmla="*/ 733051 w 8387961"/>
                <a:gd name="connsiteY5813" fmla="*/ 1517352 h 3980066"/>
                <a:gd name="connsiteX5814" fmla="*/ 719628 w 8387961"/>
                <a:gd name="connsiteY5814" fmla="*/ 1504002 h 3980066"/>
                <a:gd name="connsiteX5815" fmla="*/ 739774 w 8387961"/>
                <a:gd name="connsiteY5815" fmla="*/ 1507339 h 3980066"/>
                <a:gd name="connsiteX5816" fmla="*/ 746483 w 8387961"/>
                <a:gd name="connsiteY5816" fmla="*/ 1477303 h 3980066"/>
                <a:gd name="connsiteX5817" fmla="*/ 733051 w 8387961"/>
                <a:gd name="connsiteY5817" fmla="*/ 1457279 h 3980066"/>
                <a:gd name="connsiteX5818" fmla="*/ 717939 w 8387961"/>
                <a:gd name="connsiteY5818" fmla="*/ 1437254 h 3980066"/>
                <a:gd name="connsiteX5819" fmla="*/ 714582 w 8387961"/>
                <a:gd name="connsiteY5819" fmla="*/ 1400543 h 3980066"/>
                <a:gd name="connsiteX5820" fmla="*/ 709544 w 8387961"/>
                <a:gd name="connsiteY5820" fmla="*/ 1363832 h 3980066"/>
                <a:gd name="connsiteX5821" fmla="*/ 739774 w 8387961"/>
                <a:gd name="connsiteY5821" fmla="*/ 1360495 h 3980066"/>
                <a:gd name="connsiteX5822" fmla="*/ 773347 w 8387961"/>
                <a:gd name="connsiteY5822" fmla="*/ 1358826 h 3980066"/>
                <a:gd name="connsiteX5823" fmla="*/ 790139 w 8387961"/>
                <a:gd name="connsiteY5823" fmla="*/ 1368838 h 3980066"/>
                <a:gd name="connsiteX5824" fmla="*/ 810287 w 8387961"/>
                <a:gd name="connsiteY5824" fmla="*/ 1378850 h 3980066"/>
                <a:gd name="connsiteX5825" fmla="*/ 830436 w 8387961"/>
                <a:gd name="connsiteY5825" fmla="*/ 1388862 h 3980066"/>
                <a:gd name="connsiteX5826" fmla="*/ 850582 w 8387961"/>
                <a:gd name="connsiteY5826" fmla="*/ 1398874 h 3980066"/>
                <a:gd name="connsiteX5827" fmla="*/ 887524 w 8387961"/>
                <a:gd name="connsiteY5827" fmla="*/ 1398874 h 3980066"/>
                <a:gd name="connsiteX5828" fmla="*/ 924460 w 8387961"/>
                <a:gd name="connsiteY5828" fmla="*/ 1398874 h 3980066"/>
                <a:gd name="connsiteX5829" fmla="*/ 929506 w 8387961"/>
                <a:gd name="connsiteY5829" fmla="*/ 1385525 h 3980066"/>
                <a:gd name="connsiteX5830" fmla="*/ 971474 w 8387961"/>
                <a:gd name="connsiteY5830" fmla="*/ 1385525 h 3980066"/>
                <a:gd name="connsiteX5831" fmla="*/ 994980 w 8387961"/>
                <a:gd name="connsiteY5831" fmla="*/ 1415561 h 3980066"/>
                <a:gd name="connsiteX5832" fmla="*/ 994599 w 8387961"/>
                <a:gd name="connsiteY5832" fmla="*/ 1413838 h 3980066"/>
                <a:gd name="connsiteX5833" fmla="*/ 971164 w 8387961"/>
                <a:gd name="connsiteY5833" fmla="*/ 1383639 h 3980066"/>
                <a:gd name="connsiteX5834" fmla="*/ 929318 w 8387961"/>
                <a:gd name="connsiteY5834" fmla="*/ 1383639 h 3980066"/>
                <a:gd name="connsiteX5835" fmla="*/ 924297 w 8387961"/>
                <a:gd name="connsiteY5835" fmla="*/ 1397061 h 3980066"/>
                <a:gd name="connsiteX5836" fmla="*/ 887473 w 8387961"/>
                <a:gd name="connsiteY5836" fmla="*/ 1397061 h 3980066"/>
                <a:gd name="connsiteX5837" fmla="*/ 850648 w 8387961"/>
                <a:gd name="connsiteY5837" fmla="*/ 1397061 h 3980066"/>
                <a:gd name="connsiteX5838" fmla="*/ 830562 w 8387961"/>
                <a:gd name="connsiteY5838" fmla="*/ 1386995 h 3980066"/>
                <a:gd name="connsiteX5839" fmla="*/ 810475 w 8387961"/>
                <a:gd name="connsiteY5839" fmla="*/ 1376928 h 3980066"/>
                <a:gd name="connsiteX5840" fmla="*/ 790390 w 8387961"/>
                <a:gd name="connsiteY5840" fmla="*/ 1366862 h 3980066"/>
                <a:gd name="connsiteX5841" fmla="*/ 773651 w 8387961"/>
                <a:gd name="connsiteY5841" fmla="*/ 1356796 h 3980066"/>
                <a:gd name="connsiteX5842" fmla="*/ 740174 w 8387961"/>
                <a:gd name="connsiteY5842" fmla="*/ 1358473 h 3980066"/>
                <a:gd name="connsiteX5843" fmla="*/ 710045 w 8387961"/>
                <a:gd name="connsiteY5843" fmla="*/ 1361829 h 3980066"/>
                <a:gd name="connsiteX5844" fmla="*/ 710045 w 8387961"/>
                <a:gd name="connsiteY5844" fmla="*/ 1336663 h 3980066"/>
                <a:gd name="connsiteX5845" fmla="*/ 684938 w 8387961"/>
                <a:gd name="connsiteY5845" fmla="*/ 1316530 h 3980066"/>
                <a:gd name="connsiteX5846" fmla="*/ 658156 w 8387961"/>
                <a:gd name="connsiteY5846" fmla="*/ 1303108 h 3980066"/>
                <a:gd name="connsiteX5847" fmla="*/ 644765 w 8387961"/>
                <a:gd name="connsiteY5847" fmla="*/ 1301430 h 3980066"/>
                <a:gd name="connsiteX5848" fmla="*/ 649786 w 8387961"/>
                <a:gd name="connsiteY5848" fmla="*/ 1274587 h 3980066"/>
                <a:gd name="connsiteX5849" fmla="*/ 644765 w 8387961"/>
                <a:gd name="connsiteY5849" fmla="*/ 1256132 h 3980066"/>
                <a:gd name="connsiteX5850" fmla="*/ 638070 w 8387961"/>
                <a:gd name="connsiteY5850" fmla="*/ 1241032 h 3980066"/>
                <a:gd name="connsiteX5851" fmla="*/ 646439 w 8387961"/>
                <a:gd name="connsiteY5851" fmla="*/ 1227610 h 3980066"/>
                <a:gd name="connsiteX5852" fmla="*/ 638070 w 8387961"/>
                <a:gd name="connsiteY5852" fmla="*/ 1212511 h 3980066"/>
                <a:gd name="connsiteX5853" fmla="*/ 643091 w 8387961"/>
                <a:gd name="connsiteY5853" fmla="*/ 1207478 h 3980066"/>
                <a:gd name="connsiteX5854" fmla="*/ 648113 w 8387961"/>
                <a:gd name="connsiteY5854" fmla="*/ 1212511 h 3980066"/>
                <a:gd name="connsiteX5855" fmla="*/ 653134 w 8387961"/>
                <a:gd name="connsiteY5855" fmla="*/ 1195734 h 3980066"/>
                <a:gd name="connsiteX5856" fmla="*/ 646439 w 8387961"/>
                <a:gd name="connsiteY5856" fmla="*/ 1195734 h 3980066"/>
                <a:gd name="connsiteX5857" fmla="*/ 634722 w 8387961"/>
                <a:gd name="connsiteY5857" fmla="*/ 1195734 h 3980066"/>
                <a:gd name="connsiteX5858" fmla="*/ 636396 w 8387961"/>
                <a:gd name="connsiteY5858" fmla="*/ 1190700 h 3980066"/>
                <a:gd name="connsiteX5859" fmla="*/ 638070 w 8387961"/>
                <a:gd name="connsiteY5859" fmla="*/ 1194056 h 3980066"/>
                <a:gd name="connsiteX5860" fmla="*/ 634722 w 8387961"/>
                <a:gd name="connsiteY5860" fmla="*/ 1175601 h 3980066"/>
                <a:gd name="connsiteX5861" fmla="*/ 629701 w 8387961"/>
                <a:gd name="connsiteY5861" fmla="*/ 1155468 h 3980066"/>
                <a:gd name="connsiteX5862" fmla="*/ 634722 w 8387961"/>
                <a:gd name="connsiteY5862" fmla="*/ 1133658 h 3980066"/>
                <a:gd name="connsiteX5863" fmla="*/ 633049 w 8387961"/>
                <a:gd name="connsiteY5863" fmla="*/ 1123591 h 3980066"/>
                <a:gd name="connsiteX5864" fmla="*/ 658156 w 8387961"/>
                <a:gd name="connsiteY5864" fmla="*/ 1095070 h 3980066"/>
                <a:gd name="connsiteX5865" fmla="*/ 666525 w 8387961"/>
                <a:gd name="connsiteY5865" fmla="*/ 1071582 h 3980066"/>
                <a:gd name="connsiteX5866" fmla="*/ 674895 w 8387961"/>
                <a:gd name="connsiteY5866" fmla="*/ 1046416 h 3980066"/>
                <a:gd name="connsiteX5867" fmla="*/ 703349 w 8387961"/>
                <a:gd name="connsiteY5867" fmla="*/ 1006150 h 3980066"/>
                <a:gd name="connsiteX5868" fmla="*/ 733479 w 8387961"/>
                <a:gd name="connsiteY5868" fmla="*/ 969240 h 3980066"/>
                <a:gd name="connsiteX5869" fmla="*/ 745196 w 8387961"/>
                <a:gd name="connsiteY5869" fmla="*/ 954141 h 3980066"/>
                <a:gd name="connsiteX5870" fmla="*/ 756913 w 8387961"/>
                <a:gd name="connsiteY5870" fmla="*/ 954141 h 3980066"/>
                <a:gd name="connsiteX5871" fmla="*/ 740174 w 8387961"/>
                <a:gd name="connsiteY5871" fmla="*/ 950785 h 3980066"/>
                <a:gd name="connsiteX5872" fmla="*/ 746870 w 8387961"/>
                <a:gd name="connsiteY5872" fmla="*/ 939041 h 3980066"/>
                <a:gd name="connsiteX5873" fmla="*/ 748544 w 8387961"/>
                <a:gd name="connsiteY5873" fmla="*/ 942397 h 3980066"/>
                <a:gd name="connsiteX5874" fmla="*/ 750218 w 8387961"/>
                <a:gd name="connsiteY5874" fmla="*/ 939041 h 3980066"/>
                <a:gd name="connsiteX5875" fmla="*/ 753565 w 8387961"/>
                <a:gd name="connsiteY5875" fmla="*/ 932330 h 3980066"/>
                <a:gd name="connsiteX5876" fmla="*/ 756913 w 8387961"/>
                <a:gd name="connsiteY5876" fmla="*/ 928975 h 3980066"/>
                <a:gd name="connsiteX5877" fmla="*/ 768629 w 8387961"/>
                <a:gd name="connsiteY5877" fmla="*/ 888709 h 3980066"/>
                <a:gd name="connsiteX5878" fmla="*/ 805454 w 8387961"/>
                <a:gd name="connsiteY5878" fmla="*/ 895420 h 3980066"/>
                <a:gd name="connsiteX5879" fmla="*/ 797084 w 8387961"/>
                <a:gd name="connsiteY5879" fmla="*/ 905487 h 3980066"/>
                <a:gd name="connsiteX5880" fmla="*/ 783694 w 8387961"/>
                <a:gd name="connsiteY5880" fmla="*/ 918908 h 3980066"/>
                <a:gd name="connsiteX5881" fmla="*/ 785368 w 8387961"/>
                <a:gd name="connsiteY5881" fmla="*/ 918908 h 3980066"/>
                <a:gd name="connsiteX5882" fmla="*/ 807127 w 8387961"/>
                <a:gd name="connsiteY5882" fmla="*/ 902131 h 3980066"/>
                <a:gd name="connsiteX5883" fmla="*/ 789144 w 8387961"/>
                <a:gd name="connsiteY5883" fmla="*/ 923434 h 3980066"/>
                <a:gd name="connsiteX5884" fmla="*/ 788576 w 8387961"/>
                <a:gd name="connsiteY5884" fmla="*/ 923662 h 3980066"/>
                <a:gd name="connsiteX5885" fmla="*/ 787042 w 8387961"/>
                <a:gd name="connsiteY5885" fmla="*/ 920586 h 3980066"/>
                <a:gd name="connsiteX5886" fmla="*/ 783694 w 8387961"/>
                <a:gd name="connsiteY5886" fmla="*/ 925619 h 3980066"/>
                <a:gd name="connsiteX5887" fmla="*/ 788576 w 8387961"/>
                <a:gd name="connsiteY5887" fmla="*/ 923662 h 3980066"/>
                <a:gd name="connsiteX5888" fmla="*/ 788716 w 8387961"/>
                <a:gd name="connsiteY5888" fmla="*/ 923942 h 3980066"/>
                <a:gd name="connsiteX5889" fmla="*/ 789144 w 8387961"/>
                <a:gd name="connsiteY5889" fmla="*/ 923434 h 3980066"/>
                <a:gd name="connsiteX5890" fmla="*/ 800432 w 8387961"/>
                <a:gd name="connsiteY5890" fmla="*/ 918908 h 3980066"/>
                <a:gd name="connsiteX5891" fmla="*/ 813823 w 8387961"/>
                <a:gd name="connsiteY5891" fmla="*/ 893742 h 3980066"/>
                <a:gd name="connsiteX5892" fmla="*/ 820454 w 8387961"/>
                <a:gd name="connsiteY5892" fmla="*/ 870480 h 3980066"/>
                <a:gd name="connsiteX5893" fmla="*/ 815326 w 8387961"/>
                <a:gd name="connsiteY5893" fmla="*/ 866628 h 3980066"/>
                <a:gd name="connsiteX5894" fmla="*/ 825358 w 8387961"/>
                <a:gd name="connsiteY5894" fmla="*/ 863279 h 3980066"/>
                <a:gd name="connsiteX5895" fmla="*/ 816997 w 8387961"/>
                <a:gd name="connsiteY5895" fmla="*/ 861604 h 3980066"/>
                <a:gd name="connsiteX5896" fmla="*/ 825358 w 8387961"/>
                <a:gd name="connsiteY5896" fmla="*/ 853231 h 3980066"/>
                <a:gd name="connsiteX5897" fmla="*/ 815326 w 8387961"/>
                <a:gd name="connsiteY5897" fmla="*/ 856580 h 3980066"/>
                <a:gd name="connsiteX5898" fmla="*/ 805302 w 8387961"/>
                <a:gd name="connsiteY5898" fmla="*/ 853231 h 3980066"/>
                <a:gd name="connsiteX5899" fmla="*/ 810311 w 8387961"/>
                <a:gd name="connsiteY5899" fmla="*/ 853231 h 3980066"/>
                <a:gd name="connsiteX5900" fmla="*/ 818669 w 8387961"/>
                <a:gd name="connsiteY5900" fmla="*/ 834812 h 3980066"/>
                <a:gd name="connsiteX5901" fmla="*/ 806976 w 8387961"/>
                <a:gd name="connsiteY5901" fmla="*/ 846533 h 3980066"/>
                <a:gd name="connsiteX5902" fmla="*/ 795268 w 8387961"/>
                <a:gd name="connsiteY5902" fmla="*/ 841510 h 3980066"/>
                <a:gd name="connsiteX5903" fmla="*/ 816997 w 8387961"/>
                <a:gd name="connsiteY5903" fmla="*/ 826439 h 3980066"/>
                <a:gd name="connsiteX5904" fmla="*/ 800283 w 8387961"/>
                <a:gd name="connsiteY5904" fmla="*/ 833137 h 3980066"/>
                <a:gd name="connsiteX5905" fmla="*/ 808648 w 8387961"/>
                <a:gd name="connsiteY5905" fmla="*/ 819741 h 3980066"/>
                <a:gd name="connsiteX5906" fmla="*/ 791924 w 8387961"/>
                <a:gd name="connsiteY5906" fmla="*/ 829788 h 3980066"/>
                <a:gd name="connsiteX5907" fmla="*/ 791924 w 8387961"/>
                <a:gd name="connsiteY5907" fmla="*/ 823090 h 3980066"/>
                <a:gd name="connsiteX5908" fmla="*/ 777026 w 8387961"/>
                <a:gd name="connsiteY5908" fmla="*/ 829727 h 3980066"/>
                <a:gd name="connsiteX5909" fmla="*/ 777620 w 8387961"/>
                <a:gd name="connsiteY5909" fmla="*/ 829875 h 3980066"/>
                <a:gd name="connsiteX5910" fmla="*/ 784479 w 8387961"/>
                <a:gd name="connsiteY5910" fmla="*/ 843691 h 3980066"/>
                <a:gd name="connsiteX5911" fmla="*/ 796496 w 8387961"/>
                <a:gd name="connsiteY5911" fmla="*/ 862687 h 3980066"/>
                <a:gd name="connsiteX5912" fmla="*/ 798215 w 8387961"/>
                <a:gd name="connsiteY5912" fmla="*/ 883410 h 3980066"/>
                <a:gd name="connsiteX5913" fmla="*/ 799930 w 8387961"/>
                <a:gd name="connsiteY5913" fmla="*/ 890318 h 3980066"/>
                <a:gd name="connsiteX5914" fmla="*/ 763880 w 8387961"/>
                <a:gd name="connsiteY5914" fmla="*/ 879956 h 3980066"/>
                <a:gd name="connsiteX5915" fmla="*/ 772601 w 8387961"/>
                <a:gd name="connsiteY5915" fmla="*/ 871189 h 3980066"/>
                <a:gd name="connsiteX5916" fmla="*/ 774184 w 8387961"/>
                <a:gd name="connsiteY5916" fmla="*/ 871322 h 3980066"/>
                <a:gd name="connsiteX5917" fmla="*/ 777620 w 8387961"/>
                <a:gd name="connsiteY5917" fmla="*/ 866141 h 3980066"/>
                <a:gd name="connsiteX5918" fmla="*/ 772601 w 8387961"/>
                <a:gd name="connsiteY5918" fmla="*/ 871189 h 3980066"/>
                <a:gd name="connsiteX5919" fmla="*/ 753587 w 8387961"/>
                <a:gd name="connsiteY5919" fmla="*/ 869595 h 3980066"/>
                <a:gd name="connsiteX5920" fmla="*/ 758733 w 8387961"/>
                <a:gd name="connsiteY5920" fmla="*/ 864414 h 3980066"/>
                <a:gd name="connsiteX5921" fmla="*/ 750153 w 8387961"/>
                <a:gd name="connsiteY5921" fmla="*/ 862687 h 3980066"/>
                <a:gd name="connsiteX5922" fmla="*/ 739847 w 8387961"/>
                <a:gd name="connsiteY5922" fmla="*/ 859233 h 3980066"/>
                <a:gd name="connsiteX5923" fmla="*/ 757013 w 8387961"/>
                <a:gd name="connsiteY5923" fmla="*/ 852325 h 3980066"/>
                <a:gd name="connsiteX5924" fmla="*/ 739847 w 8387961"/>
                <a:gd name="connsiteY5924" fmla="*/ 845418 h 3980066"/>
                <a:gd name="connsiteX5925" fmla="*/ 739847 w 8387961"/>
                <a:gd name="connsiteY5925" fmla="*/ 840237 h 3980066"/>
                <a:gd name="connsiteX5926" fmla="*/ 729547 w 8387961"/>
                <a:gd name="connsiteY5926" fmla="*/ 838510 h 3980066"/>
                <a:gd name="connsiteX5927" fmla="*/ 727830 w 8387961"/>
                <a:gd name="connsiteY5927" fmla="*/ 833329 h 3980066"/>
                <a:gd name="connsiteX5928" fmla="*/ 739847 w 8387961"/>
                <a:gd name="connsiteY5928" fmla="*/ 824695 h 3980066"/>
                <a:gd name="connsiteX5929" fmla="*/ 734701 w 8387961"/>
                <a:gd name="connsiteY5929" fmla="*/ 828149 h 3980066"/>
                <a:gd name="connsiteX5930" fmla="*/ 726120 w 8387961"/>
                <a:gd name="connsiteY5930" fmla="*/ 819514 h 3980066"/>
                <a:gd name="connsiteX5931" fmla="*/ 750153 w 8387961"/>
                <a:gd name="connsiteY5931" fmla="*/ 822968 h 3980066"/>
                <a:gd name="connsiteX5932" fmla="*/ 776905 w 8387961"/>
                <a:gd name="connsiteY5932" fmla="*/ 829697 h 3980066"/>
                <a:gd name="connsiteX5933" fmla="*/ 778555 w 8387961"/>
                <a:gd name="connsiteY5933" fmla="*/ 823090 h 3980066"/>
                <a:gd name="connsiteX5934" fmla="*/ 788581 w 8387961"/>
                <a:gd name="connsiteY5934" fmla="*/ 823090 h 3980066"/>
                <a:gd name="connsiteX5935" fmla="*/ 796027 w 8387961"/>
                <a:gd name="connsiteY5935" fmla="*/ 816697 h 3980066"/>
                <a:gd name="connsiteX5936" fmla="*/ 796939 w 8387961"/>
                <a:gd name="connsiteY5936" fmla="*/ 816392 h 3980066"/>
                <a:gd name="connsiteX5937" fmla="*/ 800283 w 8387961"/>
                <a:gd name="connsiteY5937" fmla="*/ 813043 h 3980066"/>
                <a:gd name="connsiteX5938" fmla="*/ 796027 w 8387961"/>
                <a:gd name="connsiteY5938" fmla="*/ 816697 h 3980066"/>
                <a:gd name="connsiteX5939" fmla="*/ 776882 w 8387961"/>
                <a:gd name="connsiteY5939" fmla="*/ 823090 h 3980066"/>
                <a:gd name="connsiteX5940" fmla="*/ 785247 w 8387961"/>
                <a:gd name="connsiteY5940" fmla="*/ 819741 h 3980066"/>
                <a:gd name="connsiteX5941" fmla="*/ 775209 w 8387961"/>
                <a:gd name="connsiteY5941" fmla="*/ 819741 h 3980066"/>
                <a:gd name="connsiteX5942" fmla="*/ 781901 w 8387961"/>
                <a:gd name="connsiteY5942" fmla="*/ 814718 h 3980066"/>
                <a:gd name="connsiteX5943" fmla="*/ 776882 w 8387961"/>
                <a:gd name="connsiteY5943" fmla="*/ 813043 h 3980066"/>
                <a:gd name="connsiteX5944" fmla="*/ 770194 w 8387961"/>
                <a:gd name="connsiteY5944" fmla="*/ 816392 h 3980066"/>
                <a:gd name="connsiteX5945" fmla="*/ 751807 w 8387961"/>
                <a:gd name="connsiteY5945" fmla="*/ 811369 h 3980066"/>
                <a:gd name="connsiteX5946" fmla="*/ 766851 w 8387961"/>
                <a:gd name="connsiteY5946" fmla="*/ 804671 h 3980066"/>
                <a:gd name="connsiteX5947" fmla="*/ 756826 w 8387961"/>
                <a:gd name="connsiteY5947" fmla="*/ 802996 h 3980066"/>
                <a:gd name="connsiteX5948" fmla="*/ 761844 w 8387961"/>
                <a:gd name="connsiteY5948" fmla="*/ 801322 h 3980066"/>
                <a:gd name="connsiteX5949" fmla="*/ 788581 w 8387961"/>
                <a:gd name="connsiteY5949" fmla="*/ 794624 h 3980066"/>
                <a:gd name="connsiteX5950" fmla="*/ 771866 w 8387961"/>
                <a:gd name="connsiteY5950" fmla="*/ 792949 h 3980066"/>
                <a:gd name="connsiteX5951" fmla="*/ 765179 w 8387961"/>
                <a:gd name="connsiteY5951" fmla="*/ 796298 h 3980066"/>
                <a:gd name="connsiteX5952" fmla="*/ 765179 w 8387961"/>
                <a:gd name="connsiteY5952" fmla="*/ 791275 h 3980066"/>
                <a:gd name="connsiteX5953" fmla="*/ 790253 w 8387961"/>
                <a:gd name="connsiteY5953" fmla="*/ 774529 h 3980066"/>
                <a:gd name="connsiteX5954" fmla="*/ 795268 w 8387961"/>
                <a:gd name="connsiteY5954" fmla="*/ 784577 h 3980066"/>
                <a:gd name="connsiteX5955" fmla="*/ 796939 w 8387961"/>
                <a:gd name="connsiteY5955" fmla="*/ 774529 h 3980066"/>
                <a:gd name="connsiteX5956" fmla="*/ 806976 w 8387961"/>
                <a:gd name="connsiteY5956" fmla="*/ 761133 h 3980066"/>
                <a:gd name="connsiteX5957" fmla="*/ 771866 w 8387961"/>
                <a:gd name="connsiteY5957" fmla="*/ 779553 h 3980066"/>
                <a:gd name="connsiteX5958" fmla="*/ 775209 w 8387961"/>
                <a:gd name="connsiteY5958" fmla="*/ 771180 h 3980066"/>
                <a:gd name="connsiteX5959" fmla="*/ 765179 w 8387961"/>
                <a:gd name="connsiteY5959" fmla="*/ 776204 h 3980066"/>
                <a:gd name="connsiteX5960" fmla="*/ 781901 w 8387961"/>
                <a:gd name="connsiteY5960" fmla="*/ 759459 h 3980066"/>
                <a:gd name="connsiteX5961" fmla="*/ 776882 w 8387961"/>
                <a:gd name="connsiteY5961" fmla="*/ 761133 h 3980066"/>
                <a:gd name="connsiteX5962" fmla="*/ 780228 w 8387961"/>
                <a:gd name="connsiteY5962" fmla="*/ 742715 h 3980066"/>
                <a:gd name="connsiteX5963" fmla="*/ 791924 w 8387961"/>
                <a:gd name="connsiteY5963" fmla="*/ 746064 h 3980066"/>
                <a:gd name="connsiteX5964" fmla="*/ 786909 w 8387961"/>
                <a:gd name="connsiteY5964" fmla="*/ 742715 h 3980066"/>
                <a:gd name="connsiteX5965" fmla="*/ 798611 w 8387961"/>
                <a:gd name="connsiteY5965" fmla="*/ 725970 h 3980066"/>
                <a:gd name="connsiteX5966" fmla="*/ 768522 w 8387961"/>
                <a:gd name="connsiteY5966" fmla="*/ 744388 h 3980066"/>
                <a:gd name="connsiteX5967" fmla="*/ 765179 w 8387961"/>
                <a:gd name="connsiteY5967" fmla="*/ 724295 h 3980066"/>
                <a:gd name="connsiteX5968" fmla="*/ 770194 w 8387961"/>
                <a:gd name="connsiteY5968" fmla="*/ 729318 h 3980066"/>
                <a:gd name="connsiteX5969" fmla="*/ 770194 w 8387961"/>
                <a:gd name="connsiteY5969" fmla="*/ 722620 h 3980066"/>
                <a:gd name="connsiteX5970" fmla="*/ 766851 w 8387961"/>
                <a:gd name="connsiteY5970" fmla="*/ 722620 h 3980066"/>
                <a:gd name="connsiteX5971" fmla="*/ 768522 w 8387961"/>
                <a:gd name="connsiteY5971" fmla="*/ 710899 h 3980066"/>
                <a:gd name="connsiteX5972" fmla="*/ 771866 w 8387961"/>
                <a:gd name="connsiteY5972" fmla="*/ 719271 h 3980066"/>
                <a:gd name="connsiteX5973" fmla="*/ 771866 w 8387961"/>
                <a:gd name="connsiteY5973" fmla="*/ 709224 h 3980066"/>
                <a:gd name="connsiteX5974" fmla="*/ 780228 w 8387961"/>
                <a:gd name="connsiteY5974" fmla="*/ 709224 h 3980066"/>
                <a:gd name="connsiteX5975" fmla="*/ 791924 w 8387961"/>
                <a:gd name="connsiteY5975" fmla="*/ 699177 h 3980066"/>
                <a:gd name="connsiteX5976" fmla="*/ 788581 w 8387961"/>
                <a:gd name="connsiteY5976" fmla="*/ 699177 h 3980066"/>
                <a:gd name="connsiteX5977" fmla="*/ 808648 w 8387961"/>
                <a:gd name="connsiteY5977" fmla="*/ 685781 h 3980066"/>
                <a:gd name="connsiteX5978" fmla="*/ 808648 w 8387961"/>
                <a:gd name="connsiteY5978" fmla="*/ 680757 h 3980066"/>
                <a:gd name="connsiteX5979" fmla="*/ 795987 w 8387961"/>
                <a:gd name="connsiteY5979" fmla="*/ 691486 h 3980066"/>
                <a:gd name="connsiteX5980" fmla="*/ 794772 w 8387961"/>
                <a:gd name="connsiteY5980" fmla="*/ 693154 h 3980066"/>
                <a:gd name="connsiteX5981" fmla="*/ 793076 w 8387961"/>
                <a:gd name="connsiteY5981" fmla="*/ 693952 h 3980066"/>
                <a:gd name="connsiteX5982" fmla="*/ 786909 w 8387961"/>
                <a:gd name="connsiteY5982" fmla="*/ 699177 h 3980066"/>
                <a:gd name="connsiteX5983" fmla="*/ 790357 w 8387961"/>
                <a:gd name="connsiteY5983" fmla="*/ 695230 h 3980066"/>
                <a:gd name="connsiteX5984" fmla="*/ 766322 w 8387961"/>
                <a:gd name="connsiteY5984" fmla="*/ 706530 h 3980066"/>
                <a:gd name="connsiteX5985" fmla="*/ 773016 w 8387961"/>
                <a:gd name="connsiteY5985" fmla="*/ 698170 h 3980066"/>
                <a:gd name="connsiteX5986" fmla="*/ 784730 w 8387961"/>
                <a:gd name="connsiteY5986" fmla="*/ 691482 h 3980066"/>
                <a:gd name="connsiteX5987" fmla="*/ 766322 w 8387961"/>
                <a:gd name="connsiteY5987" fmla="*/ 694826 h 3980066"/>
                <a:gd name="connsiteX5988" fmla="*/ 774689 w 8387961"/>
                <a:gd name="connsiteY5988" fmla="*/ 693154 h 3980066"/>
                <a:gd name="connsiteX5989" fmla="*/ 793098 w 8387961"/>
                <a:gd name="connsiteY5989" fmla="*/ 671419 h 3980066"/>
                <a:gd name="connsiteX5990" fmla="*/ 762975 w 8387961"/>
                <a:gd name="connsiteY5990" fmla="*/ 681451 h 3980066"/>
                <a:gd name="connsiteX5991" fmla="*/ 752934 w 8387961"/>
                <a:gd name="connsiteY5991" fmla="*/ 684795 h 3980066"/>
                <a:gd name="connsiteX5992" fmla="*/ 774689 w 8387961"/>
                <a:gd name="connsiteY5992" fmla="*/ 666403 h 3980066"/>
                <a:gd name="connsiteX5993" fmla="*/ 784730 w 8387961"/>
                <a:gd name="connsiteY5993" fmla="*/ 666403 h 3980066"/>
                <a:gd name="connsiteX5994" fmla="*/ 774689 w 8387961"/>
                <a:gd name="connsiteY5994" fmla="*/ 653028 h 3980066"/>
                <a:gd name="connsiteX5995" fmla="*/ 769669 w 8387961"/>
                <a:gd name="connsiteY5995" fmla="*/ 641325 h 3980066"/>
                <a:gd name="connsiteX5996" fmla="*/ 767995 w 8387961"/>
                <a:gd name="connsiteY5996" fmla="*/ 636309 h 3980066"/>
                <a:gd name="connsiteX5997" fmla="*/ 776363 w 8387961"/>
                <a:gd name="connsiteY5997" fmla="*/ 634637 h 3980066"/>
                <a:gd name="connsiteX5998" fmla="*/ 774689 w 8387961"/>
                <a:gd name="connsiteY5998" fmla="*/ 624605 h 3980066"/>
                <a:gd name="connsiteX5999" fmla="*/ 783057 w 8387961"/>
                <a:gd name="connsiteY5999" fmla="*/ 627949 h 3980066"/>
                <a:gd name="connsiteX6000" fmla="*/ 783057 w 8387961"/>
                <a:gd name="connsiteY6000" fmla="*/ 621261 h 3980066"/>
                <a:gd name="connsiteX6001" fmla="*/ 789751 w 8387961"/>
                <a:gd name="connsiteY6001" fmla="*/ 621261 h 3980066"/>
                <a:gd name="connsiteX6002" fmla="*/ 776363 w 8387961"/>
                <a:gd name="connsiteY6002" fmla="*/ 617917 h 3980066"/>
                <a:gd name="connsiteX6003" fmla="*/ 784730 w 8387961"/>
                <a:gd name="connsiteY6003" fmla="*/ 614573 h 3980066"/>
                <a:gd name="connsiteX6004" fmla="*/ 783057 w 8387961"/>
                <a:gd name="connsiteY6004" fmla="*/ 607886 h 3980066"/>
                <a:gd name="connsiteX6005" fmla="*/ 776363 w 8387961"/>
                <a:gd name="connsiteY6005" fmla="*/ 611230 h 3980066"/>
                <a:gd name="connsiteX6006" fmla="*/ 773016 w 8387961"/>
                <a:gd name="connsiteY6006" fmla="*/ 597854 h 3980066"/>
                <a:gd name="connsiteX6007" fmla="*/ 776363 w 8387961"/>
                <a:gd name="connsiteY6007" fmla="*/ 582806 h 3980066"/>
                <a:gd name="connsiteX6008" fmla="*/ 752934 w 8387961"/>
                <a:gd name="connsiteY6008" fmla="*/ 611230 h 3980066"/>
                <a:gd name="connsiteX6009" fmla="*/ 749587 w 8387961"/>
                <a:gd name="connsiteY6009" fmla="*/ 604542 h 3980066"/>
                <a:gd name="connsiteX6010" fmla="*/ 749587 w 8387961"/>
                <a:gd name="connsiteY6010" fmla="*/ 601198 h 3980066"/>
                <a:gd name="connsiteX6011" fmla="*/ 756281 w 8387961"/>
                <a:gd name="connsiteY6011" fmla="*/ 592838 h 3980066"/>
                <a:gd name="connsiteX6012" fmla="*/ 754607 w 8387961"/>
                <a:gd name="connsiteY6012" fmla="*/ 591166 h 3980066"/>
                <a:gd name="connsiteX6013" fmla="*/ 744566 w 8387961"/>
                <a:gd name="connsiteY6013" fmla="*/ 594510 h 3980066"/>
                <a:gd name="connsiteX6014" fmla="*/ 734525 w 8387961"/>
                <a:gd name="connsiteY6014" fmla="*/ 591166 h 3980066"/>
                <a:gd name="connsiteX6015" fmla="*/ 737872 w 8387961"/>
                <a:gd name="connsiteY6015" fmla="*/ 607886 h 3980066"/>
                <a:gd name="connsiteX6016" fmla="*/ 727830 w 8387961"/>
                <a:gd name="connsiteY6016" fmla="*/ 607886 h 3980066"/>
                <a:gd name="connsiteX6017" fmla="*/ 712769 w 8387961"/>
                <a:gd name="connsiteY6017" fmla="*/ 591166 h 3980066"/>
                <a:gd name="connsiteX6018" fmla="*/ 697707 w 8387961"/>
                <a:gd name="connsiteY6018" fmla="*/ 572775 h 3980066"/>
                <a:gd name="connsiteX6019" fmla="*/ 710258 w 8387961"/>
                <a:gd name="connsiteY6019" fmla="*/ 564415 h 3980066"/>
                <a:gd name="connsiteX6020" fmla="*/ 711212 w 8387961"/>
                <a:gd name="connsiteY6020" fmla="*/ 564687 h 3980066"/>
                <a:gd name="connsiteX6021" fmla="*/ 706075 w 8387961"/>
                <a:gd name="connsiteY6021" fmla="*/ 571103 h 3980066"/>
                <a:gd name="connsiteX6022" fmla="*/ 716115 w 8387961"/>
                <a:gd name="connsiteY6022" fmla="*/ 566087 h 3980066"/>
                <a:gd name="connsiteX6023" fmla="*/ 711212 w 8387961"/>
                <a:gd name="connsiteY6023" fmla="*/ 564687 h 3980066"/>
                <a:gd name="connsiteX6024" fmla="*/ 712769 w 8387961"/>
                <a:gd name="connsiteY6024" fmla="*/ 562743 h 3980066"/>
                <a:gd name="connsiteX6025" fmla="*/ 710258 w 8387961"/>
                <a:gd name="connsiteY6025" fmla="*/ 564415 h 3980066"/>
                <a:gd name="connsiteX6026" fmla="*/ 704401 w 8387961"/>
                <a:gd name="connsiteY6026" fmla="*/ 562743 h 3980066"/>
                <a:gd name="connsiteX6027" fmla="*/ 674278 w 8387961"/>
                <a:gd name="connsiteY6027" fmla="*/ 567759 h 3980066"/>
                <a:gd name="connsiteX6028" fmla="*/ 674278 w 8387961"/>
                <a:gd name="connsiteY6028" fmla="*/ 561071 h 3980066"/>
                <a:gd name="connsiteX6029" fmla="*/ 644154 w 8387961"/>
                <a:gd name="connsiteY6029" fmla="*/ 557727 h 3980066"/>
                <a:gd name="connsiteX6030" fmla="*/ 615703 w 8387961"/>
                <a:gd name="connsiteY6030" fmla="*/ 556055 h 3980066"/>
                <a:gd name="connsiteX6031" fmla="*/ 609009 w 8387961"/>
                <a:gd name="connsiteY6031" fmla="*/ 551039 h 3980066"/>
                <a:gd name="connsiteX6032" fmla="*/ 617377 w 8387961"/>
                <a:gd name="connsiteY6032" fmla="*/ 544351 h 3980066"/>
                <a:gd name="connsiteX6033" fmla="*/ 595621 w 8387961"/>
                <a:gd name="connsiteY6033" fmla="*/ 552711 h 3980066"/>
                <a:gd name="connsiteX6034" fmla="*/ 587253 w 8387961"/>
                <a:gd name="connsiteY6034" fmla="*/ 547695 h 3980066"/>
                <a:gd name="connsiteX6035" fmla="*/ 595621 w 8387961"/>
                <a:gd name="connsiteY6035" fmla="*/ 542679 h 3980066"/>
                <a:gd name="connsiteX6036" fmla="*/ 593947 w 8387961"/>
                <a:gd name="connsiteY6036" fmla="*/ 541008 h 3980066"/>
                <a:gd name="connsiteX6037" fmla="*/ 583907 w 8387961"/>
                <a:gd name="connsiteY6037" fmla="*/ 541008 h 3980066"/>
                <a:gd name="connsiteX6038" fmla="*/ 588927 w 8387961"/>
                <a:gd name="connsiteY6038" fmla="*/ 537664 h 3980066"/>
                <a:gd name="connsiteX6039" fmla="*/ 592274 w 8387961"/>
                <a:gd name="connsiteY6039" fmla="*/ 532648 h 3980066"/>
                <a:gd name="connsiteX6040" fmla="*/ 598968 w 8387961"/>
                <a:gd name="connsiteY6040" fmla="*/ 530976 h 3980066"/>
                <a:gd name="connsiteX6041" fmla="*/ 567171 w 8387961"/>
                <a:gd name="connsiteY6041" fmla="*/ 535992 h 3980066"/>
                <a:gd name="connsiteX6042" fmla="*/ 568844 w 8387961"/>
                <a:gd name="connsiteY6042" fmla="*/ 534320 h 3980066"/>
                <a:gd name="connsiteX6043" fmla="*/ 557130 w 8387961"/>
                <a:gd name="connsiteY6043" fmla="*/ 535992 h 3980066"/>
                <a:gd name="connsiteX6044" fmla="*/ 575539 w 8387961"/>
                <a:gd name="connsiteY6044" fmla="*/ 525960 h 3980066"/>
                <a:gd name="connsiteX6045" fmla="*/ 553783 w 8387961"/>
                <a:gd name="connsiteY6045" fmla="*/ 535992 h 3980066"/>
                <a:gd name="connsiteX6046" fmla="*/ 538721 w 8387961"/>
                <a:gd name="connsiteY6046" fmla="*/ 541008 h 3980066"/>
                <a:gd name="connsiteX6047" fmla="*/ 545415 w 8387961"/>
                <a:gd name="connsiteY6047" fmla="*/ 544351 h 3980066"/>
                <a:gd name="connsiteX6048" fmla="*/ 537047 w 8387961"/>
                <a:gd name="connsiteY6048" fmla="*/ 547695 h 3980066"/>
                <a:gd name="connsiteX6049" fmla="*/ 542068 w 8387961"/>
                <a:gd name="connsiteY6049" fmla="*/ 551039 h 3980066"/>
                <a:gd name="connsiteX6050" fmla="*/ 515291 w 8387961"/>
                <a:gd name="connsiteY6050" fmla="*/ 562743 h 3980066"/>
                <a:gd name="connsiteX6051" fmla="*/ 501903 w 8387961"/>
                <a:gd name="connsiteY6051" fmla="*/ 561071 h 3980066"/>
                <a:gd name="connsiteX6052" fmla="*/ 488514 w 8387961"/>
                <a:gd name="connsiteY6052" fmla="*/ 567759 h 3980066"/>
                <a:gd name="connsiteX6053" fmla="*/ 486841 w 8387961"/>
                <a:gd name="connsiteY6053" fmla="*/ 564415 h 3980066"/>
                <a:gd name="connsiteX6054" fmla="*/ 483494 w 8387961"/>
                <a:gd name="connsiteY6054" fmla="*/ 571103 h 3980066"/>
                <a:gd name="connsiteX6055" fmla="*/ 476800 w 8387961"/>
                <a:gd name="connsiteY6055" fmla="*/ 571103 h 3980066"/>
                <a:gd name="connsiteX6056" fmla="*/ 466758 w 8387961"/>
                <a:gd name="connsiteY6056" fmla="*/ 574447 h 3980066"/>
                <a:gd name="connsiteX6057" fmla="*/ 475126 w 8387961"/>
                <a:gd name="connsiteY6057" fmla="*/ 567759 h 3980066"/>
                <a:gd name="connsiteX6058" fmla="*/ 445002 w 8387961"/>
                <a:gd name="connsiteY6058" fmla="*/ 582806 h 3980066"/>
                <a:gd name="connsiteX6059" fmla="*/ 431615 w 8387961"/>
                <a:gd name="connsiteY6059" fmla="*/ 577790 h 3980066"/>
                <a:gd name="connsiteX6060" fmla="*/ 461738 w 8387961"/>
                <a:gd name="connsiteY6060" fmla="*/ 566087 h 3980066"/>
                <a:gd name="connsiteX6061" fmla="*/ 441655 w 8387961"/>
                <a:gd name="connsiteY6061" fmla="*/ 571103 h 3980066"/>
                <a:gd name="connsiteX6062" fmla="*/ 478473 w 8387961"/>
                <a:gd name="connsiteY6062" fmla="*/ 542679 h 3980066"/>
                <a:gd name="connsiteX6063" fmla="*/ 521985 w 8387961"/>
                <a:gd name="connsiteY6063" fmla="*/ 534320 h 3980066"/>
                <a:gd name="connsiteX6064" fmla="*/ 532027 w 8387961"/>
                <a:gd name="connsiteY6064" fmla="*/ 535992 h 3980066"/>
                <a:gd name="connsiteX6065" fmla="*/ 525332 w 8387961"/>
                <a:gd name="connsiteY6065" fmla="*/ 527632 h 3980066"/>
                <a:gd name="connsiteX6066" fmla="*/ 543741 w 8387961"/>
                <a:gd name="connsiteY6066" fmla="*/ 520944 h 3980066"/>
                <a:gd name="connsiteX6067" fmla="*/ 515291 w 8387961"/>
                <a:gd name="connsiteY6067" fmla="*/ 525960 h 3980066"/>
                <a:gd name="connsiteX6068" fmla="*/ 475126 w 8387961"/>
                <a:gd name="connsiteY6068" fmla="*/ 537664 h 3980066"/>
                <a:gd name="connsiteX6069" fmla="*/ 434961 w 8387961"/>
                <a:gd name="connsiteY6069" fmla="*/ 554383 h 3980066"/>
                <a:gd name="connsiteX6070" fmla="*/ 428267 w 8387961"/>
                <a:gd name="connsiteY6070" fmla="*/ 564415 h 3980066"/>
                <a:gd name="connsiteX6071" fmla="*/ 418226 w 8387961"/>
                <a:gd name="connsiteY6071" fmla="*/ 566087 h 3980066"/>
                <a:gd name="connsiteX6072" fmla="*/ 371367 w 8387961"/>
                <a:gd name="connsiteY6072" fmla="*/ 586150 h 3980066"/>
                <a:gd name="connsiteX6073" fmla="*/ 383082 w 8387961"/>
                <a:gd name="connsiteY6073" fmla="*/ 592838 h 3980066"/>
                <a:gd name="connsiteX6074" fmla="*/ 327855 w 8387961"/>
                <a:gd name="connsiteY6074" fmla="*/ 616245 h 3980066"/>
                <a:gd name="connsiteX6075" fmla="*/ 265934 w 8387961"/>
                <a:gd name="connsiteY6075" fmla="*/ 637981 h 3980066"/>
                <a:gd name="connsiteX6076" fmla="*/ 195645 w 8387961"/>
                <a:gd name="connsiteY6076" fmla="*/ 664731 h 3980066"/>
                <a:gd name="connsiteX6077" fmla="*/ 190625 w 8387961"/>
                <a:gd name="connsiteY6077" fmla="*/ 671419 h 3980066"/>
                <a:gd name="connsiteX6078" fmla="*/ 182257 w 8387961"/>
                <a:gd name="connsiteY6078" fmla="*/ 673091 h 3980066"/>
                <a:gd name="connsiteX6079" fmla="*/ 155481 w 8387961"/>
                <a:gd name="connsiteY6079" fmla="*/ 678107 h 3980066"/>
                <a:gd name="connsiteX6080" fmla="*/ 150460 w 8387961"/>
                <a:gd name="connsiteY6080" fmla="*/ 681451 h 3980066"/>
                <a:gd name="connsiteX6081" fmla="*/ 132051 w 8387961"/>
                <a:gd name="connsiteY6081" fmla="*/ 683123 h 3980066"/>
                <a:gd name="connsiteX6082" fmla="*/ 103601 w 8387961"/>
                <a:gd name="connsiteY6082" fmla="*/ 686467 h 3980066"/>
                <a:gd name="connsiteX6083" fmla="*/ 100254 w 8387961"/>
                <a:gd name="connsiteY6083" fmla="*/ 686467 h 3980066"/>
                <a:gd name="connsiteX6084" fmla="*/ 71804 w 8387961"/>
                <a:gd name="connsiteY6084" fmla="*/ 698170 h 3980066"/>
                <a:gd name="connsiteX6085" fmla="*/ 70130 w 8387961"/>
                <a:gd name="connsiteY6085" fmla="*/ 696498 h 3980066"/>
                <a:gd name="connsiteX6086" fmla="*/ 55068 w 8387961"/>
                <a:gd name="connsiteY6086" fmla="*/ 703186 h 3980066"/>
                <a:gd name="connsiteX6087" fmla="*/ 51721 w 8387961"/>
                <a:gd name="connsiteY6087" fmla="*/ 701514 h 3980066"/>
                <a:gd name="connsiteX6088" fmla="*/ 46701 w 8387961"/>
                <a:gd name="connsiteY6088" fmla="*/ 703186 h 3980066"/>
                <a:gd name="connsiteX6089" fmla="*/ 110295 w 8387961"/>
                <a:gd name="connsiteY6089" fmla="*/ 676435 h 3980066"/>
                <a:gd name="connsiteX6090" fmla="*/ 127030 w 8387961"/>
                <a:gd name="connsiteY6090" fmla="*/ 676435 h 3980066"/>
                <a:gd name="connsiteX6091" fmla="*/ 127030 w 8387961"/>
                <a:gd name="connsiteY6091" fmla="*/ 681451 h 3980066"/>
                <a:gd name="connsiteX6092" fmla="*/ 132051 w 8387961"/>
                <a:gd name="connsiteY6092" fmla="*/ 676435 h 3980066"/>
                <a:gd name="connsiteX6093" fmla="*/ 142092 w 8387961"/>
                <a:gd name="connsiteY6093" fmla="*/ 676435 h 3980066"/>
                <a:gd name="connsiteX6094" fmla="*/ 147113 w 8387961"/>
                <a:gd name="connsiteY6094" fmla="*/ 668075 h 3980066"/>
                <a:gd name="connsiteX6095" fmla="*/ 205687 w 8387961"/>
                <a:gd name="connsiteY6095" fmla="*/ 651356 h 3980066"/>
                <a:gd name="connsiteX6096" fmla="*/ 242504 w 8387961"/>
                <a:gd name="connsiteY6096" fmla="*/ 631293 h 3980066"/>
                <a:gd name="connsiteX6097" fmla="*/ 254219 w 8387961"/>
                <a:gd name="connsiteY6097" fmla="*/ 627949 h 3980066"/>
                <a:gd name="connsiteX6098" fmla="*/ 275975 w 8387961"/>
                <a:gd name="connsiteY6098" fmla="*/ 611230 h 3980066"/>
                <a:gd name="connsiteX6099" fmla="*/ 274302 w 8387961"/>
                <a:gd name="connsiteY6099" fmla="*/ 611230 h 3980066"/>
                <a:gd name="connsiteX6100" fmla="*/ 312793 w 8387961"/>
                <a:gd name="connsiteY6100" fmla="*/ 587822 h 3980066"/>
                <a:gd name="connsiteX6101" fmla="*/ 272628 w 8387961"/>
                <a:gd name="connsiteY6101" fmla="*/ 601198 h 3980066"/>
                <a:gd name="connsiteX6102" fmla="*/ 267608 w 8387961"/>
                <a:gd name="connsiteY6102" fmla="*/ 594510 h 3980066"/>
                <a:gd name="connsiteX6103" fmla="*/ 284343 w 8387961"/>
                <a:gd name="connsiteY6103" fmla="*/ 587822 h 3980066"/>
                <a:gd name="connsiteX6104" fmla="*/ 275975 w 8387961"/>
                <a:gd name="connsiteY6104" fmla="*/ 587822 h 3980066"/>
                <a:gd name="connsiteX6105" fmla="*/ 250872 w 8387961"/>
                <a:gd name="connsiteY6105" fmla="*/ 606214 h 3980066"/>
                <a:gd name="connsiteX6106" fmla="*/ 250872 w 8387961"/>
                <a:gd name="connsiteY6106" fmla="*/ 592838 h 3980066"/>
                <a:gd name="connsiteX6107" fmla="*/ 237484 w 8387961"/>
                <a:gd name="connsiteY6107" fmla="*/ 591166 h 3980066"/>
                <a:gd name="connsiteX6108" fmla="*/ 193972 w 8387961"/>
                <a:gd name="connsiteY6108" fmla="*/ 597854 h 3980066"/>
                <a:gd name="connsiteX6109" fmla="*/ 207360 w 8387961"/>
                <a:gd name="connsiteY6109" fmla="*/ 587822 h 3980066"/>
                <a:gd name="connsiteX6110" fmla="*/ 207360 w 8387961"/>
                <a:gd name="connsiteY6110" fmla="*/ 586150 h 3980066"/>
                <a:gd name="connsiteX6111" fmla="*/ 214054 w 8387961"/>
                <a:gd name="connsiteY6111" fmla="*/ 577790 h 3980066"/>
                <a:gd name="connsiteX6112" fmla="*/ 230790 w 8387961"/>
                <a:gd name="connsiteY6112" fmla="*/ 561071 h 3980066"/>
                <a:gd name="connsiteX6113" fmla="*/ 254219 w 8387961"/>
                <a:gd name="connsiteY6113" fmla="*/ 544351 h 3980066"/>
                <a:gd name="connsiteX6114" fmla="*/ 230790 w 8387961"/>
                <a:gd name="connsiteY6114" fmla="*/ 556055 h 3980066"/>
                <a:gd name="connsiteX6115" fmla="*/ 192298 w 8387961"/>
                <a:gd name="connsiteY6115" fmla="*/ 566087 h 3980066"/>
                <a:gd name="connsiteX6116" fmla="*/ 182257 w 8387961"/>
                <a:gd name="connsiteY6116" fmla="*/ 547695 h 3980066"/>
                <a:gd name="connsiteX6117" fmla="*/ 200666 w 8387961"/>
                <a:gd name="connsiteY6117" fmla="*/ 537664 h 3980066"/>
                <a:gd name="connsiteX6118" fmla="*/ 210707 w 8387961"/>
                <a:gd name="connsiteY6118" fmla="*/ 542679 h 3980066"/>
                <a:gd name="connsiteX6119" fmla="*/ 225769 w 8387961"/>
                <a:gd name="connsiteY6119" fmla="*/ 542679 h 3980066"/>
                <a:gd name="connsiteX6120" fmla="*/ 222422 w 8387961"/>
                <a:gd name="connsiteY6120" fmla="*/ 537664 h 3980066"/>
                <a:gd name="connsiteX6121" fmla="*/ 230790 w 8387961"/>
                <a:gd name="connsiteY6121" fmla="*/ 535992 h 3980066"/>
                <a:gd name="connsiteX6122" fmla="*/ 205687 w 8387961"/>
                <a:gd name="connsiteY6122" fmla="*/ 534320 h 3980066"/>
                <a:gd name="connsiteX6123" fmla="*/ 204013 w 8387961"/>
                <a:gd name="connsiteY6123" fmla="*/ 530976 h 3980066"/>
                <a:gd name="connsiteX6124" fmla="*/ 227443 w 8387961"/>
                <a:gd name="connsiteY6124" fmla="*/ 517600 h 3980066"/>
                <a:gd name="connsiteX6125" fmla="*/ 202340 w 8387961"/>
                <a:gd name="connsiteY6125" fmla="*/ 527632 h 3980066"/>
                <a:gd name="connsiteX6126" fmla="*/ 197319 w 8387961"/>
                <a:gd name="connsiteY6126" fmla="*/ 520944 h 3980066"/>
                <a:gd name="connsiteX6127" fmla="*/ 212381 w 8387961"/>
                <a:gd name="connsiteY6127" fmla="*/ 515928 h 3980066"/>
                <a:gd name="connsiteX6128" fmla="*/ 207360 w 8387961"/>
                <a:gd name="connsiteY6128" fmla="*/ 512585 h 3980066"/>
                <a:gd name="connsiteX6129" fmla="*/ 220749 w 8387961"/>
                <a:gd name="connsiteY6129" fmla="*/ 510913 h 3980066"/>
                <a:gd name="connsiteX6130" fmla="*/ 255893 w 8387961"/>
                <a:gd name="connsiteY6130" fmla="*/ 494193 h 3980066"/>
                <a:gd name="connsiteX6131" fmla="*/ 265934 w 8387961"/>
                <a:gd name="connsiteY6131" fmla="*/ 490849 h 3980066"/>
                <a:gd name="connsiteX6132" fmla="*/ 262587 w 8387961"/>
                <a:gd name="connsiteY6132" fmla="*/ 490849 h 3980066"/>
                <a:gd name="connsiteX6133" fmla="*/ 286017 w 8387961"/>
                <a:gd name="connsiteY6133" fmla="*/ 477474 h 3980066"/>
                <a:gd name="connsiteX6134" fmla="*/ 306099 w 8387961"/>
                <a:gd name="connsiteY6134" fmla="*/ 474130 h 3980066"/>
                <a:gd name="connsiteX6135" fmla="*/ 296058 w 8387961"/>
                <a:gd name="connsiteY6135" fmla="*/ 480818 h 3980066"/>
                <a:gd name="connsiteX6136" fmla="*/ 347938 w 8387961"/>
                <a:gd name="connsiteY6136" fmla="*/ 467442 h 3980066"/>
                <a:gd name="connsiteX6137" fmla="*/ 384756 w 8387961"/>
                <a:gd name="connsiteY6137" fmla="*/ 457411 h 3980066"/>
                <a:gd name="connsiteX6138" fmla="*/ 394797 w 8387961"/>
                <a:gd name="connsiteY6138" fmla="*/ 442363 h 3980066"/>
                <a:gd name="connsiteX6139" fmla="*/ 404838 w 8387961"/>
                <a:gd name="connsiteY6139" fmla="*/ 440691 h 3980066"/>
                <a:gd name="connsiteX6140" fmla="*/ 414879 w 8387961"/>
                <a:gd name="connsiteY6140" fmla="*/ 427316 h 3980066"/>
                <a:gd name="connsiteX6141" fmla="*/ 366346 w 8387961"/>
                <a:gd name="connsiteY6141" fmla="*/ 442363 h 3980066"/>
                <a:gd name="connsiteX6142" fmla="*/ 357979 w 8387961"/>
                <a:gd name="connsiteY6142" fmla="*/ 437347 h 3980066"/>
                <a:gd name="connsiteX6143" fmla="*/ 302752 w 8387961"/>
                <a:gd name="connsiteY6143" fmla="*/ 437347 h 3980066"/>
                <a:gd name="connsiteX6144" fmla="*/ 306099 w 8387961"/>
                <a:gd name="connsiteY6144" fmla="*/ 422300 h 3980066"/>
                <a:gd name="connsiteX6145" fmla="*/ 322834 w 8387961"/>
                <a:gd name="connsiteY6145" fmla="*/ 420628 h 3980066"/>
                <a:gd name="connsiteX6146" fmla="*/ 301078 w 8387961"/>
                <a:gd name="connsiteY6146" fmla="*/ 412268 h 3980066"/>
                <a:gd name="connsiteX6147" fmla="*/ 366346 w 8387961"/>
                <a:gd name="connsiteY6147" fmla="*/ 393877 h 3980066"/>
                <a:gd name="connsiteX6148" fmla="*/ 418226 w 8387961"/>
                <a:gd name="connsiteY6148" fmla="*/ 385517 h 3980066"/>
                <a:gd name="connsiteX6149" fmla="*/ 398144 w 8387961"/>
                <a:gd name="connsiteY6149" fmla="*/ 395549 h 3980066"/>
                <a:gd name="connsiteX6150" fmla="*/ 445002 w 8387961"/>
                <a:gd name="connsiteY6150" fmla="*/ 397220 h 3980066"/>
                <a:gd name="connsiteX6151" fmla="*/ 458391 w 8387961"/>
                <a:gd name="connsiteY6151" fmla="*/ 397220 h 3980066"/>
                <a:gd name="connsiteX6152" fmla="*/ 451697 w 8387961"/>
                <a:gd name="connsiteY6152" fmla="*/ 392205 h 3980066"/>
                <a:gd name="connsiteX6153" fmla="*/ 455044 w 8387961"/>
                <a:gd name="connsiteY6153" fmla="*/ 377157 h 3980066"/>
                <a:gd name="connsiteX6154" fmla="*/ 456717 w 8387961"/>
                <a:gd name="connsiteY6154" fmla="*/ 385517 h 3980066"/>
                <a:gd name="connsiteX6155" fmla="*/ 488514 w 8387961"/>
                <a:gd name="connsiteY6155" fmla="*/ 387189 h 3980066"/>
                <a:gd name="connsiteX6156" fmla="*/ 465085 w 8387961"/>
                <a:gd name="connsiteY6156" fmla="*/ 385517 h 3980066"/>
                <a:gd name="connsiteX6157" fmla="*/ 473452 w 8387961"/>
                <a:gd name="connsiteY6157" fmla="*/ 375485 h 3980066"/>
                <a:gd name="connsiteX6158" fmla="*/ 441655 w 8387961"/>
                <a:gd name="connsiteY6158" fmla="*/ 372141 h 3980066"/>
                <a:gd name="connsiteX6159" fmla="*/ 448350 w 8387961"/>
                <a:gd name="connsiteY6159" fmla="*/ 365454 h 3980066"/>
                <a:gd name="connsiteX6160" fmla="*/ 431615 w 8387961"/>
                <a:gd name="connsiteY6160" fmla="*/ 340374 h 3980066"/>
                <a:gd name="connsiteX6161" fmla="*/ 455044 w 8387961"/>
                <a:gd name="connsiteY6161" fmla="*/ 325327 h 3980066"/>
                <a:gd name="connsiteX6162" fmla="*/ 495209 w 8387961"/>
                <a:gd name="connsiteY6162" fmla="*/ 325327 h 3980066"/>
                <a:gd name="connsiteX6163" fmla="*/ 542068 w 8387961"/>
                <a:gd name="connsiteY6163" fmla="*/ 306936 h 3980066"/>
                <a:gd name="connsiteX6164" fmla="*/ 588927 w 8387961"/>
                <a:gd name="connsiteY6164" fmla="*/ 291888 h 3980066"/>
                <a:gd name="connsiteX6165" fmla="*/ 635786 w 8387961"/>
                <a:gd name="connsiteY6165" fmla="*/ 283529 h 3980066"/>
                <a:gd name="connsiteX6166" fmla="*/ 627418 w 8387961"/>
                <a:gd name="connsiteY6166" fmla="*/ 291888 h 3980066"/>
                <a:gd name="connsiteX6167" fmla="*/ 639133 w 8387961"/>
                <a:gd name="connsiteY6167" fmla="*/ 285201 h 3980066"/>
                <a:gd name="connsiteX6168" fmla="*/ 642480 w 8387961"/>
                <a:gd name="connsiteY6168" fmla="*/ 281857 h 3980066"/>
                <a:gd name="connsiteX6169" fmla="*/ 659216 w 8387961"/>
                <a:gd name="connsiteY6169" fmla="*/ 276841 h 3980066"/>
                <a:gd name="connsiteX6170" fmla="*/ 669257 w 8387961"/>
                <a:gd name="connsiteY6170" fmla="*/ 276841 h 3980066"/>
                <a:gd name="connsiteX6171" fmla="*/ 726157 w 8387961"/>
                <a:gd name="connsiteY6171" fmla="*/ 265137 h 3980066"/>
                <a:gd name="connsiteX6172" fmla="*/ 737872 w 8387961"/>
                <a:gd name="connsiteY6172" fmla="*/ 266809 h 3980066"/>
                <a:gd name="connsiteX6173" fmla="*/ 726157 w 8387961"/>
                <a:gd name="connsiteY6173" fmla="*/ 275169 h 3980066"/>
                <a:gd name="connsiteX6174" fmla="*/ 746240 w 8387961"/>
                <a:gd name="connsiteY6174" fmla="*/ 271825 h 3980066"/>
                <a:gd name="connsiteX6175" fmla="*/ 752934 w 8387961"/>
                <a:gd name="connsiteY6175" fmla="*/ 275169 h 3980066"/>
                <a:gd name="connsiteX6176" fmla="*/ 764649 w 8387961"/>
                <a:gd name="connsiteY6176" fmla="*/ 275169 h 3980066"/>
                <a:gd name="connsiteX6177" fmla="*/ 784730 w 8387961"/>
                <a:gd name="connsiteY6177" fmla="*/ 280185 h 3980066"/>
                <a:gd name="connsiteX6178" fmla="*/ 788078 w 8387961"/>
                <a:gd name="connsiteY6178" fmla="*/ 283529 h 3980066"/>
                <a:gd name="connsiteX6179" fmla="*/ 839958 w 8387961"/>
                <a:gd name="connsiteY6179" fmla="*/ 286872 h 3980066"/>
                <a:gd name="connsiteX6180" fmla="*/ 883469 w 8387961"/>
                <a:gd name="connsiteY6180" fmla="*/ 291888 h 3980066"/>
                <a:gd name="connsiteX6181" fmla="*/ 923635 w 8387961"/>
                <a:gd name="connsiteY6181" fmla="*/ 295232 h 3980066"/>
                <a:gd name="connsiteX6182" fmla="*/ 965878 w 8387961"/>
                <a:gd name="connsiteY6182" fmla="*/ 304971 h 3980066"/>
                <a:gd name="connsiteX6183" fmla="*/ 969115 w 8387961"/>
                <a:gd name="connsiteY6183" fmla="*/ 302318 h 3980066"/>
                <a:gd name="connsiteX6184" fmla="*/ 1007558 w 8387961"/>
                <a:gd name="connsiteY6184" fmla="*/ 317389 h 3980066"/>
                <a:gd name="connsiteX6185" fmla="*/ 1047675 w 8387961"/>
                <a:gd name="connsiteY6185" fmla="*/ 329110 h 3980066"/>
                <a:gd name="connsiteX6186" fmla="*/ 1051017 w 8387961"/>
                <a:gd name="connsiteY6186" fmla="*/ 324088 h 3980066"/>
                <a:gd name="connsiteX6187" fmla="*/ 1067740 w 8387961"/>
                <a:gd name="connsiteY6187" fmla="*/ 327436 h 3980066"/>
                <a:gd name="connsiteX6188" fmla="*/ 1072748 w 8387961"/>
                <a:gd name="connsiteY6188" fmla="*/ 320738 h 3980066"/>
                <a:gd name="connsiteX6189" fmla="*/ 1122895 w 8387961"/>
                <a:gd name="connsiteY6189" fmla="*/ 307342 h 3980066"/>
                <a:gd name="connsiteX6190" fmla="*/ 1171371 w 8387961"/>
                <a:gd name="connsiteY6190" fmla="*/ 293946 h 3980066"/>
                <a:gd name="connsiteX6191" fmla="*/ 1203132 w 8387961"/>
                <a:gd name="connsiteY6191" fmla="*/ 290596 h 3980066"/>
                <a:gd name="connsiteX6192" fmla="*/ 1159674 w 8387961"/>
                <a:gd name="connsiteY6192" fmla="*/ 303993 h 3980066"/>
                <a:gd name="connsiteX6193" fmla="*/ 1203132 w 8387961"/>
                <a:gd name="connsiteY6193" fmla="*/ 298969 h 3980066"/>
                <a:gd name="connsiteX6194" fmla="*/ 1201459 w 8387961"/>
                <a:gd name="connsiteY6194" fmla="*/ 302318 h 3980066"/>
                <a:gd name="connsiteX6195" fmla="*/ 1243248 w 8387961"/>
                <a:gd name="connsiteY6195" fmla="*/ 288922 h 3980066"/>
                <a:gd name="connsiteX6196" fmla="*/ 1241577 w 8387961"/>
                <a:gd name="connsiteY6196" fmla="*/ 282224 h 3980066"/>
                <a:gd name="connsiteX6197" fmla="*/ 1249935 w 8387961"/>
                <a:gd name="connsiteY6197" fmla="*/ 293946 h 3980066"/>
                <a:gd name="connsiteX6198" fmla="*/ 1258300 w 8387961"/>
                <a:gd name="connsiteY6198" fmla="*/ 312365 h 3980066"/>
                <a:gd name="connsiteX6199" fmla="*/ 1268322 w 8387961"/>
                <a:gd name="connsiteY6199" fmla="*/ 307342 h 3980066"/>
                <a:gd name="connsiteX6200" fmla="*/ 1280029 w 8387961"/>
                <a:gd name="connsiteY6200" fmla="*/ 302318 h 3980066"/>
                <a:gd name="connsiteX6201" fmla="*/ 1288381 w 8387961"/>
                <a:gd name="connsiteY6201" fmla="*/ 293946 h 3980066"/>
                <a:gd name="connsiteX6202" fmla="*/ 1296739 w 8387961"/>
                <a:gd name="connsiteY6202" fmla="*/ 290596 h 3980066"/>
                <a:gd name="connsiteX6203" fmla="*/ 1290052 w 8387961"/>
                <a:gd name="connsiteY6203" fmla="*/ 302318 h 3980066"/>
                <a:gd name="connsiteX6204" fmla="*/ 1281701 w 8387961"/>
                <a:gd name="connsiteY6204" fmla="*/ 309016 h 3980066"/>
                <a:gd name="connsiteX6205" fmla="*/ 1291724 w 8387961"/>
                <a:gd name="connsiteY6205" fmla="*/ 310691 h 3980066"/>
                <a:gd name="connsiteX6206" fmla="*/ 1320141 w 8387961"/>
                <a:gd name="connsiteY6206" fmla="*/ 298969 h 3980066"/>
                <a:gd name="connsiteX6207" fmla="*/ 1368617 w 8387961"/>
                <a:gd name="connsiteY6207" fmla="*/ 310691 h 3980066"/>
                <a:gd name="connsiteX6208" fmla="*/ 1420439 w 8387961"/>
                <a:gd name="connsiteY6208" fmla="*/ 322413 h 3980066"/>
                <a:gd name="connsiteX6209" fmla="*/ 1432136 w 8387961"/>
                <a:gd name="connsiteY6209" fmla="*/ 320738 h 3980066"/>
                <a:gd name="connsiteX6210" fmla="*/ 1452194 w 8387961"/>
                <a:gd name="connsiteY6210" fmla="*/ 337483 h 3980066"/>
                <a:gd name="connsiteX6211" fmla="*/ 1442168 w 8387961"/>
                <a:gd name="connsiteY6211" fmla="*/ 339158 h 3980066"/>
                <a:gd name="connsiteX6212" fmla="*/ 1412077 w 8387961"/>
                <a:gd name="connsiteY6212" fmla="*/ 347530 h 3980066"/>
                <a:gd name="connsiteX6213" fmla="*/ 1440495 w 8387961"/>
                <a:gd name="connsiteY6213" fmla="*/ 354229 h 3980066"/>
                <a:gd name="connsiteX6214" fmla="*/ 1514046 w 8387961"/>
                <a:gd name="connsiteY6214" fmla="*/ 347530 h 3980066"/>
                <a:gd name="connsiteX6215" fmla="*/ 1529087 w 8387961"/>
                <a:gd name="connsiteY6215" fmla="*/ 352553 h 3980066"/>
                <a:gd name="connsiteX6216" fmla="*/ 1529087 w 8387961"/>
                <a:gd name="connsiteY6216" fmla="*/ 360926 h 3980066"/>
                <a:gd name="connsiteX6217" fmla="*/ 1540793 w 8387961"/>
                <a:gd name="connsiteY6217" fmla="*/ 354229 h 3980066"/>
                <a:gd name="connsiteX6218" fmla="*/ 1544140 w 8387961"/>
                <a:gd name="connsiteY6218" fmla="*/ 369299 h 3980066"/>
                <a:gd name="connsiteX6219" fmla="*/ 1530759 w 8387961"/>
                <a:gd name="connsiteY6219" fmla="*/ 369299 h 3980066"/>
                <a:gd name="connsiteX6220" fmla="*/ 1539120 w 8387961"/>
                <a:gd name="connsiteY6220" fmla="*/ 389393 h 3980066"/>
                <a:gd name="connsiteX6221" fmla="*/ 1542467 w 8387961"/>
                <a:gd name="connsiteY6221" fmla="*/ 370973 h 3980066"/>
                <a:gd name="connsiteX6222" fmla="*/ 1550817 w 8387961"/>
                <a:gd name="connsiteY6222" fmla="*/ 377672 h 3980066"/>
                <a:gd name="connsiteX6223" fmla="*/ 1562522 w 8387961"/>
                <a:gd name="connsiteY6223" fmla="*/ 347530 h 3980066"/>
                <a:gd name="connsiteX6224" fmla="*/ 1580905 w 8387961"/>
                <a:gd name="connsiteY6224" fmla="*/ 344182 h 3980066"/>
                <a:gd name="connsiteX6225" fmla="*/ 1619352 w 8387961"/>
                <a:gd name="connsiteY6225" fmla="*/ 332460 h 3980066"/>
                <a:gd name="connsiteX6226" fmla="*/ 1599293 w 8387961"/>
                <a:gd name="connsiteY6226" fmla="*/ 334135 h 3980066"/>
                <a:gd name="connsiteX6227" fmla="*/ 1569204 w 8387961"/>
                <a:gd name="connsiteY6227" fmla="*/ 340832 h 3980066"/>
                <a:gd name="connsiteX6228" fmla="*/ 1557504 w 8387961"/>
                <a:gd name="connsiteY6228" fmla="*/ 337483 h 3980066"/>
                <a:gd name="connsiteX6229" fmla="*/ 1619352 w 8387961"/>
                <a:gd name="connsiteY6229" fmla="*/ 322413 h 3980066"/>
                <a:gd name="connsiteX6230" fmla="*/ 1624366 w 8387961"/>
                <a:gd name="connsiteY6230" fmla="*/ 332460 h 3980066"/>
                <a:gd name="connsiteX6231" fmla="*/ 1631055 w 8387961"/>
                <a:gd name="connsiteY6231" fmla="*/ 342507 h 3980066"/>
                <a:gd name="connsiteX6232" fmla="*/ 1647768 w 8387961"/>
                <a:gd name="connsiteY6232" fmla="*/ 344182 h 3980066"/>
                <a:gd name="connsiteX6233" fmla="*/ 1659475 w 8387961"/>
                <a:gd name="connsiteY6233" fmla="*/ 350879 h 3980066"/>
                <a:gd name="connsiteX6234" fmla="*/ 1697916 w 8387961"/>
                <a:gd name="connsiteY6234" fmla="*/ 350879 h 3980066"/>
                <a:gd name="connsiteX6235" fmla="*/ 1738033 w 8387961"/>
                <a:gd name="connsiteY6235" fmla="*/ 352553 h 3980066"/>
                <a:gd name="connsiteX6236" fmla="*/ 1743048 w 8387961"/>
                <a:gd name="connsiteY6236" fmla="*/ 344182 h 3980066"/>
                <a:gd name="connsiteX6237" fmla="*/ 1749736 w 8387961"/>
                <a:gd name="connsiteY6237" fmla="*/ 352553 h 3980066"/>
                <a:gd name="connsiteX6238" fmla="*/ 1769793 w 8387961"/>
                <a:gd name="connsiteY6238" fmla="*/ 350879 h 3980066"/>
                <a:gd name="connsiteX6239" fmla="*/ 1754755 w 8387961"/>
                <a:gd name="connsiteY6239" fmla="*/ 349205 h 3980066"/>
                <a:gd name="connsiteX6240" fmla="*/ 1751409 w 8387961"/>
                <a:gd name="connsiteY6240" fmla="*/ 340832 h 3980066"/>
                <a:gd name="connsiteX6241" fmla="*/ 1768121 w 8387961"/>
                <a:gd name="connsiteY6241" fmla="*/ 334135 h 3980066"/>
                <a:gd name="connsiteX6242" fmla="*/ 1789852 w 8387961"/>
                <a:gd name="connsiteY6242" fmla="*/ 339158 h 3980066"/>
                <a:gd name="connsiteX6243" fmla="*/ 1784837 w 8387961"/>
                <a:gd name="connsiteY6243" fmla="*/ 342507 h 3980066"/>
                <a:gd name="connsiteX6244" fmla="*/ 1803232 w 8387961"/>
                <a:gd name="connsiteY6244" fmla="*/ 339158 h 3980066"/>
                <a:gd name="connsiteX6245" fmla="*/ 1778156 w 8387961"/>
                <a:gd name="connsiteY6245" fmla="*/ 362600 h 3980066"/>
                <a:gd name="connsiteX6246" fmla="*/ 1788180 w 8387961"/>
                <a:gd name="connsiteY6246" fmla="*/ 360926 h 3980066"/>
                <a:gd name="connsiteX6247" fmla="*/ 1781502 w 8387961"/>
                <a:gd name="connsiteY6247" fmla="*/ 367624 h 3980066"/>
                <a:gd name="connsiteX6248" fmla="*/ 1787066 w 8387961"/>
                <a:gd name="connsiteY6248" fmla="*/ 370416 h 3980066"/>
                <a:gd name="connsiteX6249" fmla="*/ 1786305 w 8387961"/>
                <a:gd name="connsiteY6249" fmla="*/ 371182 h 3980066"/>
                <a:gd name="connsiteX6250" fmla="*/ 1773138 w 8387961"/>
                <a:gd name="connsiteY6250" fmla="*/ 372647 h 3980066"/>
                <a:gd name="connsiteX6251" fmla="*/ 1784837 w 8387961"/>
                <a:gd name="connsiteY6251" fmla="*/ 372647 h 3980066"/>
                <a:gd name="connsiteX6252" fmla="*/ 1786305 w 8387961"/>
                <a:gd name="connsiteY6252" fmla="*/ 371182 h 3980066"/>
                <a:gd name="connsiteX6253" fmla="*/ 1788180 w 8387961"/>
                <a:gd name="connsiteY6253" fmla="*/ 370973 h 3980066"/>
                <a:gd name="connsiteX6254" fmla="*/ 1787066 w 8387961"/>
                <a:gd name="connsiteY6254" fmla="*/ 370416 h 3980066"/>
                <a:gd name="connsiteX6255" fmla="*/ 1794867 w 8387961"/>
                <a:gd name="connsiteY6255" fmla="*/ 362600 h 3980066"/>
                <a:gd name="connsiteX6256" fmla="*/ 1811582 w 8387961"/>
                <a:gd name="connsiteY6256" fmla="*/ 344182 h 3980066"/>
                <a:gd name="connsiteX6257" fmla="*/ 1851708 w 8387961"/>
                <a:gd name="connsiteY6257" fmla="*/ 330785 h 3980066"/>
                <a:gd name="connsiteX6258" fmla="*/ 1861729 w 8387961"/>
                <a:gd name="connsiteY6258" fmla="*/ 320738 h 3980066"/>
                <a:gd name="connsiteX6259" fmla="*/ 1841670 w 8387961"/>
                <a:gd name="connsiteY6259" fmla="*/ 327436 h 3980066"/>
                <a:gd name="connsiteX6260" fmla="*/ 1853380 w 8387961"/>
                <a:gd name="connsiteY6260" fmla="*/ 317389 h 3980066"/>
                <a:gd name="connsiteX6261" fmla="*/ 1863401 w 8387961"/>
                <a:gd name="connsiteY6261" fmla="*/ 310691 h 3980066"/>
                <a:gd name="connsiteX6262" fmla="*/ 1861729 w 8387961"/>
                <a:gd name="connsiteY6262" fmla="*/ 314040 h 3980066"/>
                <a:gd name="connsiteX6263" fmla="*/ 1875109 w 8387961"/>
                <a:gd name="connsiteY6263" fmla="*/ 310691 h 3980066"/>
                <a:gd name="connsiteX6264" fmla="*/ 1831641 w 8387961"/>
                <a:gd name="connsiteY6264" fmla="*/ 298969 h 3980066"/>
                <a:gd name="connsiteX6265" fmla="*/ 1839999 w 8387961"/>
                <a:gd name="connsiteY6265" fmla="*/ 283899 h 3980066"/>
                <a:gd name="connsiteX6266" fmla="*/ 1853380 w 8387961"/>
                <a:gd name="connsiteY6266" fmla="*/ 280549 h 3980066"/>
                <a:gd name="connsiteX6267" fmla="*/ 1850035 w 8387961"/>
                <a:gd name="connsiteY6267" fmla="*/ 278875 h 3980066"/>
                <a:gd name="connsiteX6268" fmla="*/ 1858386 w 8387961"/>
                <a:gd name="connsiteY6268" fmla="*/ 262130 h 3980066"/>
                <a:gd name="connsiteX6269" fmla="*/ 1878445 w 8387961"/>
                <a:gd name="connsiteY6269" fmla="*/ 262130 h 3980066"/>
                <a:gd name="connsiteX6270" fmla="*/ 1873436 w 8387961"/>
                <a:gd name="connsiteY6270" fmla="*/ 257107 h 3980066"/>
                <a:gd name="connsiteX6271" fmla="*/ 1910205 w 8387961"/>
                <a:gd name="connsiteY6271" fmla="*/ 247060 h 3980066"/>
                <a:gd name="connsiteX6272" fmla="*/ 1903519 w 8387961"/>
                <a:gd name="connsiteY6272" fmla="*/ 250408 h 3980066"/>
                <a:gd name="connsiteX6273" fmla="*/ 1895165 w 8387961"/>
                <a:gd name="connsiteY6273" fmla="*/ 250408 h 3980066"/>
                <a:gd name="connsiteX6274" fmla="*/ 5097855 w 8387961"/>
                <a:gd name="connsiteY6274" fmla="*/ 235008 h 3980066"/>
                <a:gd name="connsiteX6275" fmla="*/ 5117439 w 8387961"/>
                <a:gd name="connsiteY6275" fmla="*/ 235008 h 3980066"/>
                <a:gd name="connsiteX6276" fmla="*/ 5099361 w 8387961"/>
                <a:gd name="connsiteY6276" fmla="*/ 238021 h 3980066"/>
                <a:gd name="connsiteX6277" fmla="*/ 4652847 w 8387961"/>
                <a:gd name="connsiteY6277" fmla="*/ 213918 h 3980066"/>
                <a:gd name="connsiteX6278" fmla="*/ 4700903 w 8387961"/>
                <a:gd name="connsiteY6278" fmla="*/ 217162 h 3980066"/>
                <a:gd name="connsiteX6279" fmla="*/ 4695932 w 8387961"/>
                <a:gd name="connsiteY6279" fmla="*/ 222030 h 3980066"/>
                <a:gd name="connsiteX6280" fmla="*/ 4694275 w 8387961"/>
                <a:gd name="connsiteY6280" fmla="*/ 226897 h 3980066"/>
                <a:gd name="connsiteX6281" fmla="*/ 4694275 w 8387961"/>
                <a:gd name="connsiteY6281" fmla="*/ 230141 h 3980066"/>
                <a:gd name="connsiteX6282" fmla="*/ 4709189 w 8387961"/>
                <a:gd name="connsiteY6282" fmla="*/ 256099 h 3980066"/>
                <a:gd name="connsiteX6283" fmla="*/ 4758902 w 8387961"/>
                <a:gd name="connsiteY6283" fmla="*/ 275566 h 3980066"/>
                <a:gd name="connsiteX6284" fmla="*/ 4750616 w 8387961"/>
                <a:gd name="connsiteY6284" fmla="*/ 277189 h 3980066"/>
                <a:gd name="connsiteX6285" fmla="*/ 4732388 w 8387961"/>
                <a:gd name="connsiteY6285" fmla="*/ 277189 h 3980066"/>
                <a:gd name="connsiteX6286" fmla="*/ 4714160 w 8387961"/>
                <a:gd name="connsiteY6286" fmla="*/ 275566 h 3980066"/>
                <a:gd name="connsiteX6287" fmla="*/ 4700903 w 8387961"/>
                <a:gd name="connsiteY6287" fmla="*/ 275566 h 3980066"/>
                <a:gd name="connsiteX6288" fmla="*/ 4682675 w 8387961"/>
                <a:gd name="connsiteY6288" fmla="*/ 269078 h 3980066"/>
                <a:gd name="connsiteX6289" fmla="*/ 4684332 w 8387961"/>
                <a:gd name="connsiteY6289" fmla="*/ 267454 h 3980066"/>
                <a:gd name="connsiteX6290" fmla="*/ 4674390 w 8387961"/>
                <a:gd name="connsiteY6290" fmla="*/ 259343 h 3980066"/>
                <a:gd name="connsiteX6291" fmla="*/ 4666104 w 8387961"/>
                <a:gd name="connsiteY6291" fmla="*/ 257721 h 3980066"/>
                <a:gd name="connsiteX6292" fmla="*/ 4654504 w 8387961"/>
                <a:gd name="connsiteY6292" fmla="*/ 257721 h 3980066"/>
                <a:gd name="connsiteX6293" fmla="*/ 4639591 w 8387961"/>
                <a:gd name="connsiteY6293" fmla="*/ 257721 h 3980066"/>
                <a:gd name="connsiteX6294" fmla="*/ 4626334 w 8387961"/>
                <a:gd name="connsiteY6294" fmla="*/ 247987 h 3980066"/>
                <a:gd name="connsiteX6295" fmla="*/ 4636276 w 8387961"/>
                <a:gd name="connsiteY6295" fmla="*/ 243120 h 3980066"/>
                <a:gd name="connsiteX6296" fmla="*/ 4644562 w 8387961"/>
                <a:gd name="connsiteY6296" fmla="*/ 231763 h 3980066"/>
                <a:gd name="connsiteX6297" fmla="*/ 4639591 w 8387961"/>
                <a:gd name="connsiteY6297" fmla="*/ 230141 h 3980066"/>
                <a:gd name="connsiteX6298" fmla="*/ 4644562 w 8387961"/>
                <a:gd name="connsiteY6298" fmla="*/ 222030 h 3980066"/>
                <a:gd name="connsiteX6299" fmla="*/ 1576139 w 8387961"/>
                <a:gd name="connsiteY6299" fmla="*/ 213918 h 3980066"/>
                <a:gd name="connsiteX6300" fmla="*/ 1579503 w 8387961"/>
                <a:gd name="connsiteY6300" fmla="*/ 220613 h 3980066"/>
                <a:gd name="connsiteX6301" fmla="*/ 1557654 w 8387961"/>
                <a:gd name="connsiteY6301" fmla="*/ 232330 h 3980066"/>
                <a:gd name="connsiteX6302" fmla="*/ 1576139 w 8387961"/>
                <a:gd name="connsiteY6302" fmla="*/ 230657 h 3980066"/>
                <a:gd name="connsiteX6303" fmla="*/ 1592939 w 8387961"/>
                <a:gd name="connsiteY6303" fmla="*/ 222287 h 3980066"/>
                <a:gd name="connsiteX6304" fmla="*/ 1613103 w 8387961"/>
                <a:gd name="connsiteY6304" fmla="*/ 234004 h 3980066"/>
                <a:gd name="connsiteX6305" fmla="*/ 1601339 w 8387961"/>
                <a:gd name="connsiteY6305" fmla="*/ 240699 h 3980066"/>
                <a:gd name="connsiteX6306" fmla="*/ 1609740 w 8387961"/>
                <a:gd name="connsiteY6306" fmla="*/ 239025 h 3980066"/>
                <a:gd name="connsiteX6307" fmla="*/ 1636614 w 8387961"/>
                <a:gd name="connsiteY6307" fmla="*/ 235677 h 3980066"/>
                <a:gd name="connsiteX6308" fmla="*/ 1638294 w 8387961"/>
                <a:gd name="connsiteY6308" fmla="*/ 230657 h 3980066"/>
                <a:gd name="connsiteX6309" fmla="*/ 1641654 w 8387961"/>
                <a:gd name="connsiteY6309" fmla="*/ 222287 h 3980066"/>
                <a:gd name="connsiteX6310" fmla="*/ 1661813 w 8387961"/>
                <a:gd name="connsiteY6310" fmla="*/ 234004 h 3980066"/>
                <a:gd name="connsiteX6311" fmla="*/ 1650053 w 8387961"/>
                <a:gd name="connsiteY6311" fmla="*/ 255763 h 3980066"/>
                <a:gd name="connsiteX6312" fmla="*/ 1670213 w 8387961"/>
                <a:gd name="connsiteY6312" fmla="*/ 249068 h 3980066"/>
                <a:gd name="connsiteX6313" fmla="*/ 1688693 w 8387961"/>
                <a:gd name="connsiteY6313" fmla="*/ 218940 h 3980066"/>
                <a:gd name="connsiteX6314" fmla="*/ 1720615 w 8387961"/>
                <a:gd name="connsiteY6314" fmla="*/ 218940 h 3980066"/>
                <a:gd name="connsiteX6315" fmla="*/ 1723978 w 8387961"/>
                <a:gd name="connsiteY6315" fmla="*/ 234004 h 3980066"/>
                <a:gd name="connsiteX6316" fmla="*/ 1707178 w 8387961"/>
                <a:gd name="connsiteY6316" fmla="*/ 265807 h 3980066"/>
                <a:gd name="connsiteX6317" fmla="*/ 1708853 w 8387961"/>
                <a:gd name="connsiteY6317" fmla="*/ 282545 h 3980066"/>
                <a:gd name="connsiteX6318" fmla="*/ 1713893 w 8387961"/>
                <a:gd name="connsiteY6318" fmla="*/ 282545 h 3980066"/>
                <a:gd name="connsiteX6319" fmla="*/ 1747492 w 8387961"/>
                <a:gd name="connsiteY6319" fmla="*/ 292589 h 3980066"/>
                <a:gd name="connsiteX6320" fmla="*/ 1742452 w 8387961"/>
                <a:gd name="connsiteY6320" fmla="*/ 299284 h 3980066"/>
                <a:gd name="connsiteX6321" fmla="*/ 1729015 w 8387961"/>
                <a:gd name="connsiteY6321" fmla="*/ 304305 h 3980066"/>
                <a:gd name="connsiteX6322" fmla="*/ 1730693 w 8387961"/>
                <a:gd name="connsiteY6322" fmla="*/ 299284 h 3980066"/>
                <a:gd name="connsiteX6323" fmla="*/ 1718942 w 8387961"/>
                <a:gd name="connsiteY6323" fmla="*/ 302631 h 3980066"/>
                <a:gd name="connsiteX6324" fmla="*/ 1710542 w 8387961"/>
                <a:gd name="connsiteY6324" fmla="*/ 302631 h 3980066"/>
                <a:gd name="connsiteX6325" fmla="*/ 1697093 w 8387961"/>
                <a:gd name="connsiteY6325" fmla="*/ 309326 h 3980066"/>
                <a:gd name="connsiteX6326" fmla="*/ 1688693 w 8387961"/>
                <a:gd name="connsiteY6326" fmla="*/ 309326 h 3980066"/>
                <a:gd name="connsiteX6327" fmla="*/ 1680293 w 8387961"/>
                <a:gd name="connsiteY6327" fmla="*/ 319370 h 3980066"/>
                <a:gd name="connsiteX6328" fmla="*/ 1710542 w 8387961"/>
                <a:gd name="connsiteY6328" fmla="*/ 311001 h 3980066"/>
                <a:gd name="connsiteX6329" fmla="*/ 1707178 w 8387961"/>
                <a:gd name="connsiteY6329" fmla="*/ 314348 h 3980066"/>
                <a:gd name="connsiteX6330" fmla="*/ 1697093 w 8387961"/>
                <a:gd name="connsiteY6330" fmla="*/ 322717 h 3980066"/>
                <a:gd name="connsiteX6331" fmla="*/ 1636614 w 8387961"/>
                <a:gd name="connsiteY6331" fmla="*/ 322717 h 3980066"/>
                <a:gd name="connsiteX6332" fmla="*/ 1623176 w 8387961"/>
                <a:gd name="connsiteY6332" fmla="*/ 314348 h 3980066"/>
                <a:gd name="connsiteX6333" fmla="*/ 1618140 w 8387961"/>
                <a:gd name="connsiteY6333" fmla="*/ 312674 h 3980066"/>
                <a:gd name="connsiteX6334" fmla="*/ 1582854 w 8387961"/>
                <a:gd name="connsiteY6334" fmla="*/ 324392 h 3980066"/>
                <a:gd name="connsiteX6335" fmla="*/ 1529101 w 8387961"/>
                <a:gd name="connsiteY6335" fmla="*/ 329414 h 3980066"/>
                <a:gd name="connsiteX6336" fmla="*/ 1475337 w 8387961"/>
                <a:gd name="connsiteY6336" fmla="*/ 334435 h 3980066"/>
                <a:gd name="connsiteX6337" fmla="*/ 1477016 w 8387961"/>
                <a:gd name="connsiteY6337" fmla="*/ 321043 h 3980066"/>
                <a:gd name="connsiteX6338" fmla="*/ 1426617 w 8387961"/>
                <a:gd name="connsiteY6338" fmla="*/ 305979 h 3980066"/>
                <a:gd name="connsiteX6339" fmla="*/ 1436700 w 8387961"/>
                <a:gd name="connsiteY6339" fmla="*/ 292589 h 3980066"/>
                <a:gd name="connsiteX6340" fmla="*/ 1492137 w 8387961"/>
                <a:gd name="connsiteY6340" fmla="*/ 290915 h 3980066"/>
                <a:gd name="connsiteX6341" fmla="*/ 1549255 w 8387961"/>
                <a:gd name="connsiteY6341" fmla="*/ 289240 h 3980066"/>
                <a:gd name="connsiteX6342" fmla="*/ 1497176 w 8387961"/>
                <a:gd name="connsiteY6342" fmla="*/ 280872 h 3980066"/>
                <a:gd name="connsiteX6343" fmla="*/ 1441736 w 8387961"/>
                <a:gd name="connsiteY6343" fmla="*/ 279198 h 3980066"/>
                <a:gd name="connsiteX6344" fmla="*/ 1436700 w 8387961"/>
                <a:gd name="connsiteY6344" fmla="*/ 272503 h 3980066"/>
                <a:gd name="connsiteX6345" fmla="*/ 1507255 w 8387961"/>
                <a:gd name="connsiteY6345" fmla="*/ 259111 h 3980066"/>
                <a:gd name="connsiteX6346" fmla="*/ 1455176 w 8387961"/>
                <a:gd name="connsiteY6346" fmla="*/ 260785 h 3980066"/>
                <a:gd name="connsiteX6347" fmla="*/ 1468616 w 8387961"/>
                <a:gd name="connsiteY6347" fmla="*/ 255763 h 3980066"/>
                <a:gd name="connsiteX6348" fmla="*/ 1445100 w 8387961"/>
                <a:gd name="connsiteY6348" fmla="*/ 255763 h 3980066"/>
                <a:gd name="connsiteX6349" fmla="*/ 1480376 w 8387961"/>
                <a:gd name="connsiteY6349" fmla="*/ 240699 h 3980066"/>
                <a:gd name="connsiteX6350" fmla="*/ 1477016 w 8387961"/>
                <a:gd name="connsiteY6350" fmla="*/ 235677 h 3980066"/>
                <a:gd name="connsiteX6351" fmla="*/ 1527415 w 8387961"/>
                <a:gd name="connsiteY6351" fmla="*/ 223960 h 3980066"/>
                <a:gd name="connsiteX6352" fmla="*/ 4953393 w 8387961"/>
                <a:gd name="connsiteY6352" fmla="*/ 210905 h 3980066"/>
                <a:gd name="connsiteX6353" fmla="*/ 4966079 w 8387961"/>
                <a:gd name="connsiteY6353" fmla="*/ 213315 h 3980066"/>
                <a:gd name="connsiteX6354" fmla="*/ 4980351 w 8387961"/>
                <a:gd name="connsiteY6354" fmla="*/ 215726 h 3980066"/>
                <a:gd name="connsiteX6355" fmla="*/ 4950222 w 8387961"/>
                <a:gd name="connsiteY6355" fmla="*/ 216931 h 3980066"/>
                <a:gd name="connsiteX6356" fmla="*/ 2125967 w 8387961"/>
                <a:gd name="connsiteY6356" fmla="*/ 204879 h 3980066"/>
                <a:gd name="connsiteX6357" fmla="*/ 2095870 w 8387961"/>
                <a:gd name="connsiteY6357" fmla="*/ 219844 h 3980066"/>
                <a:gd name="connsiteX6358" fmla="*/ 2064104 w 8387961"/>
                <a:gd name="connsiteY6358" fmla="*/ 249776 h 3980066"/>
                <a:gd name="connsiteX6359" fmla="*/ 2080821 w 8387961"/>
                <a:gd name="connsiteY6359" fmla="*/ 263079 h 3980066"/>
                <a:gd name="connsiteX6360" fmla="*/ 2044036 w 8387961"/>
                <a:gd name="connsiteY6360" fmla="*/ 271393 h 3980066"/>
                <a:gd name="connsiteX6361" fmla="*/ 2072469 w 8387961"/>
                <a:gd name="connsiteY6361" fmla="*/ 271393 h 3980066"/>
                <a:gd name="connsiteX6362" fmla="*/ 2087509 w 8387961"/>
                <a:gd name="connsiteY6362" fmla="*/ 261415 h 3980066"/>
                <a:gd name="connsiteX6363" fmla="*/ 2077477 w 8387961"/>
                <a:gd name="connsiteY6363" fmla="*/ 251439 h 3980066"/>
                <a:gd name="connsiteX6364" fmla="*/ 2082493 w 8387961"/>
                <a:gd name="connsiteY6364" fmla="*/ 244787 h 3980066"/>
                <a:gd name="connsiteX6365" fmla="*/ 2104234 w 8387961"/>
                <a:gd name="connsiteY6365" fmla="*/ 249776 h 3980066"/>
                <a:gd name="connsiteX6366" fmla="*/ 2100888 w 8387961"/>
                <a:gd name="connsiteY6366" fmla="*/ 239799 h 3980066"/>
                <a:gd name="connsiteX6367" fmla="*/ 2094198 w 8387961"/>
                <a:gd name="connsiteY6367" fmla="*/ 239799 h 3980066"/>
                <a:gd name="connsiteX6368" fmla="*/ 2095870 w 8387961"/>
                <a:gd name="connsiteY6368" fmla="*/ 226495 h 3980066"/>
                <a:gd name="connsiteX6369" fmla="*/ 2124295 w 8387961"/>
                <a:gd name="connsiteY6369" fmla="*/ 231484 h 3980066"/>
                <a:gd name="connsiteX6370" fmla="*/ 2110925 w 8387961"/>
                <a:gd name="connsiteY6370" fmla="*/ 224834 h 3980066"/>
                <a:gd name="connsiteX6371" fmla="*/ 2132655 w 8387961"/>
                <a:gd name="connsiteY6371" fmla="*/ 223170 h 3980066"/>
                <a:gd name="connsiteX6372" fmla="*/ 2112598 w 8387961"/>
                <a:gd name="connsiteY6372" fmla="*/ 219844 h 3980066"/>
                <a:gd name="connsiteX6373" fmla="*/ 2124295 w 8387961"/>
                <a:gd name="connsiteY6373" fmla="*/ 216519 h 3980066"/>
                <a:gd name="connsiteX6374" fmla="*/ 2142692 w 8387961"/>
                <a:gd name="connsiteY6374" fmla="*/ 214856 h 3980066"/>
                <a:gd name="connsiteX6375" fmla="*/ 2137673 w 8387961"/>
                <a:gd name="connsiteY6375" fmla="*/ 211531 h 3980066"/>
                <a:gd name="connsiteX6376" fmla="*/ 2187840 w 8387961"/>
                <a:gd name="connsiteY6376" fmla="*/ 206541 h 3980066"/>
                <a:gd name="connsiteX6377" fmla="*/ 2189279 w 8387961"/>
                <a:gd name="connsiteY6377" fmla="*/ 213213 h 3980066"/>
                <a:gd name="connsiteX6378" fmla="*/ 2192211 w 8387961"/>
                <a:gd name="connsiteY6378" fmla="*/ 207892 h 3980066"/>
                <a:gd name="connsiteX6379" fmla="*/ 2243781 w 8387961"/>
                <a:gd name="connsiteY6379" fmla="*/ 207892 h 3980066"/>
                <a:gd name="connsiteX6380" fmla="*/ 2268730 w 8387961"/>
                <a:gd name="connsiteY6380" fmla="*/ 222956 h 3980066"/>
                <a:gd name="connsiteX6381" fmla="*/ 2203855 w 8387961"/>
                <a:gd name="connsiteY6381" fmla="*/ 227475 h 3980066"/>
                <a:gd name="connsiteX6382" fmla="*/ 2197201 w 8387961"/>
                <a:gd name="connsiteY6382" fmla="*/ 219943 h 3980066"/>
                <a:gd name="connsiteX6383" fmla="*/ 2189531 w 8387961"/>
                <a:gd name="connsiteY6383" fmla="*/ 214381 h 3980066"/>
                <a:gd name="connsiteX6384" fmla="*/ 2192849 w 8387961"/>
                <a:gd name="connsiteY6384" fmla="*/ 229822 h 3980066"/>
                <a:gd name="connsiteX6385" fmla="*/ 2172623 w 8387961"/>
                <a:gd name="connsiteY6385" fmla="*/ 239209 h 3980066"/>
                <a:gd name="connsiteX6386" fmla="*/ 2174457 w 8387961"/>
                <a:gd name="connsiteY6386" fmla="*/ 236473 h 3980066"/>
                <a:gd name="connsiteX6387" fmla="*/ 2167768 w 8387961"/>
                <a:gd name="connsiteY6387" fmla="*/ 241462 h 3980066"/>
                <a:gd name="connsiteX6388" fmla="*/ 2172623 w 8387961"/>
                <a:gd name="connsiteY6388" fmla="*/ 239209 h 3980066"/>
                <a:gd name="connsiteX6389" fmla="*/ 2167768 w 8387961"/>
                <a:gd name="connsiteY6389" fmla="*/ 246451 h 3980066"/>
                <a:gd name="connsiteX6390" fmla="*/ 2177803 w 8387961"/>
                <a:gd name="connsiteY6390" fmla="*/ 243125 h 3980066"/>
                <a:gd name="connsiteX6391" fmla="*/ 2186167 w 8387961"/>
                <a:gd name="connsiteY6391" fmla="*/ 243125 h 3980066"/>
                <a:gd name="connsiteX6392" fmla="*/ 2186167 w 8387961"/>
                <a:gd name="connsiteY6392" fmla="*/ 241462 h 3980066"/>
                <a:gd name="connsiteX6393" fmla="*/ 2196193 w 8387961"/>
                <a:gd name="connsiteY6393" fmla="*/ 241462 h 3980066"/>
                <a:gd name="connsiteX6394" fmla="*/ 2202882 w 8387961"/>
                <a:gd name="connsiteY6394" fmla="*/ 239799 h 3980066"/>
                <a:gd name="connsiteX6395" fmla="*/ 2202882 w 8387961"/>
                <a:gd name="connsiteY6395" fmla="*/ 246451 h 3980066"/>
                <a:gd name="connsiteX6396" fmla="*/ 2204101 w 8387961"/>
                <a:gd name="connsiteY6396" fmla="*/ 250078 h 3980066"/>
                <a:gd name="connsiteX6397" fmla="*/ 2202882 w 8387961"/>
                <a:gd name="connsiteY6397" fmla="*/ 249776 h 3980066"/>
                <a:gd name="connsiteX6398" fmla="*/ 2204554 w 8387961"/>
                <a:gd name="connsiteY6398" fmla="*/ 251439 h 3980066"/>
                <a:gd name="connsiteX6399" fmla="*/ 2204101 w 8387961"/>
                <a:gd name="connsiteY6399" fmla="*/ 250078 h 3980066"/>
                <a:gd name="connsiteX6400" fmla="*/ 2216260 w 8387961"/>
                <a:gd name="connsiteY6400" fmla="*/ 253102 h 3980066"/>
                <a:gd name="connsiteX6401" fmla="*/ 2207898 w 8387961"/>
                <a:gd name="connsiteY6401" fmla="*/ 243125 h 3980066"/>
                <a:gd name="connsiteX6402" fmla="*/ 2236323 w 8387961"/>
                <a:gd name="connsiteY6402" fmla="*/ 243125 h 3980066"/>
                <a:gd name="connsiteX6403" fmla="*/ 2222952 w 8387961"/>
                <a:gd name="connsiteY6403" fmla="*/ 234811 h 3980066"/>
                <a:gd name="connsiteX6404" fmla="*/ 2268100 w 8387961"/>
                <a:gd name="connsiteY6404" fmla="*/ 234811 h 3980066"/>
                <a:gd name="connsiteX6405" fmla="*/ 2281469 w 8387961"/>
                <a:gd name="connsiteY6405" fmla="*/ 241462 h 3980066"/>
                <a:gd name="connsiteX6406" fmla="*/ 2263462 w 8387961"/>
                <a:gd name="connsiteY6406" fmla="*/ 247729 h 3980066"/>
                <a:gd name="connsiteX6407" fmla="*/ 2266427 w 8387961"/>
                <a:gd name="connsiteY6407" fmla="*/ 244787 h 3980066"/>
                <a:gd name="connsiteX6408" fmla="*/ 2248028 w 8387961"/>
                <a:gd name="connsiteY6408" fmla="*/ 253102 h 3980066"/>
                <a:gd name="connsiteX6409" fmla="*/ 2263462 w 8387961"/>
                <a:gd name="connsiteY6409" fmla="*/ 247729 h 3980066"/>
                <a:gd name="connsiteX6410" fmla="*/ 2256391 w 8387961"/>
                <a:gd name="connsiteY6410" fmla="*/ 254765 h 3980066"/>
                <a:gd name="connsiteX6411" fmla="*/ 2266427 w 8387961"/>
                <a:gd name="connsiteY6411" fmla="*/ 249776 h 3980066"/>
                <a:gd name="connsiteX6412" fmla="*/ 2291502 w 8387961"/>
                <a:gd name="connsiteY6412" fmla="*/ 249776 h 3980066"/>
                <a:gd name="connsiteX6413" fmla="*/ 2263082 w 8387961"/>
                <a:gd name="connsiteY6413" fmla="*/ 259754 h 3980066"/>
                <a:gd name="connsiteX6414" fmla="*/ 2271437 w 8387961"/>
                <a:gd name="connsiteY6414" fmla="*/ 259754 h 3980066"/>
                <a:gd name="connsiteX6415" fmla="*/ 2258063 w 8387961"/>
                <a:gd name="connsiteY6415" fmla="*/ 269730 h 3980066"/>
                <a:gd name="connsiteX6416" fmla="*/ 2286485 w 8387961"/>
                <a:gd name="connsiteY6416" fmla="*/ 256427 h 3980066"/>
                <a:gd name="connsiteX6417" fmla="*/ 2291502 w 8387961"/>
                <a:gd name="connsiteY6417" fmla="*/ 254765 h 3980066"/>
                <a:gd name="connsiteX6418" fmla="*/ 2281469 w 8387961"/>
                <a:gd name="connsiteY6418" fmla="*/ 264742 h 3980066"/>
                <a:gd name="connsiteX6419" fmla="*/ 2291502 w 8387961"/>
                <a:gd name="connsiteY6419" fmla="*/ 259754 h 3980066"/>
                <a:gd name="connsiteX6420" fmla="*/ 2283141 w 8387961"/>
                <a:gd name="connsiteY6420" fmla="*/ 271393 h 3980066"/>
                <a:gd name="connsiteX6421" fmla="*/ 2293175 w 8387961"/>
                <a:gd name="connsiteY6421" fmla="*/ 264742 h 3980066"/>
                <a:gd name="connsiteX6422" fmla="*/ 2291502 w 8387961"/>
                <a:gd name="connsiteY6422" fmla="*/ 271393 h 3980066"/>
                <a:gd name="connsiteX6423" fmla="*/ 2311566 w 8387961"/>
                <a:gd name="connsiteY6423" fmla="*/ 259754 h 3980066"/>
                <a:gd name="connsiteX6424" fmla="*/ 2334978 w 8387961"/>
                <a:gd name="connsiteY6424" fmla="*/ 266405 h 3980066"/>
                <a:gd name="connsiteX6425" fmla="*/ 2318254 w 8387961"/>
                <a:gd name="connsiteY6425" fmla="*/ 269730 h 3980066"/>
                <a:gd name="connsiteX6426" fmla="*/ 2303212 w 8387961"/>
                <a:gd name="connsiteY6426" fmla="*/ 279708 h 3980066"/>
                <a:gd name="connsiteX6427" fmla="*/ 2328286 w 8387961"/>
                <a:gd name="connsiteY6427" fmla="*/ 273057 h 3980066"/>
                <a:gd name="connsiteX6428" fmla="*/ 2341669 w 8387961"/>
                <a:gd name="connsiteY6428" fmla="*/ 274719 h 3980066"/>
                <a:gd name="connsiteX6429" fmla="*/ 2308231 w 8387961"/>
                <a:gd name="connsiteY6429" fmla="*/ 284696 h 3980066"/>
                <a:gd name="connsiteX6430" fmla="*/ 2314910 w 8387961"/>
                <a:gd name="connsiteY6430" fmla="*/ 284696 h 3980066"/>
                <a:gd name="connsiteX6431" fmla="*/ 2306558 w 8387961"/>
                <a:gd name="connsiteY6431" fmla="*/ 296336 h 3980066"/>
                <a:gd name="connsiteX6432" fmla="*/ 2323271 w 8387961"/>
                <a:gd name="connsiteY6432" fmla="*/ 284696 h 3980066"/>
                <a:gd name="connsiteX6433" fmla="*/ 2353367 w 8387961"/>
                <a:gd name="connsiteY6433" fmla="*/ 274719 h 3980066"/>
                <a:gd name="connsiteX6434" fmla="*/ 2341669 w 8387961"/>
                <a:gd name="connsiteY6434" fmla="*/ 281370 h 3980066"/>
                <a:gd name="connsiteX6435" fmla="*/ 2351695 w 8387961"/>
                <a:gd name="connsiteY6435" fmla="*/ 279708 h 3980066"/>
                <a:gd name="connsiteX6436" fmla="*/ 2376781 w 8387961"/>
                <a:gd name="connsiteY6436" fmla="*/ 283034 h 3980066"/>
                <a:gd name="connsiteX6437" fmla="*/ 2331632 w 8387961"/>
                <a:gd name="connsiteY6437" fmla="*/ 296336 h 3980066"/>
                <a:gd name="connsiteX6438" fmla="*/ 2363400 w 8387961"/>
                <a:gd name="connsiteY6438" fmla="*/ 291348 h 3980066"/>
                <a:gd name="connsiteX6439" fmla="*/ 2328286 w 8387961"/>
                <a:gd name="connsiteY6439" fmla="*/ 304652 h 3980066"/>
                <a:gd name="connsiteX6440" fmla="*/ 2345015 w 8387961"/>
                <a:gd name="connsiteY6440" fmla="*/ 301325 h 3980066"/>
                <a:gd name="connsiteX6441" fmla="*/ 2375108 w 8387961"/>
                <a:gd name="connsiteY6441" fmla="*/ 289685 h 3980066"/>
                <a:gd name="connsiteX6442" fmla="*/ 2385145 w 8387961"/>
                <a:gd name="connsiteY6442" fmla="*/ 302988 h 3980066"/>
                <a:gd name="connsiteX6443" fmla="*/ 2331632 w 8387961"/>
                <a:gd name="connsiteY6443" fmla="*/ 306313 h 3980066"/>
                <a:gd name="connsiteX6444" fmla="*/ 2355039 w 8387961"/>
                <a:gd name="connsiteY6444" fmla="*/ 306313 h 3980066"/>
                <a:gd name="connsiteX6445" fmla="*/ 2386809 w 8387961"/>
                <a:gd name="connsiteY6445" fmla="*/ 316291 h 3980066"/>
                <a:gd name="connsiteX6446" fmla="*/ 2345015 w 8387961"/>
                <a:gd name="connsiteY6446" fmla="*/ 312965 h 3980066"/>
                <a:gd name="connsiteX6447" fmla="*/ 2358384 w 8387961"/>
                <a:gd name="connsiteY6447" fmla="*/ 314628 h 3980066"/>
                <a:gd name="connsiteX6448" fmla="*/ 2343342 w 8387961"/>
                <a:gd name="connsiteY6448" fmla="*/ 316291 h 3980066"/>
                <a:gd name="connsiteX6449" fmla="*/ 2351695 w 8387961"/>
                <a:gd name="connsiteY6449" fmla="*/ 316291 h 3980066"/>
                <a:gd name="connsiteX6450" fmla="*/ 2343342 w 8387961"/>
                <a:gd name="connsiteY6450" fmla="*/ 321280 h 3980066"/>
                <a:gd name="connsiteX6451" fmla="*/ 2365072 w 8387961"/>
                <a:gd name="connsiteY6451" fmla="*/ 322942 h 3980066"/>
                <a:gd name="connsiteX6452" fmla="*/ 2351695 w 8387961"/>
                <a:gd name="connsiteY6452" fmla="*/ 324605 h 3980066"/>
                <a:gd name="connsiteX6453" fmla="*/ 2358384 w 8387961"/>
                <a:gd name="connsiteY6453" fmla="*/ 329594 h 3980066"/>
                <a:gd name="connsiteX6454" fmla="*/ 2336651 w 8387961"/>
                <a:gd name="connsiteY6454" fmla="*/ 326268 h 3980066"/>
                <a:gd name="connsiteX6455" fmla="*/ 2353367 w 8387961"/>
                <a:gd name="connsiteY6455" fmla="*/ 331256 h 3980066"/>
                <a:gd name="connsiteX6456" fmla="*/ 2336651 w 8387961"/>
                <a:gd name="connsiteY6456" fmla="*/ 331256 h 3980066"/>
                <a:gd name="connsiteX6457" fmla="*/ 2366744 w 8387961"/>
                <a:gd name="connsiteY6457" fmla="*/ 336245 h 3980066"/>
                <a:gd name="connsiteX6458" fmla="*/ 2351695 w 8387961"/>
                <a:gd name="connsiteY6458" fmla="*/ 341234 h 3980066"/>
                <a:gd name="connsiteX6459" fmla="*/ 2361728 w 8387961"/>
                <a:gd name="connsiteY6459" fmla="*/ 341234 h 3980066"/>
                <a:gd name="connsiteX6460" fmla="*/ 2368417 w 8387961"/>
                <a:gd name="connsiteY6460" fmla="*/ 344559 h 3980066"/>
                <a:gd name="connsiteX6461" fmla="*/ 2378454 w 8387961"/>
                <a:gd name="connsiteY6461" fmla="*/ 344559 h 3980066"/>
                <a:gd name="connsiteX6462" fmla="*/ 2371762 w 8387961"/>
                <a:gd name="connsiteY6462" fmla="*/ 352875 h 3980066"/>
                <a:gd name="connsiteX6463" fmla="*/ 2383472 w 8387961"/>
                <a:gd name="connsiteY6463" fmla="*/ 346223 h 3980066"/>
                <a:gd name="connsiteX6464" fmla="*/ 2378454 w 8387961"/>
                <a:gd name="connsiteY6464" fmla="*/ 352875 h 3980066"/>
                <a:gd name="connsiteX6465" fmla="*/ 2386809 w 8387961"/>
                <a:gd name="connsiteY6465" fmla="*/ 349548 h 3980066"/>
                <a:gd name="connsiteX6466" fmla="*/ 2391825 w 8387961"/>
                <a:gd name="connsiteY6466" fmla="*/ 354536 h 3980066"/>
                <a:gd name="connsiteX6467" fmla="*/ 2403529 w 8387961"/>
                <a:gd name="connsiteY6467" fmla="*/ 346223 h 3980066"/>
                <a:gd name="connsiteX6468" fmla="*/ 2396841 w 8387961"/>
                <a:gd name="connsiteY6468" fmla="*/ 354536 h 3980066"/>
                <a:gd name="connsiteX6469" fmla="*/ 2401857 w 8387961"/>
                <a:gd name="connsiteY6469" fmla="*/ 354536 h 3980066"/>
                <a:gd name="connsiteX6470" fmla="*/ 2413565 w 8387961"/>
                <a:gd name="connsiteY6470" fmla="*/ 359526 h 3980066"/>
                <a:gd name="connsiteX6471" fmla="*/ 2413565 w 8387961"/>
                <a:gd name="connsiteY6471" fmla="*/ 361188 h 3980066"/>
                <a:gd name="connsiteX6472" fmla="*/ 2396841 w 8387961"/>
                <a:gd name="connsiteY6472" fmla="*/ 364514 h 3980066"/>
                <a:gd name="connsiteX6473" fmla="*/ 2406874 w 8387961"/>
                <a:gd name="connsiteY6473" fmla="*/ 366177 h 3980066"/>
                <a:gd name="connsiteX6474" fmla="*/ 2395169 w 8387961"/>
                <a:gd name="connsiteY6474" fmla="*/ 369503 h 3980066"/>
                <a:gd name="connsiteX6475" fmla="*/ 2411893 w 8387961"/>
                <a:gd name="connsiteY6475" fmla="*/ 366177 h 3980066"/>
                <a:gd name="connsiteX6476" fmla="*/ 2396841 w 8387961"/>
                <a:gd name="connsiteY6476" fmla="*/ 371165 h 3980066"/>
                <a:gd name="connsiteX6477" fmla="*/ 2416911 w 8387961"/>
                <a:gd name="connsiteY6477" fmla="*/ 371165 h 3980066"/>
                <a:gd name="connsiteX6478" fmla="*/ 2425265 w 8387961"/>
                <a:gd name="connsiteY6478" fmla="*/ 366177 h 3980066"/>
                <a:gd name="connsiteX6479" fmla="*/ 2413565 w 8387961"/>
                <a:gd name="connsiteY6479" fmla="*/ 379479 h 3980066"/>
                <a:gd name="connsiteX6480" fmla="*/ 2415238 w 8387961"/>
                <a:gd name="connsiteY6480" fmla="*/ 381142 h 3980066"/>
                <a:gd name="connsiteX6481" fmla="*/ 2428609 w 8387961"/>
                <a:gd name="connsiteY6481" fmla="*/ 374491 h 3980066"/>
                <a:gd name="connsiteX6482" fmla="*/ 2428609 w 8387961"/>
                <a:gd name="connsiteY6482" fmla="*/ 379479 h 3980066"/>
                <a:gd name="connsiteX6483" fmla="*/ 2435297 w 8387961"/>
                <a:gd name="connsiteY6483" fmla="*/ 379479 h 3980066"/>
                <a:gd name="connsiteX6484" fmla="*/ 2441985 w 8387961"/>
                <a:gd name="connsiteY6484" fmla="*/ 374491 h 3980066"/>
                <a:gd name="connsiteX6485" fmla="*/ 2457034 w 8387961"/>
                <a:gd name="connsiteY6485" fmla="*/ 382806 h 3980066"/>
                <a:gd name="connsiteX6486" fmla="*/ 2445329 w 8387961"/>
                <a:gd name="connsiteY6486" fmla="*/ 382806 h 3980066"/>
                <a:gd name="connsiteX6487" fmla="*/ 2447001 w 8387961"/>
                <a:gd name="connsiteY6487" fmla="*/ 386131 h 3980066"/>
                <a:gd name="connsiteX6488" fmla="*/ 2447001 w 8387961"/>
                <a:gd name="connsiteY6488" fmla="*/ 389457 h 3980066"/>
                <a:gd name="connsiteX6489" fmla="*/ 2433625 w 8387961"/>
                <a:gd name="connsiteY6489" fmla="*/ 389457 h 3980066"/>
                <a:gd name="connsiteX6490" fmla="*/ 2423592 w 8387961"/>
                <a:gd name="connsiteY6490" fmla="*/ 392782 h 3980066"/>
                <a:gd name="connsiteX6491" fmla="*/ 2433625 w 8387961"/>
                <a:gd name="connsiteY6491" fmla="*/ 396109 h 3980066"/>
                <a:gd name="connsiteX6492" fmla="*/ 2418584 w 8387961"/>
                <a:gd name="connsiteY6492" fmla="*/ 399434 h 3980066"/>
                <a:gd name="connsiteX6493" fmla="*/ 2425265 w 8387961"/>
                <a:gd name="connsiteY6493" fmla="*/ 401097 h 3980066"/>
                <a:gd name="connsiteX6494" fmla="*/ 2415238 w 8387961"/>
                <a:gd name="connsiteY6494" fmla="*/ 402760 h 3980066"/>
                <a:gd name="connsiteX6495" fmla="*/ 2411893 w 8387961"/>
                <a:gd name="connsiteY6495" fmla="*/ 409412 h 3980066"/>
                <a:gd name="connsiteX6496" fmla="*/ 2403529 w 8387961"/>
                <a:gd name="connsiteY6496" fmla="*/ 401097 h 3980066"/>
                <a:gd name="connsiteX6497" fmla="*/ 2395169 w 8387961"/>
                <a:gd name="connsiteY6497" fmla="*/ 411074 h 3980066"/>
                <a:gd name="connsiteX6498" fmla="*/ 2393497 w 8387961"/>
                <a:gd name="connsiteY6498" fmla="*/ 412737 h 3980066"/>
                <a:gd name="connsiteX6499" fmla="*/ 2393497 w 8387961"/>
                <a:gd name="connsiteY6499" fmla="*/ 424377 h 3980066"/>
                <a:gd name="connsiteX6500" fmla="*/ 2381799 w 8387961"/>
                <a:gd name="connsiteY6500" fmla="*/ 422714 h 3980066"/>
                <a:gd name="connsiteX6501" fmla="*/ 2375108 w 8387961"/>
                <a:gd name="connsiteY6501" fmla="*/ 416062 h 3980066"/>
                <a:gd name="connsiteX6502" fmla="*/ 2368417 w 8387961"/>
                <a:gd name="connsiteY6502" fmla="*/ 422714 h 3980066"/>
                <a:gd name="connsiteX6503" fmla="*/ 2373435 w 8387961"/>
                <a:gd name="connsiteY6503" fmla="*/ 414400 h 3980066"/>
                <a:gd name="connsiteX6504" fmla="*/ 2363400 w 8387961"/>
                <a:gd name="connsiteY6504" fmla="*/ 414400 h 3980066"/>
                <a:gd name="connsiteX6505" fmla="*/ 2365072 w 8387961"/>
                <a:gd name="connsiteY6505" fmla="*/ 409412 h 3980066"/>
                <a:gd name="connsiteX6506" fmla="*/ 2358384 w 8387961"/>
                <a:gd name="connsiteY6506" fmla="*/ 409412 h 3980066"/>
                <a:gd name="connsiteX6507" fmla="*/ 2375108 w 8387961"/>
                <a:gd name="connsiteY6507" fmla="*/ 399434 h 3980066"/>
                <a:gd name="connsiteX6508" fmla="*/ 2391825 w 8387961"/>
                <a:gd name="connsiteY6508" fmla="*/ 391120 h 3980066"/>
                <a:gd name="connsiteX6509" fmla="*/ 2355039 w 8387961"/>
                <a:gd name="connsiteY6509" fmla="*/ 401097 h 3980066"/>
                <a:gd name="connsiteX6510" fmla="*/ 2368417 w 8387961"/>
                <a:gd name="connsiteY6510" fmla="*/ 391120 h 3980066"/>
                <a:gd name="connsiteX6511" fmla="*/ 2363400 w 8387961"/>
                <a:gd name="connsiteY6511" fmla="*/ 394445 h 3980066"/>
                <a:gd name="connsiteX6512" fmla="*/ 2345015 w 8387961"/>
                <a:gd name="connsiteY6512" fmla="*/ 386131 h 3980066"/>
                <a:gd name="connsiteX6513" fmla="*/ 2334978 w 8387961"/>
                <a:gd name="connsiteY6513" fmla="*/ 384469 h 3980066"/>
                <a:gd name="connsiteX6514" fmla="*/ 2336651 w 8387961"/>
                <a:gd name="connsiteY6514" fmla="*/ 386131 h 3980066"/>
                <a:gd name="connsiteX6515" fmla="*/ 2326615 w 8387961"/>
                <a:gd name="connsiteY6515" fmla="*/ 389457 h 3980066"/>
                <a:gd name="connsiteX6516" fmla="*/ 2328286 w 8387961"/>
                <a:gd name="connsiteY6516" fmla="*/ 396109 h 3980066"/>
                <a:gd name="connsiteX6517" fmla="*/ 2323271 w 8387961"/>
                <a:gd name="connsiteY6517" fmla="*/ 402760 h 3980066"/>
                <a:gd name="connsiteX6518" fmla="*/ 2306558 w 8387961"/>
                <a:gd name="connsiteY6518" fmla="*/ 391120 h 3980066"/>
                <a:gd name="connsiteX6519" fmla="*/ 2311566 w 8387961"/>
                <a:gd name="connsiteY6519" fmla="*/ 399434 h 3980066"/>
                <a:gd name="connsiteX6520" fmla="*/ 2313238 w 8387961"/>
                <a:gd name="connsiteY6520" fmla="*/ 404423 h 3980066"/>
                <a:gd name="connsiteX6521" fmla="*/ 2308231 w 8387961"/>
                <a:gd name="connsiteY6521" fmla="*/ 409412 h 3980066"/>
                <a:gd name="connsiteX6522" fmla="*/ 2323271 w 8387961"/>
                <a:gd name="connsiteY6522" fmla="*/ 409412 h 3980066"/>
                <a:gd name="connsiteX6523" fmla="*/ 2323271 w 8387961"/>
                <a:gd name="connsiteY6523" fmla="*/ 414400 h 3980066"/>
                <a:gd name="connsiteX6524" fmla="*/ 2321598 w 8387961"/>
                <a:gd name="connsiteY6524" fmla="*/ 422714 h 3980066"/>
                <a:gd name="connsiteX6525" fmla="*/ 2326615 w 8387961"/>
                <a:gd name="connsiteY6525" fmla="*/ 421052 h 3980066"/>
                <a:gd name="connsiteX6526" fmla="*/ 2323271 w 8387961"/>
                <a:gd name="connsiteY6526" fmla="*/ 426040 h 3980066"/>
                <a:gd name="connsiteX6527" fmla="*/ 2326615 w 8387961"/>
                <a:gd name="connsiteY6527" fmla="*/ 424377 h 3980066"/>
                <a:gd name="connsiteX6528" fmla="*/ 2333305 w 8387961"/>
                <a:gd name="connsiteY6528" fmla="*/ 431029 h 3980066"/>
                <a:gd name="connsiteX6529" fmla="*/ 2336651 w 8387961"/>
                <a:gd name="connsiteY6529" fmla="*/ 432691 h 3980066"/>
                <a:gd name="connsiteX6530" fmla="*/ 2343342 w 8387961"/>
                <a:gd name="connsiteY6530" fmla="*/ 434355 h 3980066"/>
                <a:gd name="connsiteX6531" fmla="*/ 2345015 w 8387961"/>
                <a:gd name="connsiteY6531" fmla="*/ 439343 h 3980066"/>
                <a:gd name="connsiteX6532" fmla="*/ 2343342 w 8387961"/>
                <a:gd name="connsiteY6532" fmla="*/ 444332 h 3980066"/>
                <a:gd name="connsiteX6533" fmla="*/ 2345015 w 8387961"/>
                <a:gd name="connsiteY6533" fmla="*/ 449320 h 3980066"/>
                <a:gd name="connsiteX6534" fmla="*/ 2351695 w 8387961"/>
                <a:gd name="connsiteY6534" fmla="*/ 450983 h 3980066"/>
                <a:gd name="connsiteX6535" fmla="*/ 2348351 w 8387961"/>
                <a:gd name="connsiteY6535" fmla="*/ 459297 h 3980066"/>
                <a:gd name="connsiteX6536" fmla="*/ 2345015 w 8387961"/>
                <a:gd name="connsiteY6536" fmla="*/ 465949 h 3980066"/>
                <a:gd name="connsiteX6537" fmla="*/ 2341669 w 8387961"/>
                <a:gd name="connsiteY6537" fmla="*/ 460960 h 3980066"/>
                <a:gd name="connsiteX6538" fmla="*/ 2336651 w 8387961"/>
                <a:gd name="connsiteY6538" fmla="*/ 479251 h 3980066"/>
                <a:gd name="connsiteX6539" fmla="*/ 2331632 w 8387961"/>
                <a:gd name="connsiteY6539" fmla="*/ 480914 h 3980066"/>
                <a:gd name="connsiteX6540" fmla="*/ 2328286 w 8387961"/>
                <a:gd name="connsiteY6540" fmla="*/ 489229 h 3980066"/>
                <a:gd name="connsiteX6541" fmla="*/ 2324943 w 8387961"/>
                <a:gd name="connsiteY6541" fmla="*/ 484240 h 3980066"/>
                <a:gd name="connsiteX6542" fmla="*/ 2311566 w 8387961"/>
                <a:gd name="connsiteY6542" fmla="*/ 479251 h 3980066"/>
                <a:gd name="connsiteX6543" fmla="*/ 2303212 w 8387961"/>
                <a:gd name="connsiteY6543" fmla="*/ 472600 h 3980066"/>
                <a:gd name="connsiteX6544" fmla="*/ 2301539 w 8387961"/>
                <a:gd name="connsiteY6544" fmla="*/ 475926 h 3980066"/>
                <a:gd name="connsiteX6545" fmla="*/ 2286485 w 8387961"/>
                <a:gd name="connsiteY6545" fmla="*/ 460960 h 3980066"/>
                <a:gd name="connsiteX6546" fmla="*/ 2283141 w 8387961"/>
                <a:gd name="connsiteY6546" fmla="*/ 469275 h 3980066"/>
                <a:gd name="connsiteX6547" fmla="*/ 2261409 w 8387961"/>
                <a:gd name="connsiteY6547" fmla="*/ 459297 h 3980066"/>
                <a:gd name="connsiteX6548" fmla="*/ 2278125 w 8387961"/>
                <a:gd name="connsiteY6548" fmla="*/ 475926 h 3980066"/>
                <a:gd name="connsiteX6549" fmla="*/ 2296521 w 8387961"/>
                <a:gd name="connsiteY6549" fmla="*/ 495881 h 3980066"/>
                <a:gd name="connsiteX6550" fmla="*/ 2296521 w 8387961"/>
                <a:gd name="connsiteY6550" fmla="*/ 509183 h 3980066"/>
                <a:gd name="connsiteX6551" fmla="*/ 2264754 w 8387961"/>
                <a:gd name="connsiteY6551" fmla="*/ 499206 h 3980066"/>
                <a:gd name="connsiteX6552" fmla="*/ 2232979 w 8387961"/>
                <a:gd name="connsiteY6552" fmla="*/ 485903 h 3980066"/>
                <a:gd name="connsiteX6553" fmla="*/ 2207898 w 8387961"/>
                <a:gd name="connsiteY6553" fmla="*/ 475926 h 3980066"/>
                <a:gd name="connsiteX6554" fmla="*/ 2197865 w 8387961"/>
                <a:gd name="connsiteY6554" fmla="*/ 469275 h 3980066"/>
                <a:gd name="connsiteX6555" fmla="*/ 2212914 w 8387961"/>
                <a:gd name="connsiteY6555" fmla="*/ 462623 h 3980066"/>
                <a:gd name="connsiteX6556" fmla="*/ 2197865 w 8387961"/>
                <a:gd name="connsiteY6556" fmla="*/ 460960 h 3980066"/>
                <a:gd name="connsiteX6557" fmla="*/ 2196193 w 8387961"/>
                <a:gd name="connsiteY6557" fmla="*/ 454308 h 3980066"/>
                <a:gd name="connsiteX6558" fmla="*/ 2184494 w 8387961"/>
                <a:gd name="connsiteY6558" fmla="*/ 445995 h 3980066"/>
                <a:gd name="connsiteX6559" fmla="*/ 2187840 w 8387961"/>
                <a:gd name="connsiteY6559" fmla="*/ 436017 h 3980066"/>
                <a:gd name="connsiteX6560" fmla="*/ 2181149 w 8387961"/>
                <a:gd name="connsiteY6560" fmla="*/ 434355 h 3980066"/>
                <a:gd name="connsiteX6561" fmla="*/ 2167768 w 8387961"/>
                <a:gd name="connsiteY6561" fmla="*/ 442668 h 3980066"/>
                <a:gd name="connsiteX6562" fmla="*/ 2167768 w 8387961"/>
                <a:gd name="connsiteY6562" fmla="*/ 434355 h 3980066"/>
                <a:gd name="connsiteX6563" fmla="*/ 2162752 w 8387961"/>
                <a:gd name="connsiteY6563" fmla="*/ 426040 h 3980066"/>
                <a:gd name="connsiteX6564" fmla="*/ 2157736 w 8387961"/>
                <a:gd name="connsiteY6564" fmla="*/ 436017 h 3980066"/>
                <a:gd name="connsiteX6565" fmla="*/ 2141019 w 8387961"/>
                <a:gd name="connsiteY6565" fmla="*/ 436017 h 3980066"/>
                <a:gd name="connsiteX6566" fmla="*/ 2136000 w 8387961"/>
                <a:gd name="connsiteY6566" fmla="*/ 441005 h 3980066"/>
                <a:gd name="connsiteX6567" fmla="*/ 2112598 w 8387961"/>
                <a:gd name="connsiteY6567" fmla="*/ 444332 h 3980066"/>
                <a:gd name="connsiteX6568" fmla="*/ 2087509 w 8387961"/>
                <a:gd name="connsiteY6568" fmla="*/ 436017 h 3980066"/>
                <a:gd name="connsiteX6569" fmla="*/ 2112598 w 8387961"/>
                <a:gd name="connsiteY6569" fmla="*/ 416062 h 3980066"/>
                <a:gd name="connsiteX6570" fmla="*/ 2146037 w 8387961"/>
                <a:gd name="connsiteY6570" fmla="*/ 419388 h 3980066"/>
                <a:gd name="connsiteX6571" fmla="*/ 2146037 w 8387961"/>
                <a:gd name="connsiteY6571" fmla="*/ 421052 h 3980066"/>
                <a:gd name="connsiteX6572" fmla="*/ 2146037 w 8387961"/>
                <a:gd name="connsiteY6572" fmla="*/ 431029 h 3980066"/>
                <a:gd name="connsiteX6573" fmla="*/ 2151055 w 8387961"/>
                <a:gd name="connsiteY6573" fmla="*/ 426040 h 3980066"/>
                <a:gd name="connsiteX6574" fmla="*/ 2146037 w 8387961"/>
                <a:gd name="connsiteY6574" fmla="*/ 421052 h 3980066"/>
                <a:gd name="connsiteX6575" fmla="*/ 2192849 w 8387961"/>
                <a:gd name="connsiteY6575" fmla="*/ 411074 h 3980066"/>
                <a:gd name="connsiteX6576" fmla="*/ 2186167 w 8387961"/>
                <a:gd name="connsiteY6576" fmla="*/ 396109 h 3980066"/>
                <a:gd name="connsiteX6577" fmla="*/ 2214587 w 8387961"/>
                <a:gd name="connsiteY6577" fmla="*/ 384469 h 3980066"/>
                <a:gd name="connsiteX6578" fmla="*/ 2256391 w 8387961"/>
                <a:gd name="connsiteY6578" fmla="*/ 386131 h 3980066"/>
                <a:gd name="connsiteX6579" fmla="*/ 2251372 w 8387961"/>
                <a:gd name="connsiteY6579" fmla="*/ 396109 h 3980066"/>
                <a:gd name="connsiteX6580" fmla="*/ 2261409 w 8387961"/>
                <a:gd name="connsiteY6580" fmla="*/ 394445 h 3980066"/>
                <a:gd name="connsiteX6581" fmla="*/ 2283141 w 8387961"/>
                <a:gd name="connsiteY6581" fmla="*/ 394445 h 3980066"/>
                <a:gd name="connsiteX6582" fmla="*/ 2291502 w 8387961"/>
                <a:gd name="connsiteY6582" fmla="*/ 386131 h 3980066"/>
                <a:gd name="connsiteX6583" fmla="*/ 2271437 w 8387961"/>
                <a:gd name="connsiteY6583" fmla="*/ 372829 h 3980066"/>
                <a:gd name="connsiteX6584" fmla="*/ 2256391 w 8387961"/>
                <a:gd name="connsiteY6584" fmla="*/ 382806 h 3980066"/>
                <a:gd name="connsiteX6585" fmla="*/ 2226297 w 8387961"/>
                <a:gd name="connsiteY6585" fmla="*/ 381142 h 3980066"/>
                <a:gd name="connsiteX6586" fmla="*/ 2244683 w 8387961"/>
                <a:gd name="connsiteY6586" fmla="*/ 371165 h 3980066"/>
                <a:gd name="connsiteX6587" fmla="*/ 2248028 w 8387961"/>
                <a:gd name="connsiteY6587" fmla="*/ 342897 h 3980066"/>
                <a:gd name="connsiteX6588" fmla="*/ 2236323 w 8387961"/>
                <a:gd name="connsiteY6588" fmla="*/ 341234 h 3980066"/>
                <a:gd name="connsiteX6589" fmla="*/ 2241339 w 8387961"/>
                <a:gd name="connsiteY6589" fmla="*/ 329594 h 3980066"/>
                <a:gd name="connsiteX6590" fmla="*/ 2234651 w 8387961"/>
                <a:gd name="connsiteY6590" fmla="*/ 334583 h 3980066"/>
                <a:gd name="connsiteX6591" fmla="*/ 2224624 w 8387961"/>
                <a:gd name="connsiteY6591" fmla="*/ 324605 h 3980066"/>
                <a:gd name="connsiteX6592" fmla="*/ 2214587 w 8387961"/>
                <a:gd name="connsiteY6592" fmla="*/ 322942 h 3980066"/>
                <a:gd name="connsiteX6593" fmla="*/ 2191186 w 8387961"/>
                <a:gd name="connsiteY6593" fmla="*/ 331256 h 3980066"/>
                <a:gd name="connsiteX6594" fmla="*/ 2192849 w 8387961"/>
                <a:gd name="connsiteY6594" fmla="*/ 324605 h 3980066"/>
                <a:gd name="connsiteX6595" fmla="*/ 2211242 w 8387961"/>
                <a:gd name="connsiteY6595" fmla="*/ 321280 h 3980066"/>
                <a:gd name="connsiteX6596" fmla="*/ 2206226 w 8387961"/>
                <a:gd name="connsiteY6596" fmla="*/ 304652 h 3980066"/>
                <a:gd name="connsiteX6597" fmla="*/ 2196193 w 8387961"/>
                <a:gd name="connsiteY6597" fmla="*/ 306313 h 3980066"/>
                <a:gd name="connsiteX6598" fmla="*/ 2202882 w 8387961"/>
                <a:gd name="connsiteY6598" fmla="*/ 302988 h 3980066"/>
                <a:gd name="connsiteX6599" fmla="*/ 2186167 w 8387961"/>
                <a:gd name="connsiteY6599" fmla="*/ 301325 h 3980066"/>
                <a:gd name="connsiteX6600" fmla="*/ 2192849 w 8387961"/>
                <a:gd name="connsiteY6600" fmla="*/ 293010 h 3980066"/>
                <a:gd name="connsiteX6601" fmla="*/ 2177803 w 8387961"/>
                <a:gd name="connsiteY6601" fmla="*/ 289685 h 3980066"/>
                <a:gd name="connsiteX6602" fmla="*/ 2177803 w 8387961"/>
                <a:gd name="connsiteY6602" fmla="*/ 281370 h 3980066"/>
                <a:gd name="connsiteX6603" fmla="*/ 2164424 w 8387961"/>
                <a:gd name="connsiteY6603" fmla="*/ 286360 h 3980066"/>
                <a:gd name="connsiteX6604" fmla="*/ 2167768 w 8387961"/>
                <a:gd name="connsiteY6604" fmla="*/ 299662 h 3980066"/>
                <a:gd name="connsiteX6605" fmla="*/ 2112598 w 8387961"/>
                <a:gd name="connsiteY6605" fmla="*/ 293010 h 3980066"/>
                <a:gd name="connsiteX6606" fmla="*/ 2125967 w 8387961"/>
                <a:gd name="connsiteY6606" fmla="*/ 302988 h 3980066"/>
                <a:gd name="connsiteX6607" fmla="*/ 2092525 w 8387961"/>
                <a:gd name="connsiteY6607" fmla="*/ 289685 h 3980066"/>
                <a:gd name="connsiteX6608" fmla="*/ 2110925 w 8387961"/>
                <a:gd name="connsiteY6608" fmla="*/ 299662 h 3980066"/>
                <a:gd name="connsiteX6609" fmla="*/ 2037347 w 8387961"/>
                <a:gd name="connsiteY6609" fmla="*/ 296336 h 3980066"/>
                <a:gd name="connsiteX6610" fmla="*/ 2027320 w 8387961"/>
                <a:gd name="connsiteY6610" fmla="*/ 286360 h 3980066"/>
                <a:gd name="connsiteX6611" fmla="*/ 2020628 w 8387961"/>
                <a:gd name="connsiteY6611" fmla="*/ 289685 h 3980066"/>
                <a:gd name="connsiteX6612" fmla="*/ 2017283 w 8387961"/>
                <a:gd name="connsiteY6612" fmla="*/ 289685 h 3980066"/>
                <a:gd name="connsiteX6613" fmla="*/ 1993881 w 8387961"/>
                <a:gd name="connsiteY6613" fmla="*/ 284696 h 3980066"/>
                <a:gd name="connsiteX6614" fmla="*/ 1990535 w 8387961"/>
                <a:gd name="connsiteY6614" fmla="*/ 273057 h 3980066"/>
                <a:gd name="connsiteX6615" fmla="*/ 2027320 w 8387961"/>
                <a:gd name="connsiteY6615" fmla="*/ 273057 h 3980066"/>
                <a:gd name="connsiteX6616" fmla="*/ 1985516 w 8387961"/>
                <a:gd name="connsiteY6616" fmla="*/ 263079 h 3980066"/>
                <a:gd name="connsiteX6617" fmla="*/ 2025647 w 8387961"/>
                <a:gd name="connsiteY6617" fmla="*/ 229822 h 3980066"/>
                <a:gd name="connsiteX6618" fmla="*/ 2062431 w 8387961"/>
                <a:gd name="connsiteY6618" fmla="*/ 211531 h 3980066"/>
                <a:gd name="connsiteX6619" fmla="*/ 1830903 w 8387961"/>
                <a:gd name="connsiteY6619" fmla="*/ 204879 h 3980066"/>
                <a:gd name="connsiteX6620" fmla="*/ 1904164 w 8387961"/>
                <a:gd name="connsiteY6620" fmla="*/ 204879 h 3980066"/>
                <a:gd name="connsiteX6621" fmla="*/ 1887521 w 8387961"/>
                <a:gd name="connsiteY6621" fmla="*/ 227248 h 3980066"/>
                <a:gd name="connsiteX6622" fmla="*/ 1870864 w 8387961"/>
                <a:gd name="connsiteY6622" fmla="*/ 248017 h 3980066"/>
                <a:gd name="connsiteX6623" fmla="*/ 1837569 w 8387961"/>
                <a:gd name="connsiteY6623" fmla="*/ 249616 h 3980066"/>
                <a:gd name="connsiteX6624" fmla="*/ 1830903 w 8387961"/>
                <a:gd name="connsiteY6624" fmla="*/ 257605 h 3980066"/>
                <a:gd name="connsiteX6625" fmla="*/ 1802601 w 8387961"/>
                <a:gd name="connsiteY6625" fmla="*/ 241627 h 3980066"/>
                <a:gd name="connsiteX6626" fmla="*/ 1777621 w 8387961"/>
                <a:gd name="connsiteY6626" fmla="*/ 227248 h 3980066"/>
                <a:gd name="connsiteX6627" fmla="*/ 1822585 w 8387961"/>
                <a:gd name="connsiteY6627" fmla="*/ 227248 h 3980066"/>
                <a:gd name="connsiteX6628" fmla="*/ 1839228 w 8387961"/>
                <a:gd name="connsiteY6628" fmla="*/ 217660 h 3980066"/>
                <a:gd name="connsiteX6629" fmla="*/ 1757397 w 8387961"/>
                <a:gd name="connsiteY6629" fmla="*/ 204879 h 3980066"/>
                <a:gd name="connsiteX6630" fmla="*/ 1764068 w 8387961"/>
                <a:gd name="connsiteY6630" fmla="*/ 209774 h 3980066"/>
                <a:gd name="connsiteX6631" fmla="*/ 1730706 w 8387961"/>
                <a:gd name="connsiteY6631" fmla="*/ 224462 h 3980066"/>
                <a:gd name="connsiteX6632" fmla="*/ 1717364 w 8387961"/>
                <a:gd name="connsiteY6632" fmla="*/ 211407 h 3980066"/>
                <a:gd name="connsiteX6633" fmla="*/ 6245383 w 8387961"/>
                <a:gd name="connsiteY6633" fmla="*/ 200360 h 3980066"/>
                <a:gd name="connsiteX6634" fmla="*/ 6287138 w 8387961"/>
                <a:gd name="connsiteY6634" fmla="*/ 211960 h 3980066"/>
                <a:gd name="connsiteX6635" fmla="*/ 6295489 w 8387961"/>
                <a:gd name="connsiteY6635" fmla="*/ 216931 h 3980066"/>
                <a:gd name="connsiteX6636" fmla="*/ 6218660 w 8387961"/>
                <a:gd name="connsiteY6636" fmla="*/ 210302 h 3980066"/>
                <a:gd name="connsiteX6637" fmla="*/ 6202089 w 8387961"/>
                <a:gd name="connsiteY6637" fmla="*/ 194334 h 3980066"/>
                <a:gd name="connsiteX6638" fmla="*/ 6215647 w 8387961"/>
                <a:gd name="connsiteY6638" fmla="*/ 194334 h 3980066"/>
                <a:gd name="connsiteX6639" fmla="*/ 6215647 w 8387961"/>
                <a:gd name="connsiteY6639" fmla="*/ 200360 h 3980066"/>
                <a:gd name="connsiteX6640" fmla="*/ 1955120 w 8387961"/>
                <a:gd name="connsiteY6640" fmla="*/ 194334 h 3980066"/>
                <a:gd name="connsiteX6641" fmla="*/ 2032213 w 8387961"/>
                <a:gd name="connsiteY6641" fmla="*/ 200924 h 3980066"/>
                <a:gd name="connsiteX6642" fmla="*/ 2012102 w 8387961"/>
                <a:gd name="connsiteY6642" fmla="*/ 209163 h 3980066"/>
                <a:gd name="connsiteX6643" fmla="*/ 1980264 w 8387961"/>
                <a:gd name="connsiteY6643" fmla="*/ 223992 h 3980066"/>
                <a:gd name="connsiteX6644" fmla="*/ 1935009 w 8387961"/>
                <a:gd name="connsiteY6644" fmla="*/ 227287 h 3980066"/>
                <a:gd name="connsiteX6645" fmla="*/ 1941717 w 8387961"/>
                <a:gd name="connsiteY6645" fmla="*/ 232230 h 3980066"/>
                <a:gd name="connsiteX6646" fmla="*/ 1921607 w 8387961"/>
                <a:gd name="connsiteY6646" fmla="*/ 243764 h 3980066"/>
                <a:gd name="connsiteX6647" fmla="*/ 1898138 w 8387961"/>
                <a:gd name="connsiteY6647" fmla="*/ 247060 h 3980066"/>
                <a:gd name="connsiteX6648" fmla="*/ 1901497 w 8387961"/>
                <a:gd name="connsiteY6648" fmla="*/ 242117 h 3980066"/>
                <a:gd name="connsiteX6649" fmla="*/ 1924954 w 8387961"/>
                <a:gd name="connsiteY6649" fmla="*/ 209163 h 3980066"/>
                <a:gd name="connsiteX6650" fmla="*/ 1941717 w 8387961"/>
                <a:gd name="connsiteY6650" fmla="*/ 207515 h 3980066"/>
                <a:gd name="connsiteX6651" fmla="*/ 1940044 w 8387961"/>
                <a:gd name="connsiteY6651" fmla="*/ 200924 h 3980066"/>
                <a:gd name="connsiteX6652" fmla="*/ 5710840 w 8387961"/>
                <a:gd name="connsiteY6652" fmla="*/ 186801 h 3980066"/>
                <a:gd name="connsiteX6653" fmla="*/ 5713997 w 8387961"/>
                <a:gd name="connsiteY6653" fmla="*/ 194334 h 3980066"/>
                <a:gd name="connsiteX6654" fmla="*/ 5680855 w 8387961"/>
                <a:gd name="connsiteY6654" fmla="*/ 189313 h 3980066"/>
                <a:gd name="connsiteX6655" fmla="*/ 1489500 w 8387961"/>
                <a:gd name="connsiteY6655" fmla="*/ 186801 h 3980066"/>
                <a:gd name="connsiteX6656" fmla="*/ 1506293 w 8387961"/>
                <a:gd name="connsiteY6656" fmla="*/ 191782 h 3980066"/>
                <a:gd name="connsiteX6657" fmla="*/ 1511330 w 8387961"/>
                <a:gd name="connsiteY6657" fmla="*/ 196763 h 3980066"/>
                <a:gd name="connsiteX6658" fmla="*/ 1548258 w 8387961"/>
                <a:gd name="connsiteY6658" fmla="*/ 191782 h 3980066"/>
                <a:gd name="connsiteX6659" fmla="*/ 1566717 w 8387961"/>
                <a:gd name="connsiteY6659" fmla="*/ 210044 h 3980066"/>
                <a:gd name="connsiteX6660" fmla="*/ 1513003 w 8387961"/>
                <a:gd name="connsiteY6660" fmla="*/ 221666 h 3980066"/>
                <a:gd name="connsiteX6661" fmla="*/ 1460965 w 8387961"/>
                <a:gd name="connsiteY6661" fmla="*/ 233286 h 3980066"/>
                <a:gd name="connsiteX6662" fmla="*/ 1439146 w 8387961"/>
                <a:gd name="connsiteY6662" fmla="*/ 241587 h 3980066"/>
                <a:gd name="connsiteX6663" fmla="*/ 1402218 w 8387961"/>
                <a:gd name="connsiteY6663" fmla="*/ 259849 h 3980066"/>
                <a:gd name="connsiteX6664" fmla="*/ 1350180 w 8387961"/>
                <a:gd name="connsiteY6664" fmla="*/ 268151 h 3980066"/>
                <a:gd name="connsiteX6665" fmla="*/ 1341781 w 8387961"/>
                <a:gd name="connsiteY6665" fmla="*/ 249889 h 3980066"/>
                <a:gd name="connsiteX6666" fmla="*/ 1331709 w 8387961"/>
                <a:gd name="connsiteY6666" fmla="*/ 241587 h 3980066"/>
                <a:gd name="connsiteX6667" fmla="*/ 1366962 w 8387961"/>
                <a:gd name="connsiteY6667" fmla="*/ 228306 h 3980066"/>
                <a:gd name="connsiteX6668" fmla="*/ 1378711 w 8387961"/>
                <a:gd name="connsiteY6668" fmla="*/ 220005 h 3980066"/>
                <a:gd name="connsiteX6669" fmla="*/ 1419000 w 8387961"/>
                <a:gd name="connsiteY6669" fmla="*/ 201743 h 3980066"/>
                <a:gd name="connsiteX6670" fmla="*/ 1417327 w 8387961"/>
                <a:gd name="connsiteY6670" fmla="*/ 190122 h 3980066"/>
                <a:gd name="connsiteX6671" fmla="*/ 6262348 w 8387961"/>
                <a:gd name="connsiteY6671" fmla="*/ 161192 h 3980066"/>
                <a:gd name="connsiteX6672" fmla="*/ 6286298 w 8387961"/>
                <a:gd name="connsiteY6672" fmla="*/ 164204 h 3980066"/>
                <a:gd name="connsiteX6673" fmla="*/ 6363281 w 8387961"/>
                <a:gd name="connsiteY6673" fmla="*/ 170231 h 3980066"/>
                <a:gd name="connsiteX6674" fmla="*/ 6354727 w 8387961"/>
                <a:gd name="connsiteY6674" fmla="*/ 177762 h 3980066"/>
                <a:gd name="connsiteX6675" fmla="*/ 6270901 w 8387961"/>
                <a:gd name="connsiteY6675" fmla="*/ 168724 h 3980066"/>
                <a:gd name="connsiteX6676" fmla="*/ 1983232 w 8387961"/>
                <a:gd name="connsiteY6676" fmla="*/ 161191 h 3980066"/>
                <a:gd name="connsiteX6677" fmla="*/ 1997569 w 8387961"/>
                <a:gd name="connsiteY6677" fmla="*/ 171736 h 3980066"/>
                <a:gd name="connsiteX6678" fmla="*/ 1991199 w 8387961"/>
                <a:gd name="connsiteY6678" fmla="*/ 177762 h 3980066"/>
                <a:gd name="connsiteX6679" fmla="*/ 1957751 w 8387961"/>
                <a:gd name="connsiteY6679" fmla="*/ 177762 h 3980066"/>
                <a:gd name="connsiteX6680" fmla="*/ 1941825 w 8387961"/>
                <a:gd name="connsiteY6680" fmla="*/ 173243 h 3980066"/>
                <a:gd name="connsiteX6681" fmla="*/ 6061989 w 8387961"/>
                <a:gd name="connsiteY6681" fmla="*/ 153660 h 3980066"/>
                <a:gd name="connsiteX6682" fmla="*/ 6079941 w 8387961"/>
                <a:gd name="connsiteY6682" fmla="*/ 160689 h 3980066"/>
                <a:gd name="connsiteX6683" fmla="*/ 6081573 w 8387961"/>
                <a:gd name="connsiteY6683" fmla="*/ 164204 h 3980066"/>
                <a:gd name="connsiteX6684" fmla="*/ 6149331 w 8387961"/>
                <a:gd name="connsiteY6684" fmla="*/ 147634 h 3980066"/>
                <a:gd name="connsiteX6685" fmla="*/ 6245777 w 8387961"/>
                <a:gd name="connsiteY6685" fmla="*/ 163129 h 3980066"/>
                <a:gd name="connsiteX6686" fmla="*/ 6244142 w 8387961"/>
                <a:gd name="connsiteY6686" fmla="*/ 170015 h 3980066"/>
                <a:gd name="connsiteX6687" fmla="*/ 6227795 w 8387961"/>
                <a:gd name="connsiteY6687" fmla="*/ 173459 h 3980066"/>
                <a:gd name="connsiteX6688" fmla="*/ 6237603 w 8387961"/>
                <a:gd name="connsiteY6688" fmla="*/ 175180 h 3980066"/>
                <a:gd name="connsiteX6689" fmla="*/ 6216353 w 8387961"/>
                <a:gd name="connsiteY6689" fmla="*/ 175180 h 3980066"/>
                <a:gd name="connsiteX6690" fmla="*/ 6168947 w 8387961"/>
                <a:gd name="connsiteY6690" fmla="*/ 178624 h 3980066"/>
                <a:gd name="connsiteX6691" fmla="*/ 6167313 w 8387961"/>
                <a:gd name="connsiteY6691" fmla="*/ 183788 h 3980066"/>
                <a:gd name="connsiteX6692" fmla="*/ 6108464 w 8387961"/>
                <a:gd name="connsiteY6692" fmla="*/ 168293 h 3980066"/>
                <a:gd name="connsiteX6693" fmla="*/ 6101926 w 8387961"/>
                <a:gd name="connsiteY6693" fmla="*/ 163129 h 3980066"/>
                <a:gd name="connsiteX6694" fmla="*/ 6092118 w 8387961"/>
                <a:gd name="connsiteY6694" fmla="*/ 157964 h 3980066"/>
                <a:gd name="connsiteX6695" fmla="*/ 6093752 w 8387961"/>
                <a:gd name="connsiteY6695" fmla="*/ 154520 h 3980066"/>
                <a:gd name="connsiteX6696" fmla="*/ 6111734 w 8387961"/>
                <a:gd name="connsiteY6696" fmla="*/ 149356 h 3980066"/>
                <a:gd name="connsiteX6697" fmla="*/ 6159139 w 8387961"/>
                <a:gd name="connsiteY6697" fmla="*/ 157964 h 3980066"/>
                <a:gd name="connsiteX6698" fmla="*/ 6149331 w 8387961"/>
                <a:gd name="connsiteY6698" fmla="*/ 151077 h 3980066"/>
                <a:gd name="connsiteX6699" fmla="*/ 6160774 w 8387961"/>
                <a:gd name="connsiteY6699" fmla="*/ 151077 h 3980066"/>
                <a:gd name="connsiteX6700" fmla="*/ 2041770 w 8387961"/>
                <a:gd name="connsiteY6700" fmla="*/ 144279 h 3980066"/>
                <a:gd name="connsiteX6701" fmla="*/ 2105295 w 8387961"/>
                <a:gd name="connsiteY6701" fmla="*/ 148568 h 3980066"/>
                <a:gd name="connsiteX6702" fmla="*/ 2065365 w 8387961"/>
                <a:gd name="connsiteY6702" fmla="*/ 148568 h 3980066"/>
                <a:gd name="connsiteX6703" fmla="*/ 2093646 w 8387961"/>
                <a:gd name="connsiteY6703" fmla="*/ 158230 h 3980066"/>
                <a:gd name="connsiteX6704" fmla="*/ 2153538 w 8387961"/>
                <a:gd name="connsiteY6704" fmla="*/ 158230 h 3980066"/>
                <a:gd name="connsiteX6705" fmla="*/ 2213424 w 8387961"/>
                <a:gd name="connsiteY6705" fmla="*/ 155010 h 3980066"/>
                <a:gd name="connsiteX6706" fmla="*/ 2256678 w 8387961"/>
                <a:gd name="connsiteY6706" fmla="*/ 164672 h 3980066"/>
                <a:gd name="connsiteX6707" fmla="*/ 2250023 w 8387961"/>
                <a:gd name="connsiteY6707" fmla="*/ 177555 h 3980066"/>
                <a:gd name="connsiteX6708" fmla="*/ 2193460 w 8387961"/>
                <a:gd name="connsiteY6708" fmla="*/ 177555 h 3980066"/>
                <a:gd name="connsiteX6709" fmla="*/ 2135235 w 8387961"/>
                <a:gd name="connsiteY6709" fmla="*/ 179165 h 3980066"/>
                <a:gd name="connsiteX6710" fmla="*/ 2080338 w 8387961"/>
                <a:gd name="connsiteY6710" fmla="*/ 179165 h 3980066"/>
                <a:gd name="connsiteX6711" fmla="*/ 2022121 w 8387961"/>
                <a:gd name="connsiteY6711" fmla="*/ 180775 h 3980066"/>
                <a:gd name="connsiteX6712" fmla="*/ 2032094 w 8387961"/>
                <a:gd name="connsiteY6712" fmla="*/ 161451 h 3980066"/>
                <a:gd name="connsiteX6713" fmla="*/ 2035126 w 8387961"/>
                <a:gd name="connsiteY6713" fmla="*/ 142748 h 3980066"/>
                <a:gd name="connsiteX6714" fmla="*/ 2042075 w 8387961"/>
                <a:gd name="connsiteY6714" fmla="*/ 143737 h 3980066"/>
                <a:gd name="connsiteX6715" fmla="*/ 2041770 w 8387961"/>
                <a:gd name="connsiteY6715" fmla="*/ 144279 h 3980066"/>
                <a:gd name="connsiteX6716" fmla="*/ 2033759 w 8387961"/>
                <a:gd name="connsiteY6716" fmla="*/ 143737 h 3980066"/>
                <a:gd name="connsiteX6717" fmla="*/ 1952078 w 8387961"/>
                <a:gd name="connsiteY6717" fmla="*/ 137089 h 3980066"/>
                <a:gd name="connsiteX6718" fmla="*/ 1955388 w 8387961"/>
                <a:gd name="connsiteY6718" fmla="*/ 144262 h 3980066"/>
                <a:gd name="connsiteX6719" fmla="*/ 1938839 w 8387961"/>
                <a:gd name="connsiteY6719" fmla="*/ 158609 h 3980066"/>
                <a:gd name="connsiteX6720" fmla="*/ 1945459 w 8387961"/>
                <a:gd name="connsiteY6720" fmla="*/ 160402 h 3980066"/>
                <a:gd name="connsiteX6721" fmla="*/ 1942148 w 8387961"/>
                <a:gd name="connsiteY6721" fmla="*/ 165783 h 3980066"/>
                <a:gd name="connsiteX6722" fmla="*/ 1928910 w 8387961"/>
                <a:gd name="connsiteY6722" fmla="*/ 165783 h 3980066"/>
                <a:gd name="connsiteX6723" fmla="*/ 1922292 w 8387961"/>
                <a:gd name="connsiteY6723" fmla="*/ 171162 h 3980066"/>
                <a:gd name="connsiteX6724" fmla="*/ 1918982 w 8387961"/>
                <a:gd name="connsiteY6724" fmla="*/ 174749 h 3980066"/>
                <a:gd name="connsiteX6725" fmla="*/ 1879271 w 8387961"/>
                <a:gd name="connsiteY6725" fmla="*/ 171162 h 3980066"/>
                <a:gd name="connsiteX6726" fmla="*/ 1880926 w 8387961"/>
                <a:gd name="connsiteY6726" fmla="*/ 169370 h 3980066"/>
                <a:gd name="connsiteX6727" fmla="*/ 1920637 w 8387961"/>
                <a:gd name="connsiteY6727" fmla="*/ 160402 h 3980066"/>
                <a:gd name="connsiteX6728" fmla="*/ 1854458 w 8387961"/>
                <a:gd name="connsiteY6728" fmla="*/ 160402 h 3980066"/>
                <a:gd name="connsiteX6729" fmla="*/ 1879271 w 8387961"/>
                <a:gd name="connsiteY6729" fmla="*/ 155022 h 3980066"/>
                <a:gd name="connsiteX6730" fmla="*/ 1880926 w 8387961"/>
                <a:gd name="connsiteY6730" fmla="*/ 153229 h 3980066"/>
                <a:gd name="connsiteX6731" fmla="*/ 1880926 w 8387961"/>
                <a:gd name="connsiteY6731" fmla="*/ 149642 h 3980066"/>
                <a:gd name="connsiteX6732" fmla="*/ 1892509 w 8387961"/>
                <a:gd name="connsiteY6732" fmla="*/ 147849 h 3980066"/>
                <a:gd name="connsiteX6733" fmla="*/ 1885890 w 8387961"/>
                <a:gd name="connsiteY6733" fmla="*/ 144262 h 3980066"/>
                <a:gd name="connsiteX6734" fmla="*/ 1902436 w 8387961"/>
                <a:gd name="connsiteY6734" fmla="*/ 149642 h 3980066"/>
                <a:gd name="connsiteX6735" fmla="*/ 1909054 w 8387961"/>
                <a:gd name="connsiteY6735" fmla="*/ 151435 h 3980066"/>
                <a:gd name="connsiteX6736" fmla="*/ 1918982 w 8387961"/>
                <a:gd name="connsiteY6736" fmla="*/ 149642 h 3980066"/>
                <a:gd name="connsiteX6737" fmla="*/ 1905745 w 8387961"/>
                <a:gd name="connsiteY6737" fmla="*/ 140675 h 3980066"/>
                <a:gd name="connsiteX6738" fmla="*/ 1935529 w 8387961"/>
                <a:gd name="connsiteY6738" fmla="*/ 140675 h 3980066"/>
                <a:gd name="connsiteX6739" fmla="*/ 2047070 w 8387961"/>
                <a:gd name="connsiteY6739" fmla="*/ 134076 h 3980066"/>
                <a:gd name="connsiteX6740" fmla="*/ 2035126 w 8387961"/>
                <a:gd name="connsiteY6740" fmla="*/ 142748 h 3980066"/>
                <a:gd name="connsiteX6741" fmla="*/ 1985516 w 8387961"/>
                <a:gd name="connsiteY6741" fmla="*/ 135686 h 3980066"/>
                <a:gd name="connsiteX6742" fmla="*/ 1777709 w 8387961"/>
                <a:gd name="connsiteY6742" fmla="*/ 134076 h 3980066"/>
                <a:gd name="connsiteX6743" fmla="*/ 1762688 w 8387961"/>
                <a:gd name="connsiteY6743" fmla="*/ 157337 h 3980066"/>
                <a:gd name="connsiteX6744" fmla="*/ 1807751 w 8387961"/>
                <a:gd name="connsiteY6744" fmla="*/ 154236 h 3980066"/>
                <a:gd name="connsiteX6745" fmla="*/ 1771033 w 8387961"/>
                <a:gd name="connsiteY6745" fmla="*/ 171294 h 3980066"/>
                <a:gd name="connsiteX6746" fmla="*/ 1742667 w 8387961"/>
                <a:gd name="connsiteY6746" fmla="*/ 169743 h 3980066"/>
                <a:gd name="connsiteX6747" fmla="*/ 1690919 w 8387961"/>
                <a:gd name="connsiteY6747" fmla="*/ 177496 h 3980066"/>
                <a:gd name="connsiteX6748" fmla="*/ 1637513 w 8387961"/>
                <a:gd name="connsiteY6748" fmla="*/ 186801 h 3980066"/>
                <a:gd name="connsiteX6749" fmla="*/ 1612475 w 8387961"/>
                <a:gd name="connsiteY6749" fmla="*/ 179048 h 3980066"/>
                <a:gd name="connsiteX6750" fmla="*/ 1689250 w 8387961"/>
                <a:gd name="connsiteY6750" fmla="*/ 168192 h 3980066"/>
                <a:gd name="connsiteX6751" fmla="*/ 1630839 w 8387961"/>
                <a:gd name="connsiteY6751" fmla="*/ 166641 h 3980066"/>
                <a:gd name="connsiteX6752" fmla="*/ 1575761 w 8387961"/>
                <a:gd name="connsiteY6752" fmla="*/ 166641 h 3980066"/>
                <a:gd name="connsiteX6753" fmla="*/ 1629166 w 8387961"/>
                <a:gd name="connsiteY6753" fmla="*/ 158888 h 3980066"/>
                <a:gd name="connsiteX6754" fmla="*/ 1605800 w 8387961"/>
                <a:gd name="connsiteY6754" fmla="*/ 157337 h 3980066"/>
                <a:gd name="connsiteX6755" fmla="*/ 1640849 w 8387961"/>
                <a:gd name="connsiteY6755" fmla="*/ 152685 h 3980066"/>
                <a:gd name="connsiteX6756" fmla="*/ 1625827 w 8387961"/>
                <a:gd name="connsiteY6756" fmla="*/ 148032 h 3980066"/>
                <a:gd name="connsiteX6757" fmla="*/ 1690919 w 8387961"/>
                <a:gd name="connsiteY6757" fmla="*/ 151133 h 3980066"/>
                <a:gd name="connsiteX6758" fmla="*/ 1735983 w 8387961"/>
                <a:gd name="connsiteY6758" fmla="*/ 161990 h 3980066"/>
                <a:gd name="connsiteX6759" fmla="*/ 1737652 w 8387961"/>
                <a:gd name="connsiteY6759" fmla="*/ 143380 h 3980066"/>
                <a:gd name="connsiteX6760" fmla="*/ 4850428 w 8387961"/>
                <a:gd name="connsiteY6760" fmla="*/ 131062 h 3980066"/>
                <a:gd name="connsiteX6761" fmla="*/ 4870380 w 8387961"/>
                <a:gd name="connsiteY6761" fmla="*/ 137691 h 3980066"/>
                <a:gd name="connsiteX6762" fmla="*/ 4853753 w 8387961"/>
                <a:gd name="connsiteY6762" fmla="*/ 147634 h 3980066"/>
                <a:gd name="connsiteX6763" fmla="*/ 4803872 w 8387961"/>
                <a:gd name="connsiteY6763" fmla="*/ 159233 h 3980066"/>
                <a:gd name="connsiteX6764" fmla="*/ 4753992 w 8387961"/>
                <a:gd name="connsiteY6764" fmla="*/ 170834 h 3980066"/>
                <a:gd name="connsiteX6765" fmla="*/ 4742353 w 8387961"/>
                <a:gd name="connsiteY6765" fmla="*/ 172490 h 3980066"/>
                <a:gd name="connsiteX6766" fmla="*/ 4747341 w 8387961"/>
                <a:gd name="connsiteY6766" fmla="*/ 177462 h 3980066"/>
                <a:gd name="connsiteX6767" fmla="*/ 4744016 w 8387961"/>
                <a:gd name="connsiteY6767" fmla="*/ 180775 h 3980066"/>
                <a:gd name="connsiteX6768" fmla="*/ 4734040 w 8387961"/>
                <a:gd name="connsiteY6768" fmla="*/ 182433 h 3980066"/>
                <a:gd name="connsiteX6769" fmla="*/ 4735703 w 8387961"/>
                <a:gd name="connsiteY6769" fmla="*/ 187404 h 3980066"/>
                <a:gd name="connsiteX6770" fmla="*/ 4715750 w 8387961"/>
                <a:gd name="connsiteY6770" fmla="*/ 184090 h 3980066"/>
                <a:gd name="connsiteX6771" fmla="*/ 4722401 w 8387961"/>
                <a:gd name="connsiteY6771" fmla="*/ 192376 h 3980066"/>
                <a:gd name="connsiteX6772" fmla="*/ 4714088 w 8387961"/>
                <a:gd name="connsiteY6772" fmla="*/ 197347 h 3980066"/>
                <a:gd name="connsiteX6773" fmla="*/ 4720738 w 8387961"/>
                <a:gd name="connsiteY6773" fmla="*/ 203975 h 3980066"/>
                <a:gd name="connsiteX6774" fmla="*/ 4695798 w 8387961"/>
                <a:gd name="connsiteY6774" fmla="*/ 200662 h 3980066"/>
                <a:gd name="connsiteX6775" fmla="*/ 4717413 w 8387961"/>
                <a:gd name="connsiteY6775" fmla="*/ 207289 h 3980066"/>
                <a:gd name="connsiteX6776" fmla="*/ 4705774 w 8387961"/>
                <a:gd name="connsiteY6776" fmla="*/ 207289 h 3980066"/>
                <a:gd name="connsiteX6777" fmla="*/ 4710762 w 8387961"/>
                <a:gd name="connsiteY6777" fmla="*/ 213918 h 3980066"/>
                <a:gd name="connsiteX6778" fmla="*/ 4657557 w 8387961"/>
                <a:gd name="connsiteY6778" fmla="*/ 210604 h 3980066"/>
                <a:gd name="connsiteX6779" fmla="*/ 4667533 w 8387961"/>
                <a:gd name="connsiteY6779" fmla="*/ 203975 h 3980066"/>
                <a:gd name="connsiteX6780" fmla="*/ 4645918 w 8387961"/>
                <a:gd name="connsiteY6780" fmla="*/ 203975 h 3980066"/>
                <a:gd name="connsiteX6781" fmla="*/ 4667533 w 8387961"/>
                <a:gd name="connsiteY6781" fmla="*/ 192376 h 3980066"/>
                <a:gd name="connsiteX6782" fmla="*/ 4674183 w 8387961"/>
                <a:gd name="connsiteY6782" fmla="*/ 192376 h 3980066"/>
                <a:gd name="connsiteX6783" fmla="*/ 4665870 w 8387961"/>
                <a:gd name="connsiteY6783" fmla="*/ 189062 h 3980066"/>
                <a:gd name="connsiteX6784" fmla="*/ 4670858 w 8387961"/>
                <a:gd name="connsiteY6784" fmla="*/ 184090 h 3980066"/>
                <a:gd name="connsiteX6785" fmla="*/ 4682497 w 8387961"/>
                <a:gd name="connsiteY6785" fmla="*/ 179119 h 3980066"/>
                <a:gd name="connsiteX6786" fmla="*/ 4674183 w 8387961"/>
                <a:gd name="connsiteY6786" fmla="*/ 177462 h 3980066"/>
                <a:gd name="connsiteX6787" fmla="*/ 4677509 w 8387961"/>
                <a:gd name="connsiteY6787" fmla="*/ 172490 h 3980066"/>
                <a:gd name="connsiteX6788" fmla="*/ 4665870 w 8387961"/>
                <a:gd name="connsiteY6788" fmla="*/ 172490 h 3980066"/>
                <a:gd name="connsiteX6789" fmla="*/ 4680834 w 8387961"/>
                <a:gd name="connsiteY6789" fmla="*/ 167519 h 3980066"/>
                <a:gd name="connsiteX6790" fmla="*/ 4692473 w 8387961"/>
                <a:gd name="connsiteY6790" fmla="*/ 162548 h 3980066"/>
                <a:gd name="connsiteX6791" fmla="*/ 4734040 w 8387961"/>
                <a:gd name="connsiteY6791" fmla="*/ 150948 h 3980066"/>
                <a:gd name="connsiteX6792" fmla="*/ 4740691 w 8387961"/>
                <a:gd name="connsiteY6792" fmla="*/ 147634 h 3980066"/>
                <a:gd name="connsiteX6793" fmla="*/ 4817174 w 8387961"/>
                <a:gd name="connsiteY6793" fmla="*/ 137691 h 3980066"/>
                <a:gd name="connsiteX6794" fmla="*/ 1653215 w 8387961"/>
                <a:gd name="connsiteY6794" fmla="*/ 117504 h 3980066"/>
                <a:gd name="connsiteX6795" fmla="*/ 1679709 w 8387961"/>
                <a:gd name="connsiteY6795" fmla="*/ 120948 h 3980066"/>
                <a:gd name="connsiteX6796" fmla="*/ 1656525 w 8387961"/>
                <a:gd name="connsiteY6796" fmla="*/ 127835 h 3980066"/>
                <a:gd name="connsiteX6797" fmla="*/ 1659835 w 8387961"/>
                <a:gd name="connsiteY6797" fmla="*/ 129556 h 3980066"/>
                <a:gd name="connsiteX6798" fmla="*/ 1653215 w 8387961"/>
                <a:gd name="connsiteY6798" fmla="*/ 131278 h 3980066"/>
                <a:gd name="connsiteX6799" fmla="*/ 1626723 w 8387961"/>
                <a:gd name="connsiteY6799" fmla="*/ 138165 h 3980066"/>
                <a:gd name="connsiteX6800" fmla="*/ 1611826 w 8387961"/>
                <a:gd name="connsiteY6800" fmla="*/ 146773 h 3980066"/>
                <a:gd name="connsiteX6801" fmla="*/ 1611826 w 8387961"/>
                <a:gd name="connsiteY6801" fmla="*/ 138165 h 3980066"/>
                <a:gd name="connsiteX6802" fmla="*/ 1616791 w 8387961"/>
                <a:gd name="connsiteY6802" fmla="*/ 132999 h 3980066"/>
                <a:gd name="connsiteX6803" fmla="*/ 1593610 w 8387961"/>
                <a:gd name="connsiteY6803" fmla="*/ 139887 h 3980066"/>
                <a:gd name="connsiteX6804" fmla="*/ 1577056 w 8387961"/>
                <a:gd name="connsiteY6804" fmla="*/ 146773 h 3980066"/>
                <a:gd name="connsiteX6805" fmla="*/ 1572092 w 8387961"/>
                <a:gd name="connsiteY6805" fmla="*/ 143330 h 3980066"/>
                <a:gd name="connsiteX6806" fmla="*/ 1560498 w 8387961"/>
                <a:gd name="connsiteY6806" fmla="*/ 151938 h 3980066"/>
                <a:gd name="connsiteX6807" fmla="*/ 1543942 w 8387961"/>
                <a:gd name="connsiteY6807" fmla="*/ 153660 h 3980066"/>
                <a:gd name="connsiteX6808" fmla="*/ 1543942 w 8387961"/>
                <a:gd name="connsiteY6808" fmla="*/ 148494 h 3980066"/>
                <a:gd name="connsiteX6809" fmla="*/ 1530703 w 8387961"/>
                <a:gd name="connsiteY6809" fmla="*/ 151938 h 3980066"/>
                <a:gd name="connsiteX6810" fmla="*/ 1512485 w 8387961"/>
                <a:gd name="connsiteY6810" fmla="*/ 150216 h 3980066"/>
                <a:gd name="connsiteX6811" fmla="*/ 1522426 w 8387961"/>
                <a:gd name="connsiteY6811" fmla="*/ 143330 h 3980066"/>
                <a:gd name="connsiteX6812" fmla="*/ 1583677 w 8387961"/>
                <a:gd name="connsiteY6812" fmla="*/ 129556 h 3980066"/>
                <a:gd name="connsiteX6813" fmla="*/ 1626723 w 8387961"/>
                <a:gd name="connsiteY6813" fmla="*/ 119226 h 3980066"/>
                <a:gd name="connsiteX6814" fmla="*/ 5445485 w 8387961"/>
                <a:gd name="connsiteY6814" fmla="*/ 114492 h 3980066"/>
                <a:gd name="connsiteX6815" fmla="*/ 5492346 w 8387961"/>
                <a:gd name="connsiteY6815" fmla="*/ 121181 h 3980066"/>
                <a:gd name="connsiteX6816" fmla="*/ 5468916 w 8387961"/>
                <a:gd name="connsiteY6816" fmla="*/ 127869 h 3980066"/>
                <a:gd name="connsiteX6817" fmla="*/ 5499040 w 8387961"/>
                <a:gd name="connsiteY6817" fmla="*/ 127869 h 3980066"/>
                <a:gd name="connsiteX6818" fmla="*/ 5525817 w 8387961"/>
                <a:gd name="connsiteY6818" fmla="*/ 129541 h 3980066"/>
                <a:gd name="connsiteX6819" fmla="*/ 5527491 w 8387961"/>
                <a:gd name="connsiteY6819" fmla="*/ 139575 h 3980066"/>
                <a:gd name="connsiteX6820" fmla="*/ 5549247 w 8387961"/>
                <a:gd name="connsiteY6820" fmla="*/ 137902 h 3980066"/>
                <a:gd name="connsiteX6821" fmla="*/ 5609496 w 8387961"/>
                <a:gd name="connsiteY6821" fmla="*/ 139575 h 3980066"/>
                <a:gd name="connsiteX6822" fmla="*/ 5639620 w 8387961"/>
                <a:gd name="connsiteY6822" fmla="*/ 147935 h 3980066"/>
                <a:gd name="connsiteX6823" fmla="*/ 5654683 w 8387961"/>
                <a:gd name="connsiteY6823" fmla="*/ 149607 h 3980066"/>
                <a:gd name="connsiteX6824" fmla="*/ 5658030 w 8387961"/>
                <a:gd name="connsiteY6824" fmla="*/ 147935 h 3980066"/>
                <a:gd name="connsiteX6825" fmla="*/ 5683133 w 8387961"/>
                <a:gd name="connsiteY6825" fmla="*/ 161312 h 3980066"/>
                <a:gd name="connsiteX6826" fmla="*/ 5654683 w 8387961"/>
                <a:gd name="connsiteY6826" fmla="*/ 154623 h 3980066"/>
                <a:gd name="connsiteX6827" fmla="*/ 5673092 w 8387961"/>
                <a:gd name="connsiteY6827" fmla="*/ 161312 h 3980066"/>
                <a:gd name="connsiteX6828" fmla="*/ 5688154 w 8387961"/>
                <a:gd name="connsiteY6828" fmla="*/ 164656 h 3980066"/>
                <a:gd name="connsiteX6829" fmla="*/ 5653009 w 8387961"/>
                <a:gd name="connsiteY6829" fmla="*/ 191410 h 3980066"/>
                <a:gd name="connsiteX6830" fmla="*/ 5616190 w 8387961"/>
                <a:gd name="connsiteY6830" fmla="*/ 214819 h 3980066"/>
                <a:gd name="connsiteX6831" fmla="*/ 5614517 w 8387961"/>
                <a:gd name="connsiteY6831" fmla="*/ 219836 h 3980066"/>
                <a:gd name="connsiteX6832" fmla="*/ 5649662 w 8387961"/>
                <a:gd name="connsiteY6832" fmla="*/ 214819 h 3980066"/>
                <a:gd name="connsiteX6833" fmla="*/ 5686480 w 8387961"/>
                <a:gd name="connsiteY6833" fmla="*/ 204786 h 3980066"/>
                <a:gd name="connsiteX6834" fmla="*/ 5656356 w 8387961"/>
                <a:gd name="connsiteY6834" fmla="*/ 203115 h 3980066"/>
                <a:gd name="connsiteX6835" fmla="*/ 5688154 w 8387961"/>
                <a:gd name="connsiteY6835" fmla="*/ 198098 h 3980066"/>
                <a:gd name="connsiteX6836" fmla="*/ 5688154 w 8387961"/>
                <a:gd name="connsiteY6836" fmla="*/ 201442 h 3980066"/>
                <a:gd name="connsiteX6837" fmla="*/ 5716605 w 8387961"/>
                <a:gd name="connsiteY6837" fmla="*/ 201442 h 3980066"/>
                <a:gd name="connsiteX6838" fmla="*/ 5738361 w 8387961"/>
                <a:gd name="connsiteY6838" fmla="*/ 211475 h 3980066"/>
                <a:gd name="connsiteX6839" fmla="*/ 5805304 w 8387961"/>
                <a:gd name="connsiteY6839" fmla="*/ 209803 h 3980066"/>
                <a:gd name="connsiteX6840" fmla="*/ 5835429 w 8387961"/>
                <a:gd name="connsiteY6840" fmla="*/ 209803 h 3980066"/>
                <a:gd name="connsiteX6841" fmla="*/ 5828734 w 8387961"/>
                <a:gd name="connsiteY6841" fmla="*/ 213147 h 3980066"/>
                <a:gd name="connsiteX6842" fmla="*/ 5867227 w 8387961"/>
                <a:gd name="connsiteY6842" fmla="*/ 221507 h 3980066"/>
                <a:gd name="connsiteX6843" fmla="*/ 5937517 w 8387961"/>
                <a:gd name="connsiteY6843" fmla="*/ 229868 h 3980066"/>
                <a:gd name="connsiteX6844" fmla="*/ 6007807 w 8387961"/>
                <a:gd name="connsiteY6844" fmla="*/ 238229 h 3980066"/>
                <a:gd name="connsiteX6845" fmla="*/ 6051320 w 8387961"/>
                <a:gd name="connsiteY6845" fmla="*/ 261638 h 3980066"/>
                <a:gd name="connsiteX6846" fmla="*/ 6019522 w 8387961"/>
                <a:gd name="connsiteY6846" fmla="*/ 239901 h 3980066"/>
                <a:gd name="connsiteX6847" fmla="*/ 6031237 w 8387961"/>
                <a:gd name="connsiteY6847" fmla="*/ 238229 h 3980066"/>
                <a:gd name="connsiteX6848" fmla="*/ 6074750 w 8387961"/>
                <a:gd name="connsiteY6848" fmla="*/ 253277 h 3980066"/>
                <a:gd name="connsiteX6849" fmla="*/ 6111569 w 8387961"/>
                <a:gd name="connsiteY6849" fmla="*/ 269998 h 3980066"/>
                <a:gd name="connsiteX6850" fmla="*/ 6141693 w 8387961"/>
                <a:gd name="connsiteY6850" fmla="*/ 278359 h 3980066"/>
                <a:gd name="connsiteX6851" fmla="*/ 6148388 w 8387961"/>
                <a:gd name="connsiteY6851" fmla="*/ 264982 h 3980066"/>
                <a:gd name="connsiteX6852" fmla="*/ 6136673 w 8387961"/>
                <a:gd name="connsiteY6852" fmla="*/ 249933 h 3980066"/>
                <a:gd name="connsiteX6853" fmla="*/ 6145040 w 8387961"/>
                <a:gd name="connsiteY6853" fmla="*/ 253277 h 3980066"/>
                <a:gd name="connsiteX6854" fmla="*/ 6188553 w 8387961"/>
                <a:gd name="connsiteY6854" fmla="*/ 261638 h 3980066"/>
                <a:gd name="connsiteX6855" fmla="*/ 6206963 w 8387961"/>
                <a:gd name="connsiteY6855" fmla="*/ 254950 h 3980066"/>
                <a:gd name="connsiteX6856" fmla="*/ 6260517 w 8387961"/>
                <a:gd name="connsiteY6856" fmla="*/ 268326 h 3980066"/>
                <a:gd name="connsiteX6857" fmla="*/ 6257170 w 8387961"/>
                <a:gd name="connsiteY6857" fmla="*/ 263310 h 3980066"/>
                <a:gd name="connsiteX6858" fmla="*/ 6250476 w 8387961"/>
                <a:gd name="connsiteY6858" fmla="*/ 258294 h 3980066"/>
                <a:gd name="connsiteX6859" fmla="*/ 6285621 w 8387961"/>
                <a:gd name="connsiteY6859" fmla="*/ 259965 h 3980066"/>
                <a:gd name="connsiteX6860" fmla="*/ 6272232 w 8387961"/>
                <a:gd name="connsiteY6860" fmla="*/ 251606 h 3980066"/>
                <a:gd name="connsiteX6861" fmla="*/ 6265538 w 8387961"/>
                <a:gd name="connsiteY6861" fmla="*/ 243245 h 3980066"/>
                <a:gd name="connsiteX6862" fmla="*/ 6257170 w 8387961"/>
                <a:gd name="connsiteY6862" fmla="*/ 241572 h 3980066"/>
                <a:gd name="connsiteX6863" fmla="*/ 6245455 w 8387961"/>
                <a:gd name="connsiteY6863" fmla="*/ 239901 h 3980066"/>
                <a:gd name="connsiteX6864" fmla="*/ 6272232 w 8387961"/>
                <a:gd name="connsiteY6864" fmla="*/ 233212 h 3980066"/>
                <a:gd name="connsiteX6865" fmla="*/ 6257170 w 8387961"/>
                <a:gd name="connsiteY6865" fmla="*/ 228196 h 3980066"/>
                <a:gd name="connsiteX6866" fmla="*/ 6322440 w 8387961"/>
                <a:gd name="connsiteY6866" fmla="*/ 233212 h 3980066"/>
                <a:gd name="connsiteX6867" fmla="*/ 6387709 w 8387961"/>
                <a:gd name="connsiteY6867" fmla="*/ 238229 h 3980066"/>
                <a:gd name="connsiteX6868" fmla="*/ 6389383 w 8387961"/>
                <a:gd name="connsiteY6868" fmla="*/ 239901 h 3980066"/>
                <a:gd name="connsiteX6869" fmla="*/ 6386035 w 8387961"/>
                <a:gd name="connsiteY6869" fmla="*/ 244916 h 3980066"/>
                <a:gd name="connsiteX6870" fmla="*/ 6392730 w 8387961"/>
                <a:gd name="connsiteY6870" fmla="*/ 244916 h 3980066"/>
                <a:gd name="connsiteX6871" fmla="*/ 6419507 w 8387961"/>
                <a:gd name="connsiteY6871" fmla="*/ 239901 h 3980066"/>
                <a:gd name="connsiteX6872" fmla="*/ 6463020 w 8387961"/>
                <a:gd name="connsiteY6872" fmla="*/ 249933 h 3980066"/>
                <a:gd name="connsiteX6873" fmla="*/ 6451305 w 8387961"/>
                <a:gd name="connsiteY6873" fmla="*/ 253277 h 3980066"/>
                <a:gd name="connsiteX6874" fmla="*/ 6476409 w 8387961"/>
                <a:gd name="connsiteY6874" fmla="*/ 258294 h 3980066"/>
                <a:gd name="connsiteX6875" fmla="*/ 6488124 w 8387961"/>
                <a:gd name="connsiteY6875" fmla="*/ 259965 h 3980066"/>
                <a:gd name="connsiteX6876" fmla="*/ 6488124 w 8387961"/>
                <a:gd name="connsiteY6876" fmla="*/ 264982 h 3980066"/>
                <a:gd name="connsiteX6877" fmla="*/ 6499839 w 8387961"/>
                <a:gd name="connsiteY6877" fmla="*/ 261638 h 3980066"/>
                <a:gd name="connsiteX6878" fmla="*/ 6536658 w 8387961"/>
                <a:gd name="connsiteY6878" fmla="*/ 271672 h 3980066"/>
                <a:gd name="connsiteX6879" fmla="*/ 6548373 w 8387961"/>
                <a:gd name="connsiteY6879" fmla="*/ 275016 h 3980066"/>
                <a:gd name="connsiteX6880" fmla="*/ 6593559 w 8387961"/>
                <a:gd name="connsiteY6880" fmla="*/ 271672 h 3980066"/>
                <a:gd name="connsiteX6881" fmla="*/ 6642093 w 8387961"/>
                <a:gd name="connsiteY6881" fmla="*/ 269998 h 3980066"/>
                <a:gd name="connsiteX6882" fmla="*/ 6688953 w 8387961"/>
                <a:gd name="connsiteY6882" fmla="*/ 280032 h 3980066"/>
                <a:gd name="connsiteX6883" fmla="*/ 6719077 w 8387961"/>
                <a:gd name="connsiteY6883" fmla="*/ 298425 h 3980066"/>
                <a:gd name="connsiteX6884" fmla="*/ 6749202 w 8387961"/>
                <a:gd name="connsiteY6884" fmla="*/ 303442 h 3980066"/>
                <a:gd name="connsiteX6885" fmla="*/ 6774305 w 8387961"/>
                <a:gd name="connsiteY6885" fmla="*/ 315147 h 3980066"/>
                <a:gd name="connsiteX6886" fmla="*/ 6777653 w 8387961"/>
                <a:gd name="connsiteY6886" fmla="*/ 303442 h 3980066"/>
                <a:gd name="connsiteX6887" fmla="*/ 6854637 w 8387961"/>
                <a:gd name="connsiteY6887" fmla="*/ 308458 h 3980066"/>
                <a:gd name="connsiteX6888" fmla="*/ 6878067 w 8387961"/>
                <a:gd name="connsiteY6888" fmla="*/ 301769 h 3980066"/>
                <a:gd name="connsiteX6889" fmla="*/ 6908191 w 8387961"/>
                <a:gd name="connsiteY6889" fmla="*/ 315147 h 3980066"/>
                <a:gd name="connsiteX6890" fmla="*/ 6918233 w 8387961"/>
                <a:gd name="connsiteY6890" fmla="*/ 315147 h 3980066"/>
                <a:gd name="connsiteX6891" fmla="*/ 6945010 w 8387961"/>
                <a:gd name="connsiteY6891" fmla="*/ 325179 h 3980066"/>
                <a:gd name="connsiteX6892" fmla="*/ 6963419 w 8387961"/>
                <a:gd name="connsiteY6892" fmla="*/ 325179 h 3980066"/>
                <a:gd name="connsiteX6893" fmla="*/ 6968440 w 8387961"/>
                <a:gd name="connsiteY6893" fmla="*/ 321834 h 3980066"/>
                <a:gd name="connsiteX6894" fmla="*/ 6938316 w 8387961"/>
                <a:gd name="connsiteY6894" fmla="*/ 305113 h 3980066"/>
                <a:gd name="connsiteX6895" fmla="*/ 6919907 w 8387961"/>
                <a:gd name="connsiteY6895" fmla="*/ 293409 h 3980066"/>
                <a:gd name="connsiteX6896" fmla="*/ 6970114 w 8387961"/>
                <a:gd name="connsiteY6896" fmla="*/ 298425 h 3980066"/>
                <a:gd name="connsiteX6897" fmla="*/ 7021995 w 8387961"/>
                <a:gd name="connsiteY6897" fmla="*/ 298425 h 3980066"/>
                <a:gd name="connsiteX6898" fmla="*/ 7082243 w 8387961"/>
                <a:gd name="connsiteY6898" fmla="*/ 310129 h 3980066"/>
                <a:gd name="connsiteX6899" fmla="*/ 7140819 w 8387961"/>
                <a:gd name="connsiteY6899" fmla="*/ 321834 h 3980066"/>
                <a:gd name="connsiteX6900" fmla="*/ 7180985 w 8387961"/>
                <a:gd name="connsiteY6900" fmla="*/ 348589 h 3980066"/>
                <a:gd name="connsiteX6901" fmla="*/ 7219477 w 8387961"/>
                <a:gd name="connsiteY6901" fmla="*/ 375342 h 3980066"/>
                <a:gd name="connsiteX6902" fmla="*/ 7256295 w 8387961"/>
                <a:gd name="connsiteY6902" fmla="*/ 402097 h 3980066"/>
                <a:gd name="connsiteX6903" fmla="*/ 7294787 w 8387961"/>
                <a:gd name="connsiteY6903" fmla="*/ 430522 h 3980066"/>
                <a:gd name="connsiteX6904" fmla="*/ 7273031 w 8387961"/>
                <a:gd name="connsiteY6904" fmla="*/ 432195 h 3980066"/>
                <a:gd name="connsiteX6905" fmla="*/ 7256295 w 8387961"/>
                <a:gd name="connsiteY6905" fmla="*/ 430522 h 3980066"/>
                <a:gd name="connsiteX6906" fmla="*/ 7283073 w 8387961"/>
                <a:gd name="connsiteY6906" fmla="*/ 443899 h 3980066"/>
                <a:gd name="connsiteX6907" fmla="*/ 7284746 w 8387961"/>
                <a:gd name="connsiteY6907" fmla="*/ 440555 h 3980066"/>
                <a:gd name="connsiteX6908" fmla="*/ 7321565 w 8387961"/>
                <a:gd name="connsiteY6908" fmla="*/ 462292 h 3980066"/>
                <a:gd name="connsiteX6909" fmla="*/ 7333280 w 8387961"/>
                <a:gd name="connsiteY6909" fmla="*/ 465636 h 3980066"/>
                <a:gd name="connsiteX6910" fmla="*/ 7356710 w 8387961"/>
                <a:gd name="connsiteY6910" fmla="*/ 479013 h 3980066"/>
                <a:gd name="connsiteX6911" fmla="*/ 7380140 w 8387961"/>
                <a:gd name="connsiteY6911" fmla="*/ 490718 h 3980066"/>
                <a:gd name="connsiteX6912" fmla="*/ 7376793 w 8387961"/>
                <a:gd name="connsiteY6912" fmla="*/ 495734 h 3980066"/>
                <a:gd name="connsiteX6913" fmla="*/ 7329933 w 8387961"/>
                <a:gd name="connsiteY6913" fmla="*/ 485701 h 3980066"/>
                <a:gd name="connsiteX6914" fmla="*/ 7321565 w 8387961"/>
                <a:gd name="connsiteY6914" fmla="*/ 485701 h 3980066"/>
                <a:gd name="connsiteX6915" fmla="*/ 7333280 w 8387961"/>
                <a:gd name="connsiteY6915" fmla="*/ 490718 h 3980066"/>
                <a:gd name="connsiteX6916" fmla="*/ 7311523 w 8387961"/>
                <a:gd name="connsiteY6916" fmla="*/ 504095 h 3980066"/>
                <a:gd name="connsiteX6917" fmla="*/ 7289767 w 8387961"/>
                <a:gd name="connsiteY6917" fmla="*/ 519144 h 3980066"/>
                <a:gd name="connsiteX6918" fmla="*/ 7284746 w 8387961"/>
                <a:gd name="connsiteY6918" fmla="*/ 522489 h 3980066"/>
                <a:gd name="connsiteX6919" fmla="*/ 7286420 w 8387961"/>
                <a:gd name="connsiteY6919" fmla="*/ 530849 h 3980066"/>
                <a:gd name="connsiteX6920" fmla="*/ 7284746 w 8387961"/>
                <a:gd name="connsiteY6920" fmla="*/ 532521 h 3980066"/>
                <a:gd name="connsiteX6921" fmla="*/ 7274705 w 8387961"/>
                <a:gd name="connsiteY6921" fmla="*/ 552586 h 3980066"/>
                <a:gd name="connsiteX6922" fmla="*/ 7274705 w 8387961"/>
                <a:gd name="connsiteY6922" fmla="*/ 559275 h 3980066"/>
                <a:gd name="connsiteX6923" fmla="*/ 7236213 w 8387961"/>
                <a:gd name="connsiteY6923" fmla="*/ 542554 h 3980066"/>
                <a:gd name="connsiteX6924" fmla="*/ 7199394 w 8387961"/>
                <a:gd name="connsiteY6924" fmla="*/ 552586 h 3980066"/>
                <a:gd name="connsiteX6925" fmla="*/ 7196047 w 8387961"/>
                <a:gd name="connsiteY6925" fmla="*/ 564291 h 3980066"/>
                <a:gd name="connsiteX6926" fmla="*/ 7175964 w 8387961"/>
                <a:gd name="connsiteY6926" fmla="*/ 545898 h 3980066"/>
                <a:gd name="connsiteX6927" fmla="*/ 7165922 w 8387961"/>
                <a:gd name="connsiteY6927" fmla="*/ 555930 h 3980066"/>
                <a:gd name="connsiteX6928" fmla="*/ 7170943 w 8387961"/>
                <a:gd name="connsiteY6928" fmla="*/ 564291 h 3980066"/>
                <a:gd name="connsiteX6929" fmla="*/ 7152533 w 8387961"/>
                <a:gd name="connsiteY6929" fmla="*/ 559275 h 3980066"/>
                <a:gd name="connsiteX6930" fmla="*/ 7139145 w 8387961"/>
                <a:gd name="connsiteY6930" fmla="*/ 564291 h 3980066"/>
                <a:gd name="connsiteX6931" fmla="*/ 7150860 w 8387961"/>
                <a:gd name="connsiteY6931" fmla="*/ 582685 h 3980066"/>
                <a:gd name="connsiteX6932" fmla="*/ 7162575 w 8387961"/>
                <a:gd name="connsiteY6932" fmla="*/ 612783 h 3980066"/>
                <a:gd name="connsiteX6933" fmla="*/ 7184331 w 8387961"/>
                <a:gd name="connsiteY6933" fmla="*/ 621144 h 3980066"/>
                <a:gd name="connsiteX6934" fmla="*/ 7196047 w 8387961"/>
                <a:gd name="connsiteY6934" fmla="*/ 619471 h 3980066"/>
                <a:gd name="connsiteX6935" fmla="*/ 7221150 w 8387961"/>
                <a:gd name="connsiteY6935" fmla="*/ 649570 h 3980066"/>
                <a:gd name="connsiteX6936" fmla="*/ 7232865 w 8387961"/>
                <a:gd name="connsiteY6936" fmla="*/ 651242 h 3980066"/>
                <a:gd name="connsiteX6937" fmla="*/ 7251275 w 8387961"/>
                <a:gd name="connsiteY6937" fmla="*/ 671307 h 3980066"/>
                <a:gd name="connsiteX6938" fmla="*/ 7234539 w 8387961"/>
                <a:gd name="connsiteY6938" fmla="*/ 664619 h 3980066"/>
                <a:gd name="connsiteX6939" fmla="*/ 7234539 w 8387961"/>
                <a:gd name="connsiteY6939" fmla="*/ 659603 h 3980066"/>
                <a:gd name="connsiteX6940" fmla="*/ 7232865 w 8387961"/>
                <a:gd name="connsiteY6940" fmla="*/ 662947 h 3980066"/>
                <a:gd name="connsiteX6941" fmla="*/ 7232865 w 8387961"/>
                <a:gd name="connsiteY6941" fmla="*/ 679668 h 3980066"/>
                <a:gd name="connsiteX6942" fmla="*/ 7269684 w 8387961"/>
                <a:gd name="connsiteY6942" fmla="*/ 709766 h 3980066"/>
                <a:gd name="connsiteX6943" fmla="*/ 7242907 w 8387961"/>
                <a:gd name="connsiteY6943" fmla="*/ 721471 h 3980066"/>
                <a:gd name="connsiteX6944" fmla="*/ 7262990 w 8387961"/>
                <a:gd name="connsiteY6944" fmla="*/ 749896 h 3980066"/>
                <a:gd name="connsiteX6945" fmla="*/ 7269684 w 8387961"/>
                <a:gd name="connsiteY6945" fmla="*/ 753240 h 3980066"/>
                <a:gd name="connsiteX6946" fmla="*/ 7251275 w 8387961"/>
                <a:gd name="connsiteY6946" fmla="*/ 751568 h 3980066"/>
                <a:gd name="connsiteX6947" fmla="*/ 7242907 w 8387961"/>
                <a:gd name="connsiteY6947" fmla="*/ 756584 h 3980066"/>
                <a:gd name="connsiteX6948" fmla="*/ 7262990 w 8387961"/>
                <a:gd name="connsiteY6948" fmla="*/ 795043 h 3980066"/>
                <a:gd name="connsiteX6949" fmla="*/ 7252948 w 8387961"/>
                <a:gd name="connsiteY6949" fmla="*/ 813436 h 3980066"/>
                <a:gd name="connsiteX6950" fmla="*/ 7219477 w 8387961"/>
                <a:gd name="connsiteY6950" fmla="*/ 785010 h 3980066"/>
                <a:gd name="connsiteX6951" fmla="*/ 7184331 w 8387961"/>
                <a:gd name="connsiteY6951" fmla="*/ 754912 h 3980066"/>
                <a:gd name="connsiteX6952" fmla="*/ 7149187 w 8387961"/>
                <a:gd name="connsiteY6952" fmla="*/ 724814 h 3980066"/>
                <a:gd name="connsiteX6953" fmla="*/ 7114041 w 8387961"/>
                <a:gd name="connsiteY6953" fmla="*/ 694717 h 3980066"/>
                <a:gd name="connsiteX6954" fmla="*/ 7093959 w 8387961"/>
                <a:gd name="connsiteY6954" fmla="*/ 671307 h 3980066"/>
                <a:gd name="connsiteX6955" fmla="*/ 7075549 w 8387961"/>
                <a:gd name="connsiteY6955" fmla="*/ 646226 h 3980066"/>
                <a:gd name="connsiteX6956" fmla="*/ 7072202 w 8387961"/>
                <a:gd name="connsiteY6956" fmla="*/ 629504 h 3980066"/>
                <a:gd name="connsiteX6957" fmla="*/ 7062161 w 8387961"/>
                <a:gd name="connsiteY6957" fmla="*/ 619471 h 3980066"/>
                <a:gd name="connsiteX6958" fmla="*/ 7083917 w 8387961"/>
                <a:gd name="connsiteY6958" fmla="*/ 614455 h 3980066"/>
                <a:gd name="connsiteX6959" fmla="*/ 7085591 w 8387961"/>
                <a:gd name="connsiteY6959" fmla="*/ 586029 h 3980066"/>
                <a:gd name="connsiteX6960" fmla="*/ 7092285 w 8387961"/>
                <a:gd name="connsiteY6960" fmla="*/ 564291 h 3980066"/>
                <a:gd name="connsiteX6961" fmla="*/ 7095632 w 8387961"/>
                <a:gd name="connsiteY6961" fmla="*/ 542554 h 3980066"/>
                <a:gd name="connsiteX6962" fmla="*/ 7109021 w 8387961"/>
                <a:gd name="connsiteY6962" fmla="*/ 534194 h 3980066"/>
                <a:gd name="connsiteX6963" fmla="*/ 7092285 w 8387961"/>
                <a:gd name="connsiteY6963" fmla="*/ 514129 h 3980066"/>
                <a:gd name="connsiteX6964" fmla="*/ 7073875 w 8387961"/>
                <a:gd name="connsiteY6964" fmla="*/ 495734 h 3980066"/>
                <a:gd name="connsiteX6965" fmla="*/ 7093959 w 8387961"/>
                <a:gd name="connsiteY6965" fmla="*/ 495734 h 3980066"/>
                <a:gd name="connsiteX6966" fmla="*/ 7090611 w 8387961"/>
                <a:gd name="connsiteY6966" fmla="*/ 492390 h 3980066"/>
                <a:gd name="connsiteX6967" fmla="*/ 7052119 w 8387961"/>
                <a:gd name="connsiteY6967" fmla="*/ 489046 h 3980066"/>
                <a:gd name="connsiteX6968" fmla="*/ 7045425 w 8387961"/>
                <a:gd name="connsiteY6968" fmla="*/ 492390 h 3980066"/>
                <a:gd name="connsiteX6969" fmla="*/ 7070528 w 8387961"/>
                <a:gd name="connsiteY6969" fmla="*/ 515799 h 3980066"/>
                <a:gd name="connsiteX6970" fmla="*/ 7055466 w 8387961"/>
                <a:gd name="connsiteY6970" fmla="*/ 515799 h 3980066"/>
                <a:gd name="connsiteX6971" fmla="*/ 7043751 w 8387961"/>
                <a:gd name="connsiteY6971" fmla="*/ 542554 h 3980066"/>
                <a:gd name="connsiteX6972" fmla="*/ 7030363 w 8387961"/>
                <a:gd name="connsiteY6972" fmla="*/ 530849 h 3980066"/>
                <a:gd name="connsiteX6973" fmla="*/ 7025342 w 8387961"/>
                <a:gd name="connsiteY6973" fmla="*/ 534194 h 3980066"/>
                <a:gd name="connsiteX6974" fmla="*/ 7001912 w 8387961"/>
                <a:gd name="connsiteY6974" fmla="*/ 509112 h 3980066"/>
                <a:gd name="connsiteX6975" fmla="*/ 6991870 w 8387961"/>
                <a:gd name="connsiteY6975" fmla="*/ 512455 h 3980066"/>
                <a:gd name="connsiteX6976" fmla="*/ 6945010 w 8387961"/>
                <a:gd name="connsiteY6976" fmla="*/ 512455 h 3980066"/>
                <a:gd name="connsiteX6977" fmla="*/ 6948357 w 8387961"/>
                <a:gd name="connsiteY6977" fmla="*/ 540882 h 3980066"/>
                <a:gd name="connsiteX6978" fmla="*/ 6948357 w 8387961"/>
                <a:gd name="connsiteY6978" fmla="*/ 565964 h 3980066"/>
                <a:gd name="connsiteX6979" fmla="*/ 6955051 w 8387961"/>
                <a:gd name="connsiteY6979" fmla="*/ 574324 h 3980066"/>
                <a:gd name="connsiteX6980" fmla="*/ 6978482 w 8387961"/>
                <a:gd name="connsiteY6980" fmla="*/ 575996 h 3980066"/>
                <a:gd name="connsiteX6981" fmla="*/ 6983503 w 8387961"/>
                <a:gd name="connsiteY6981" fmla="*/ 582685 h 3980066"/>
                <a:gd name="connsiteX6982" fmla="*/ 6951705 w 8387961"/>
                <a:gd name="connsiteY6982" fmla="*/ 582685 h 3980066"/>
                <a:gd name="connsiteX6983" fmla="*/ 6933295 w 8387961"/>
                <a:gd name="connsiteY6983" fmla="*/ 589373 h 3980066"/>
                <a:gd name="connsiteX6984" fmla="*/ 6911539 w 8387961"/>
                <a:gd name="connsiteY6984" fmla="*/ 592717 h 3980066"/>
                <a:gd name="connsiteX6985" fmla="*/ 6903171 w 8387961"/>
                <a:gd name="connsiteY6985" fmla="*/ 582685 h 3980066"/>
                <a:gd name="connsiteX6986" fmla="*/ 6913212 w 8387961"/>
                <a:gd name="connsiteY6986" fmla="*/ 579340 h 3980066"/>
                <a:gd name="connsiteX6987" fmla="*/ 6881414 w 8387961"/>
                <a:gd name="connsiteY6987" fmla="*/ 570979 h 3980066"/>
                <a:gd name="connsiteX6988" fmla="*/ 6839575 w 8387961"/>
                <a:gd name="connsiteY6988" fmla="*/ 569307 h 3980066"/>
                <a:gd name="connsiteX6989" fmla="*/ 6842922 w 8387961"/>
                <a:gd name="connsiteY6989" fmla="*/ 574324 h 3980066"/>
                <a:gd name="connsiteX6990" fmla="*/ 6842922 w 8387961"/>
                <a:gd name="connsiteY6990" fmla="*/ 581012 h 3980066"/>
                <a:gd name="connsiteX6991" fmla="*/ 6789367 w 8387961"/>
                <a:gd name="connsiteY6991" fmla="*/ 575996 h 3980066"/>
                <a:gd name="connsiteX6992" fmla="*/ 6784347 w 8387961"/>
                <a:gd name="connsiteY6992" fmla="*/ 581012 h 3980066"/>
                <a:gd name="connsiteX6993" fmla="*/ 6772632 w 8387961"/>
                <a:gd name="connsiteY6993" fmla="*/ 574324 h 3980066"/>
                <a:gd name="connsiteX6994" fmla="*/ 6764264 w 8387961"/>
                <a:gd name="connsiteY6994" fmla="*/ 574324 h 3980066"/>
                <a:gd name="connsiteX6995" fmla="*/ 6737487 w 8387961"/>
                <a:gd name="connsiteY6995" fmla="*/ 581012 h 3980066"/>
                <a:gd name="connsiteX6996" fmla="*/ 6709036 w 8387961"/>
                <a:gd name="connsiteY6996" fmla="*/ 584356 h 3980066"/>
                <a:gd name="connsiteX6997" fmla="*/ 6698995 w 8387961"/>
                <a:gd name="connsiteY6997" fmla="*/ 609439 h 3980066"/>
                <a:gd name="connsiteX6998" fmla="*/ 6704015 w 8387961"/>
                <a:gd name="connsiteY6998" fmla="*/ 622816 h 3980066"/>
                <a:gd name="connsiteX6999" fmla="*/ 6698995 w 8387961"/>
                <a:gd name="connsiteY6999" fmla="*/ 639537 h 3980066"/>
                <a:gd name="connsiteX7000" fmla="*/ 6690627 w 8387961"/>
                <a:gd name="connsiteY7000" fmla="*/ 656258 h 3980066"/>
                <a:gd name="connsiteX7001" fmla="*/ 6682259 w 8387961"/>
                <a:gd name="connsiteY7001" fmla="*/ 683012 h 3980066"/>
                <a:gd name="connsiteX7002" fmla="*/ 6673891 w 8387961"/>
                <a:gd name="connsiteY7002" fmla="*/ 706421 h 3980066"/>
                <a:gd name="connsiteX7003" fmla="*/ 6712383 w 8387961"/>
                <a:gd name="connsiteY7003" fmla="*/ 713110 h 3980066"/>
                <a:gd name="connsiteX7004" fmla="*/ 6732466 w 8387961"/>
                <a:gd name="connsiteY7004" fmla="*/ 731503 h 3980066"/>
                <a:gd name="connsiteX7005" fmla="*/ 6734139 w 8387961"/>
                <a:gd name="connsiteY7005" fmla="*/ 726487 h 3980066"/>
                <a:gd name="connsiteX7006" fmla="*/ 6749202 w 8387961"/>
                <a:gd name="connsiteY7006" fmla="*/ 731503 h 3980066"/>
                <a:gd name="connsiteX7007" fmla="*/ 6749202 w 8387961"/>
                <a:gd name="connsiteY7007" fmla="*/ 741536 h 3980066"/>
                <a:gd name="connsiteX7008" fmla="*/ 6769285 w 8387961"/>
                <a:gd name="connsiteY7008" fmla="*/ 731503 h 3980066"/>
                <a:gd name="connsiteX7009" fmla="*/ 6760917 w 8387961"/>
                <a:gd name="connsiteY7009" fmla="*/ 719799 h 3980066"/>
                <a:gd name="connsiteX7010" fmla="*/ 6791041 w 8387961"/>
                <a:gd name="connsiteY7010" fmla="*/ 723143 h 3980066"/>
                <a:gd name="connsiteX7011" fmla="*/ 6849616 w 8387961"/>
                <a:gd name="connsiteY7011" fmla="*/ 753240 h 3980066"/>
                <a:gd name="connsiteX7012" fmla="*/ 6834554 w 8387961"/>
                <a:gd name="connsiteY7012" fmla="*/ 753240 h 3980066"/>
                <a:gd name="connsiteX7013" fmla="*/ 6861331 w 8387961"/>
                <a:gd name="connsiteY7013" fmla="*/ 769961 h 3980066"/>
                <a:gd name="connsiteX7014" fmla="*/ 6878067 w 8387961"/>
                <a:gd name="connsiteY7014" fmla="*/ 790027 h 3980066"/>
                <a:gd name="connsiteX7015" fmla="*/ 6884761 w 8387961"/>
                <a:gd name="connsiteY7015" fmla="*/ 806748 h 3980066"/>
                <a:gd name="connsiteX7016" fmla="*/ 6891456 w 8387961"/>
                <a:gd name="connsiteY7016" fmla="*/ 826813 h 3980066"/>
                <a:gd name="connsiteX7017" fmla="*/ 6904844 w 8387961"/>
                <a:gd name="connsiteY7017" fmla="*/ 843535 h 3980066"/>
                <a:gd name="connsiteX7018" fmla="*/ 6918233 w 8387961"/>
                <a:gd name="connsiteY7018" fmla="*/ 866944 h 3980066"/>
                <a:gd name="connsiteX7019" fmla="*/ 6929948 w 8387961"/>
                <a:gd name="connsiteY7019" fmla="*/ 892026 h 3980066"/>
                <a:gd name="connsiteX7020" fmla="*/ 6928274 w 8387961"/>
                <a:gd name="connsiteY7020" fmla="*/ 920452 h 3980066"/>
                <a:gd name="connsiteX7021" fmla="*/ 6923254 w 8387961"/>
                <a:gd name="connsiteY7021" fmla="*/ 947206 h 3980066"/>
                <a:gd name="connsiteX7022" fmla="*/ 6921580 w 8387961"/>
                <a:gd name="connsiteY7022" fmla="*/ 975632 h 3980066"/>
                <a:gd name="connsiteX7023" fmla="*/ 6918233 w 8387961"/>
                <a:gd name="connsiteY7023" fmla="*/ 1004058 h 3980066"/>
                <a:gd name="connsiteX7024" fmla="*/ 6909865 w 8387961"/>
                <a:gd name="connsiteY7024" fmla="*/ 1024123 h 3980066"/>
                <a:gd name="connsiteX7025" fmla="*/ 6901497 w 8387961"/>
                <a:gd name="connsiteY7025" fmla="*/ 1044189 h 3980066"/>
                <a:gd name="connsiteX7026" fmla="*/ 6873046 w 8387961"/>
                <a:gd name="connsiteY7026" fmla="*/ 1054221 h 3980066"/>
                <a:gd name="connsiteX7027" fmla="*/ 6854637 w 8387961"/>
                <a:gd name="connsiteY7027" fmla="*/ 1052549 h 3980066"/>
                <a:gd name="connsiteX7028" fmla="*/ 6847943 w 8387961"/>
                <a:gd name="connsiteY7028" fmla="*/ 1040845 h 3980066"/>
                <a:gd name="connsiteX7029" fmla="*/ 6839575 w 8387961"/>
                <a:gd name="connsiteY7029" fmla="*/ 1042517 h 3980066"/>
                <a:gd name="connsiteX7030" fmla="*/ 6827860 w 8387961"/>
                <a:gd name="connsiteY7030" fmla="*/ 1060910 h 3980066"/>
                <a:gd name="connsiteX7031" fmla="*/ 6822839 w 8387961"/>
                <a:gd name="connsiteY7031" fmla="*/ 1060910 h 3980066"/>
                <a:gd name="connsiteX7032" fmla="*/ 6827860 w 8387961"/>
                <a:gd name="connsiteY7032" fmla="*/ 1070943 h 3980066"/>
                <a:gd name="connsiteX7033" fmla="*/ 6821165 w 8387961"/>
                <a:gd name="connsiteY7033" fmla="*/ 1065926 h 3980066"/>
                <a:gd name="connsiteX7034" fmla="*/ 6815510 w 8387961"/>
                <a:gd name="connsiteY7034" fmla="*/ 1058863 h 3980066"/>
                <a:gd name="connsiteX7035" fmla="*/ 6813726 w 8387961"/>
                <a:gd name="connsiteY7035" fmla="*/ 1060053 h 3980066"/>
                <a:gd name="connsiteX7036" fmla="*/ 6817564 w 8387961"/>
                <a:gd name="connsiteY7036" fmla="*/ 1064853 h 3980066"/>
                <a:gd name="connsiteX7037" fmla="*/ 6820501 w 8387961"/>
                <a:gd name="connsiteY7037" fmla="*/ 1066408 h 3980066"/>
                <a:gd name="connsiteX7038" fmla="*/ 6827121 w 8387961"/>
                <a:gd name="connsiteY7038" fmla="*/ 1071374 h 3980066"/>
                <a:gd name="connsiteX7039" fmla="*/ 6812226 w 8387961"/>
                <a:gd name="connsiteY7039" fmla="*/ 1086273 h 3980066"/>
                <a:gd name="connsiteX7040" fmla="*/ 6822156 w 8387961"/>
                <a:gd name="connsiteY7040" fmla="*/ 1114416 h 3980066"/>
                <a:gd name="connsiteX7041" fmla="*/ 6810571 w 8387961"/>
                <a:gd name="connsiteY7041" fmla="*/ 1132626 h 3980066"/>
                <a:gd name="connsiteX7042" fmla="*/ 6797331 w 8387961"/>
                <a:gd name="connsiteY7042" fmla="*/ 1150836 h 3980066"/>
                <a:gd name="connsiteX7043" fmla="*/ 6800641 w 8387961"/>
                <a:gd name="connsiteY7043" fmla="*/ 1162424 h 3980066"/>
                <a:gd name="connsiteX7044" fmla="*/ 6828776 w 8387961"/>
                <a:gd name="connsiteY7044" fmla="*/ 1177323 h 3980066"/>
                <a:gd name="connsiteX7045" fmla="*/ 6818846 w 8387961"/>
                <a:gd name="connsiteY7045" fmla="*/ 1185600 h 3980066"/>
                <a:gd name="connsiteX7046" fmla="*/ 6798986 w 8387961"/>
                <a:gd name="connsiteY7046" fmla="*/ 1195533 h 3980066"/>
                <a:gd name="connsiteX7047" fmla="*/ 6798986 w 8387961"/>
                <a:gd name="connsiteY7047" fmla="*/ 1196412 h 3980066"/>
                <a:gd name="connsiteX7048" fmla="*/ 6818532 w 8387961"/>
                <a:gd name="connsiteY7048" fmla="*/ 1186475 h 3980066"/>
                <a:gd name="connsiteX7049" fmla="*/ 6828475 w 8387961"/>
                <a:gd name="connsiteY7049" fmla="*/ 1178051 h 3980066"/>
                <a:gd name="connsiteX7050" fmla="*/ 6856645 w 8387961"/>
                <a:gd name="connsiteY7050" fmla="*/ 1208378 h 3980066"/>
                <a:gd name="connsiteX7051" fmla="*/ 6883159 w 8387961"/>
                <a:gd name="connsiteY7051" fmla="*/ 1237021 h 3980066"/>
                <a:gd name="connsiteX7052" fmla="*/ 6898073 w 8387961"/>
                <a:gd name="connsiteY7052" fmla="*/ 1279142 h 3980066"/>
                <a:gd name="connsiteX7053" fmla="*/ 6888130 w 8387961"/>
                <a:gd name="connsiteY7053" fmla="*/ 1285882 h 3980066"/>
                <a:gd name="connsiteX7054" fmla="*/ 6876531 w 8387961"/>
                <a:gd name="connsiteY7054" fmla="*/ 1292621 h 3980066"/>
                <a:gd name="connsiteX7055" fmla="*/ 6869902 w 8387961"/>
                <a:gd name="connsiteY7055" fmla="*/ 1289251 h 3980066"/>
                <a:gd name="connsiteX7056" fmla="*/ 6866588 w 8387961"/>
                <a:gd name="connsiteY7056" fmla="*/ 1294306 h 3980066"/>
                <a:gd name="connsiteX7057" fmla="*/ 6863274 w 8387961"/>
                <a:gd name="connsiteY7057" fmla="*/ 1295991 h 3980066"/>
                <a:gd name="connsiteX7058" fmla="*/ 6859960 w 8387961"/>
                <a:gd name="connsiteY7058" fmla="*/ 1297676 h 3980066"/>
                <a:gd name="connsiteX7059" fmla="*/ 6856645 w 8387961"/>
                <a:gd name="connsiteY7059" fmla="*/ 1302730 h 3980066"/>
                <a:gd name="connsiteX7060" fmla="*/ 6853331 w 8387961"/>
                <a:gd name="connsiteY7060" fmla="*/ 1297676 h 3980066"/>
                <a:gd name="connsiteX7061" fmla="*/ 6846703 w 8387961"/>
                <a:gd name="connsiteY7061" fmla="*/ 1302730 h 3980066"/>
                <a:gd name="connsiteX7062" fmla="*/ 6840075 w 8387961"/>
                <a:gd name="connsiteY7062" fmla="*/ 1306100 h 3980066"/>
                <a:gd name="connsiteX7063" fmla="*/ 6836760 w 8387961"/>
                <a:gd name="connsiteY7063" fmla="*/ 1299360 h 3980066"/>
                <a:gd name="connsiteX7064" fmla="*/ 6836760 w 8387961"/>
                <a:gd name="connsiteY7064" fmla="*/ 1295991 h 3980066"/>
                <a:gd name="connsiteX7065" fmla="*/ 6836760 w 8387961"/>
                <a:gd name="connsiteY7065" fmla="*/ 1294306 h 3980066"/>
                <a:gd name="connsiteX7066" fmla="*/ 6830132 w 8387961"/>
                <a:gd name="connsiteY7066" fmla="*/ 1287566 h 3980066"/>
                <a:gd name="connsiteX7067" fmla="*/ 6826818 w 8387961"/>
                <a:gd name="connsiteY7067" fmla="*/ 1269033 h 3980066"/>
                <a:gd name="connsiteX7068" fmla="*/ 6823503 w 8387961"/>
                <a:gd name="connsiteY7068" fmla="*/ 1262294 h 3980066"/>
                <a:gd name="connsiteX7069" fmla="*/ 6823503 w 8387961"/>
                <a:gd name="connsiteY7069" fmla="*/ 1257239 h 3980066"/>
                <a:gd name="connsiteX7070" fmla="*/ 6808590 w 8387961"/>
                <a:gd name="connsiteY7070" fmla="*/ 1238706 h 3980066"/>
                <a:gd name="connsiteX7071" fmla="*/ 6801961 w 8387961"/>
                <a:gd name="connsiteY7071" fmla="*/ 1233651 h 3980066"/>
                <a:gd name="connsiteX7072" fmla="*/ 6806933 w 8387961"/>
                <a:gd name="connsiteY7072" fmla="*/ 1231966 h 3980066"/>
                <a:gd name="connsiteX7073" fmla="*/ 6818532 w 8387961"/>
                <a:gd name="connsiteY7073" fmla="*/ 1235336 h 3980066"/>
                <a:gd name="connsiteX7074" fmla="*/ 6816875 w 8387961"/>
                <a:gd name="connsiteY7074" fmla="*/ 1231966 h 3980066"/>
                <a:gd name="connsiteX7075" fmla="*/ 6800304 w 8387961"/>
                <a:gd name="connsiteY7075" fmla="*/ 1206693 h 3980066"/>
                <a:gd name="connsiteX7076" fmla="*/ 6798647 w 8387961"/>
                <a:gd name="connsiteY7076" fmla="*/ 1203324 h 3980066"/>
                <a:gd name="connsiteX7077" fmla="*/ 6798647 w 8387961"/>
                <a:gd name="connsiteY7077" fmla="*/ 1202087 h 3980066"/>
                <a:gd name="connsiteX7078" fmla="*/ 6774161 w 8387961"/>
                <a:gd name="connsiteY7078" fmla="*/ 1197189 h 3980066"/>
                <a:gd name="connsiteX7079" fmla="*/ 6769197 w 8387961"/>
                <a:gd name="connsiteY7079" fmla="*/ 1202155 h 3980066"/>
                <a:gd name="connsiteX7080" fmla="*/ 6757612 w 8387961"/>
                <a:gd name="connsiteY7080" fmla="*/ 1195533 h 3980066"/>
                <a:gd name="connsiteX7081" fmla="*/ 6749337 w 8387961"/>
                <a:gd name="connsiteY7081" fmla="*/ 1192222 h 3980066"/>
                <a:gd name="connsiteX7082" fmla="*/ 6754302 w 8387961"/>
                <a:gd name="connsiteY7082" fmla="*/ 1175668 h 3980066"/>
                <a:gd name="connsiteX7083" fmla="*/ 6757612 w 8387961"/>
                <a:gd name="connsiteY7083" fmla="*/ 1175668 h 3980066"/>
                <a:gd name="connsiteX7084" fmla="*/ 6747682 w 8387961"/>
                <a:gd name="connsiteY7084" fmla="*/ 1167390 h 3980066"/>
                <a:gd name="connsiteX7085" fmla="*/ 6741062 w 8387961"/>
                <a:gd name="connsiteY7085" fmla="*/ 1152491 h 3980066"/>
                <a:gd name="connsiteX7086" fmla="*/ 6724512 w 8387961"/>
                <a:gd name="connsiteY7086" fmla="*/ 1147525 h 3980066"/>
                <a:gd name="connsiteX7087" fmla="*/ 6711806 w 8387961"/>
                <a:gd name="connsiteY7087" fmla="*/ 1134816 h 3980066"/>
                <a:gd name="connsiteX7088" fmla="*/ 6710051 w 8387961"/>
                <a:gd name="connsiteY7088" fmla="*/ 1137010 h 3980066"/>
                <a:gd name="connsiteX7089" fmla="*/ 6698345 w 8387961"/>
                <a:gd name="connsiteY7089" fmla="*/ 1145375 h 3980066"/>
                <a:gd name="connsiteX7090" fmla="*/ 6681623 w 8387961"/>
                <a:gd name="connsiteY7090" fmla="*/ 1157086 h 3980066"/>
                <a:gd name="connsiteX7091" fmla="*/ 6666574 w 8387961"/>
                <a:gd name="connsiteY7091" fmla="*/ 1167124 h 3980066"/>
                <a:gd name="connsiteX7092" fmla="*/ 6648180 w 8387961"/>
                <a:gd name="connsiteY7092" fmla="*/ 1175489 h 3980066"/>
                <a:gd name="connsiteX7093" fmla="*/ 6658213 w 8387961"/>
                <a:gd name="connsiteY7093" fmla="*/ 1158759 h 3980066"/>
                <a:gd name="connsiteX7094" fmla="*/ 6641491 w 8387961"/>
                <a:gd name="connsiteY7094" fmla="*/ 1153740 h 3980066"/>
                <a:gd name="connsiteX7095" fmla="*/ 6648180 w 8387961"/>
                <a:gd name="connsiteY7095" fmla="*/ 1123627 h 3980066"/>
                <a:gd name="connsiteX7096" fmla="*/ 6633130 w 8387961"/>
                <a:gd name="connsiteY7096" fmla="*/ 1115262 h 3980066"/>
                <a:gd name="connsiteX7097" fmla="*/ 6618080 w 8387961"/>
                <a:gd name="connsiteY7097" fmla="*/ 1118608 h 3980066"/>
                <a:gd name="connsiteX7098" fmla="*/ 6606375 w 8387961"/>
                <a:gd name="connsiteY7098" fmla="*/ 1137010 h 3980066"/>
                <a:gd name="connsiteX7099" fmla="*/ 6592998 w 8387961"/>
                <a:gd name="connsiteY7099" fmla="*/ 1157086 h 3980066"/>
                <a:gd name="connsiteX7100" fmla="*/ 6576276 w 8387961"/>
                <a:gd name="connsiteY7100" fmla="*/ 1167124 h 3980066"/>
                <a:gd name="connsiteX7101" fmla="*/ 6561226 w 8387961"/>
                <a:gd name="connsiteY7101" fmla="*/ 1168797 h 3980066"/>
                <a:gd name="connsiteX7102" fmla="*/ 6569587 w 8387961"/>
                <a:gd name="connsiteY7102" fmla="*/ 1188873 h 3980066"/>
                <a:gd name="connsiteX7103" fmla="*/ 6606375 w 8387961"/>
                <a:gd name="connsiteY7103" fmla="*/ 1198911 h 3980066"/>
                <a:gd name="connsiteX7104" fmla="*/ 6618080 w 8387961"/>
                <a:gd name="connsiteY7104" fmla="*/ 1224006 h 3980066"/>
                <a:gd name="connsiteX7105" fmla="*/ 6636474 w 8387961"/>
                <a:gd name="connsiteY7105" fmla="*/ 1218987 h 3980066"/>
                <a:gd name="connsiteX7106" fmla="*/ 6656541 w 8387961"/>
                <a:gd name="connsiteY7106" fmla="*/ 1205603 h 3980066"/>
                <a:gd name="connsiteX7107" fmla="*/ 6688312 w 8387961"/>
                <a:gd name="connsiteY7107" fmla="*/ 1217314 h 3980066"/>
                <a:gd name="connsiteX7108" fmla="*/ 6703362 w 8387961"/>
                <a:gd name="connsiteY7108" fmla="*/ 1220660 h 3980066"/>
                <a:gd name="connsiteX7109" fmla="*/ 6703362 w 8387961"/>
                <a:gd name="connsiteY7109" fmla="*/ 1235717 h 3980066"/>
                <a:gd name="connsiteX7110" fmla="*/ 6689984 w 8387961"/>
                <a:gd name="connsiteY7110" fmla="*/ 1234044 h 3980066"/>
                <a:gd name="connsiteX7111" fmla="*/ 6673263 w 8387961"/>
                <a:gd name="connsiteY7111" fmla="*/ 1244082 h 3980066"/>
                <a:gd name="connsiteX7112" fmla="*/ 6663229 w 8387961"/>
                <a:gd name="connsiteY7112" fmla="*/ 1257466 h 3980066"/>
                <a:gd name="connsiteX7113" fmla="*/ 6659885 w 8387961"/>
                <a:gd name="connsiteY7113" fmla="*/ 1267504 h 3980066"/>
                <a:gd name="connsiteX7114" fmla="*/ 6656541 w 8387961"/>
                <a:gd name="connsiteY7114" fmla="*/ 1297617 h 3980066"/>
                <a:gd name="connsiteX7115" fmla="*/ 6691657 w 8387961"/>
                <a:gd name="connsiteY7115" fmla="*/ 1319366 h 3980066"/>
                <a:gd name="connsiteX7116" fmla="*/ 6710051 w 8387961"/>
                <a:gd name="connsiteY7116" fmla="*/ 1341115 h 3980066"/>
                <a:gd name="connsiteX7117" fmla="*/ 6726773 w 8387961"/>
                <a:gd name="connsiteY7117" fmla="*/ 1366210 h 3980066"/>
                <a:gd name="connsiteX7118" fmla="*/ 6753527 w 8387961"/>
                <a:gd name="connsiteY7118" fmla="*/ 1389632 h 3980066"/>
                <a:gd name="connsiteX7119" fmla="*/ 6713395 w 8387961"/>
                <a:gd name="connsiteY7119" fmla="*/ 1377921 h 3980066"/>
                <a:gd name="connsiteX7120" fmla="*/ 6716739 w 8387961"/>
                <a:gd name="connsiteY7120" fmla="*/ 1379594 h 3980066"/>
                <a:gd name="connsiteX7121" fmla="*/ 6740150 w 8387961"/>
                <a:gd name="connsiteY7121" fmla="*/ 1396324 h 3980066"/>
                <a:gd name="connsiteX7122" fmla="*/ 6763561 w 8387961"/>
                <a:gd name="connsiteY7122" fmla="*/ 1411381 h 3980066"/>
                <a:gd name="connsiteX7123" fmla="*/ 6740150 w 8387961"/>
                <a:gd name="connsiteY7123" fmla="*/ 1428111 h 3980066"/>
                <a:gd name="connsiteX7124" fmla="*/ 6731789 w 8387961"/>
                <a:gd name="connsiteY7124" fmla="*/ 1434803 h 3980066"/>
                <a:gd name="connsiteX7125" fmla="*/ 6746839 w 8387961"/>
                <a:gd name="connsiteY7125" fmla="*/ 1436476 h 3980066"/>
                <a:gd name="connsiteX7126" fmla="*/ 6761889 w 8387961"/>
                <a:gd name="connsiteY7126" fmla="*/ 1434803 h 3980066"/>
                <a:gd name="connsiteX7127" fmla="*/ 6780283 w 8387961"/>
                <a:gd name="connsiteY7127" fmla="*/ 1444841 h 3980066"/>
                <a:gd name="connsiteX7128" fmla="*/ 6770249 w 8387961"/>
                <a:gd name="connsiteY7128" fmla="*/ 1456552 h 3980066"/>
                <a:gd name="connsiteX7129" fmla="*/ 6780283 w 8387961"/>
                <a:gd name="connsiteY7129" fmla="*/ 1456552 h 3980066"/>
                <a:gd name="connsiteX7130" fmla="*/ 6778610 w 8387961"/>
                <a:gd name="connsiteY7130" fmla="*/ 1459897 h 3980066"/>
                <a:gd name="connsiteX7131" fmla="*/ 6771922 w 8387961"/>
                <a:gd name="connsiteY7131" fmla="*/ 1466589 h 3980066"/>
                <a:gd name="connsiteX7132" fmla="*/ 6773594 w 8387961"/>
                <a:gd name="connsiteY7132" fmla="*/ 1471608 h 3980066"/>
                <a:gd name="connsiteX7133" fmla="*/ 6776938 w 8387961"/>
                <a:gd name="connsiteY7133" fmla="*/ 1478300 h 3980066"/>
                <a:gd name="connsiteX7134" fmla="*/ 6771922 w 8387961"/>
                <a:gd name="connsiteY7134" fmla="*/ 1478300 h 3980066"/>
                <a:gd name="connsiteX7135" fmla="*/ 6778610 w 8387961"/>
                <a:gd name="connsiteY7135" fmla="*/ 1490011 h 3980066"/>
                <a:gd name="connsiteX7136" fmla="*/ 6771922 w 8387961"/>
                <a:gd name="connsiteY7136" fmla="*/ 1491684 h 3980066"/>
                <a:gd name="connsiteX7137" fmla="*/ 6758544 w 8387961"/>
                <a:gd name="connsiteY7137" fmla="*/ 1498376 h 3980066"/>
                <a:gd name="connsiteX7138" fmla="*/ 6763561 w 8387961"/>
                <a:gd name="connsiteY7138" fmla="*/ 1508414 h 3980066"/>
                <a:gd name="connsiteX7139" fmla="*/ 6760216 w 8387961"/>
                <a:gd name="connsiteY7139" fmla="*/ 1521798 h 3980066"/>
                <a:gd name="connsiteX7140" fmla="*/ 6750183 w 8387961"/>
                <a:gd name="connsiteY7140" fmla="*/ 1545220 h 3980066"/>
                <a:gd name="connsiteX7141" fmla="*/ 6746839 w 8387961"/>
                <a:gd name="connsiteY7141" fmla="*/ 1546893 h 3980066"/>
                <a:gd name="connsiteX7142" fmla="*/ 6751855 w 8387961"/>
                <a:gd name="connsiteY7142" fmla="*/ 1551912 h 3980066"/>
                <a:gd name="connsiteX7143" fmla="*/ 6740150 w 8387961"/>
                <a:gd name="connsiteY7143" fmla="*/ 1558604 h 3980066"/>
                <a:gd name="connsiteX7144" fmla="*/ 6738478 w 8387961"/>
                <a:gd name="connsiteY7144" fmla="*/ 1558604 h 3980066"/>
                <a:gd name="connsiteX7145" fmla="*/ 6750183 w 8387961"/>
                <a:gd name="connsiteY7145" fmla="*/ 1561950 h 3980066"/>
                <a:gd name="connsiteX7146" fmla="*/ 6751855 w 8387961"/>
                <a:gd name="connsiteY7146" fmla="*/ 1578680 h 3980066"/>
                <a:gd name="connsiteX7147" fmla="*/ 6743494 w 8387961"/>
                <a:gd name="connsiteY7147" fmla="*/ 1577007 h 3980066"/>
                <a:gd name="connsiteX7148" fmla="*/ 6743494 w 8387961"/>
                <a:gd name="connsiteY7148" fmla="*/ 1582026 h 3980066"/>
                <a:gd name="connsiteX7149" fmla="*/ 6738478 w 8387961"/>
                <a:gd name="connsiteY7149" fmla="*/ 1588718 h 3980066"/>
                <a:gd name="connsiteX7150" fmla="*/ 6736806 w 8387961"/>
                <a:gd name="connsiteY7150" fmla="*/ 1592064 h 3980066"/>
                <a:gd name="connsiteX7151" fmla="*/ 6733461 w 8387961"/>
                <a:gd name="connsiteY7151" fmla="*/ 1602102 h 3980066"/>
                <a:gd name="connsiteX7152" fmla="*/ 6720084 w 8387961"/>
                <a:gd name="connsiteY7152" fmla="*/ 1605448 h 3980066"/>
                <a:gd name="connsiteX7153" fmla="*/ 6718412 w 8387961"/>
                <a:gd name="connsiteY7153" fmla="*/ 1608794 h 3980066"/>
                <a:gd name="connsiteX7154" fmla="*/ 6720084 w 8387961"/>
                <a:gd name="connsiteY7154" fmla="*/ 1615486 h 3980066"/>
                <a:gd name="connsiteX7155" fmla="*/ 6711723 w 8387961"/>
                <a:gd name="connsiteY7155" fmla="*/ 1625523 h 3980066"/>
                <a:gd name="connsiteX7156" fmla="*/ 6689984 w 8387961"/>
                <a:gd name="connsiteY7156" fmla="*/ 1640580 h 3980066"/>
                <a:gd name="connsiteX7157" fmla="*/ 6691657 w 8387961"/>
                <a:gd name="connsiteY7157" fmla="*/ 1642253 h 3980066"/>
                <a:gd name="connsiteX7158" fmla="*/ 6681623 w 8387961"/>
                <a:gd name="connsiteY7158" fmla="*/ 1650618 h 3980066"/>
                <a:gd name="connsiteX7159" fmla="*/ 6668246 w 8387961"/>
                <a:gd name="connsiteY7159" fmla="*/ 1655637 h 3980066"/>
                <a:gd name="connsiteX7160" fmla="*/ 6666574 w 8387961"/>
                <a:gd name="connsiteY7160" fmla="*/ 1655637 h 3980066"/>
                <a:gd name="connsiteX7161" fmla="*/ 6661557 w 8387961"/>
                <a:gd name="connsiteY7161" fmla="*/ 1658983 h 3980066"/>
                <a:gd name="connsiteX7162" fmla="*/ 6649852 w 8387961"/>
                <a:gd name="connsiteY7162" fmla="*/ 1660656 h 3980066"/>
                <a:gd name="connsiteX7163" fmla="*/ 6646507 w 8387961"/>
                <a:gd name="connsiteY7163" fmla="*/ 1658983 h 3980066"/>
                <a:gd name="connsiteX7164" fmla="*/ 6639819 w 8387961"/>
                <a:gd name="connsiteY7164" fmla="*/ 1662329 h 3980066"/>
                <a:gd name="connsiteX7165" fmla="*/ 6636474 w 8387961"/>
                <a:gd name="connsiteY7165" fmla="*/ 1667348 h 3980066"/>
                <a:gd name="connsiteX7166" fmla="*/ 6628113 w 8387961"/>
                <a:gd name="connsiteY7166" fmla="*/ 1667348 h 3980066"/>
                <a:gd name="connsiteX7167" fmla="*/ 6613064 w 8387961"/>
                <a:gd name="connsiteY7167" fmla="*/ 1647272 h 3980066"/>
                <a:gd name="connsiteX7168" fmla="*/ 6608047 w 8387961"/>
                <a:gd name="connsiteY7168" fmla="*/ 1655637 h 3980066"/>
                <a:gd name="connsiteX7169" fmla="*/ 6613064 w 8387961"/>
                <a:gd name="connsiteY7169" fmla="*/ 1675713 h 3980066"/>
                <a:gd name="connsiteX7170" fmla="*/ 6608047 w 8387961"/>
                <a:gd name="connsiteY7170" fmla="*/ 1667348 h 3980066"/>
                <a:gd name="connsiteX7171" fmla="*/ 6608047 w 8387961"/>
                <a:gd name="connsiteY7171" fmla="*/ 1679059 h 3980066"/>
                <a:gd name="connsiteX7172" fmla="*/ 6603031 w 8387961"/>
                <a:gd name="connsiteY7172" fmla="*/ 1677386 h 3980066"/>
                <a:gd name="connsiteX7173" fmla="*/ 6592998 w 8387961"/>
                <a:gd name="connsiteY7173" fmla="*/ 1687424 h 3980066"/>
                <a:gd name="connsiteX7174" fmla="*/ 6587981 w 8387961"/>
                <a:gd name="connsiteY7174" fmla="*/ 1680732 h 3980066"/>
                <a:gd name="connsiteX7175" fmla="*/ 6582965 w 8387961"/>
                <a:gd name="connsiteY7175" fmla="*/ 1687424 h 3980066"/>
                <a:gd name="connsiteX7176" fmla="*/ 6576276 w 8387961"/>
                <a:gd name="connsiteY7176" fmla="*/ 1685751 h 3980066"/>
                <a:gd name="connsiteX7177" fmla="*/ 6559554 w 8387961"/>
                <a:gd name="connsiteY7177" fmla="*/ 1695789 h 3980066"/>
                <a:gd name="connsiteX7178" fmla="*/ 6546176 w 8387961"/>
                <a:gd name="connsiteY7178" fmla="*/ 1699135 h 3980066"/>
                <a:gd name="connsiteX7179" fmla="*/ 6541160 w 8387961"/>
                <a:gd name="connsiteY7179" fmla="*/ 1700808 h 3980066"/>
                <a:gd name="connsiteX7180" fmla="*/ 6539488 w 8387961"/>
                <a:gd name="connsiteY7180" fmla="*/ 1715865 h 3980066"/>
                <a:gd name="connsiteX7181" fmla="*/ 6546176 w 8387961"/>
                <a:gd name="connsiteY7181" fmla="*/ 1730922 h 3980066"/>
                <a:gd name="connsiteX7182" fmla="*/ 6531127 w 8387961"/>
                <a:gd name="connsiteY7182" fmla="*/ 1729249 h 3980066"/>
                <a:gd name="connsiteX7183" fmla="*/ 6526110 w 8387961"/>
                <a:gd name="connsiteY7183" fmla="*/ 1699135 h 3980066"/>
                <a:gd name="connsiteX7184" fmla="*/ 6517749 w 8387961"/>
                <a:gd name="connsiteY7184" fmla="*/ 1692443 h 3980066"/>
                <a:gd name="connsiteX7185" fmla="*/ 6507716 w 8387961"/>
                <a:gd name="connsiteY7185" fmla="*/ 1695789 h 3980066"/>
                <a:gd name="connsiteX7186" fmla="*/ 6497683 w 8387961"/>
                <a:gd name="connsiteY7186" fmla="*/ 1690770 h 3980066"/>
                <a:gd name="connsiteX7187" fmla="*/ 6487650 w 8387961"/>
                <a:gd name="connsiteY7187" fmla="*/ 1685751 h 3980066"/>
                <a:gd name="connsiteX7188" fmla="*/ 6485978 w 8387961"/>
                <a:gd name="connsiteY7188" fmla="*/ 1689097 h 3980066"/>
                <a:gd name="connsiteX7189" fmla="*/ 6476052 w 8387961"/>
                <a:gd name="connsiteY7189" fmla="*/ 1692408 h 3980066"/>
                <a:gd name="connsiteX7190" fmla="*/ 6462903 w 8387961"/>
                <a:gd name="connsiteY7190" fmla="*/ 1704116 h 3980066"/>
                <a:gd name="connsiteX7191" fmla="*/ 6449542 w 8387961"/>
                <a:gd name="connsiteY7191" fmla="*/ 1710809 h 3980066"/>
                <a:gd name="connsiteX7192" fmla="*/ 6449542 w 8387961"/>
                <a:gd name="connsiteY7192" fmla="*/ 1714155 h 3980066"/>
                <a:gd name="connsiteX7193" fmla="*/ 6439520 w 8387961"/>
                <a:gd name="connsiteY7193" fmla="*/ 1739253 h 3980066"/>
                <a:gd name="connsiteX7194" fmla="*/ 6429499 w 8387961"/>
                <a:gd name="connsiteY7194" fmla="*/ 1766024 h 3980066"/>
                <a:gd name="connsiteX7195" fmla="*/ 6449542 w 8387961"/>
                <a:gd name="connsiteY7195" fmla="*/ 1791122 h 3980066"/>
                <a:gd name="connsiteX7196" fmla="*/ 6454552 w 8387961"/>
                <a:gd name="connsiteY7196" fmla="*/ 1807854 h 3980066"/>
                <a:gd name="connsiteX7197" fmla="*/ 6471254 w 8387961"/>
                <a:gd name="connsiteY7197" fmla="*/ 1824587 h 3980066"/>
                <a:gd name="connsiteX7198" fmla="*/ 6489627 w 8387961"/>
                <a:gd name="connsiteY7198" fmla="*/ 1839645 h 3980066"/>
                <a:gd name="connsiteX7199" fmla="*/ 6511339 w 8387961"/>
                <a:gd name="connsiteY7199" fmla="*/ 1858051 h 3980066"/>
                <a:gd name="connsiteX7200" fmla="*/ 6529711 w 8387961"/>
                <a:gd name="connsiteY7200" fmla="*/ 1878129 h 3980066"/>
                <a:gd name="connsiteX7201" fmla="*/ 6541403 w 8387961"/>
                <a:gd name="connsiteY7201" fmla="*/ 1918286 h 3980066"/>
                <a:gd name="connsiteX7202" fmla="*/ 6553094 w 8387961"/>
                <a:gd name="connsiteY7202" fmla="*/ 1958443 h 3980066"/>
                <a:gd name="connsiteX7203" fmla="*/ 6551424 w 8387961"/>
                <a:gd name="connsiteY7203" fmla="*/ 1968482 h 3980066"/>
                <a:gd name="connsiteX7204" fmla="*/ 6551424 w 8387961"/>
                <a:gd name="connsiteY7204" fmla="*/ 1980195 h 3980066"/>
                <a:gd name="connsiteX7205" fmla="*/ 6548084 w 8387961"/>
                <a:gd name="connsiteY7205" fmla="*/ 1991907 h 3980066"/>
                <a:gd name="connsiteX7206" fmla="*/ 6529711 w 8387961"/>
                <a:gd name="connsiteY7206" fmla="*/ 2008639 h 3980066"/>
                <a:gd name="connsiteX7207" fmla="*/ 6509669 w 8387961"/>
                <a:gd name="connsiteY7207" fmla="*/ 2025371 h 3980066"/>
                <a:gd name="connsiteX7208" fmla="*/ 6491297 w 8387961"/>
                <a:gd name="connsiteY7208" fmla="*/ 2020352 h 3980066"/>
                <a:gd name="connsiteX7209" fmla="*/ 6491297 w 8387961"/>
                <a:gd name="connsiteY7209" fmla="*/ 2028718 h 3980066"/>
                <a:gd name="connsiteX7210" fmla="*/ 6491297 w 8387961"/>
                <a:gd name="connsiteY7210" fmla="*/ 2037084 h 3980066"/>
                <a:gd name="connsiteX7211" fmla="*/ 6487956 w 8387961"/>
                <a:gd name="connsiteY7211" fmla="*/ 2040430 h 3980066"/>
                <a:gd name="connsiteX7212" fmla="*/ 6487956 w 8387961"/>
                <a:gd name="connsiteY7212" fmla="*/ 2052143 h 3980066"/>
                <a:gd name="connsiteX7213" fmla="*/ 6477935 w 8387961"/>
                <a:gd name="connsiteY7213" fmla="*/ 2052143 h 3980066"/>
                <a:gd name="connsiteX7214" fmla="*/ 6457893 w 8387961"/>
                <a:gd name="connsiteY7214" fmla="*/ 2075567 h 3980066"/>
                <a:gd name="connsiteX7215" fmla="*/ 6442861 w 8387961"/>
                <a:gd name="connsiteY7215" fmla="*/ 2078914 h 3980066"/>
                <a:gd name="connsiteX7216" fmla="*/ 6447871 w 8387961"/>
                <a:gd name="connsiteY7216" fmla="*/ 2042103 h 3980066"/>
                <a:gd name="connsiteX7217" fmla="*/ 6429499 w 8387961"/>
                <a:gd name="connsiteY7217" fmla="*/ 2027044 h 3980066"/>
                <a:gd name="connsiteX7218" fmla="*/ 6444531 w 8387961"/>
                <a:gd name="connsiteY7218" fmla="*/ 2017005 h 3980066"/>
                <a:gd name="connsiteX7219" fmla="*/ 6451212 w 8387961"/>
                <a:gd name="connsiteY7219" fmla="*/ 2011986 h 3980066"/>
                <a:gd name="connsiteX7220" fmla="*/ 6471254 w 8387961"/>
                <a:gd name="connsiteY7220" fmla="*/ 2015332 h 3980066"/>
                <a:gd name="connsiteX7221" fmla="*/ 6470436 w 8387961"/>
                <a:gd name="connsiteY7221" fmla="*/ 2013036 h 3980066"/>
                <a:gd name="connsiteX7222" fmla="*/ 6451055 w 8387961"/>
                <a:gd name="connsiteY7222" fmla="*/ 2009891 h 3980066"/>
                <a:gd name="connsiteX7223" fmla="*/ 6444304 w 8387961"/>
                <a:gd name="connsiteY7223" fmla="*/ 2014821 h 3980066"/>
                <a:gd name="connsiteX7224" fmla="*/ 6429112 w 8387961"/>
                <a:gd name="connsiteY7224" fmla="*/ 2024682 h 3980066"/>
                <a:gd name="connsiteX7225" fmla="*/ 6412232 w 8387961"/>
                <a:gd name="connsiteY7225" fmla="*/ 2019752 h 3980066"/>
                <a:gd name="connsiteX7226" fmla="*/ 6403792 w 8387961"/>
                <a:gd name="connsiteY7226" fmla="*/ 2016465 h 3980066"/>
                <a:gd name="connsiteX7227" fmla="*/ 6400416 w 8387961"/>
                <a:gd name="connsiteY7227" fmla="*/ 2003317 h 3980066"/>
                <a:gd name="connsiteX7228" fmla="*/ 6391976 w 8387961"/>
                <a:gd name="connsiteY7228" fmla="*/ 2009891 h 3980066"/>
                <a:gd name="connsiteX7229" fmla="*/ 6386912 w 8387961"/>
                <a:gd name="connsiteY7229" fmla="*/ 1990170 h 3980066"/>
                <a:gd name="connsiteX7230" fmla="*/ 6383536 w 8387961"/>
                <a:gd name="connsiteY7230" fmla="*/ 1988527 h 3980066"/>
                <a:gd name="connsiteX7231" fmla="*/ 6373409 w 8387961"/>
                <a:gd name="connsiteY7231" fmla="*/ 1965519 h 3980066"/>
                <a:gd name="connsiteX7232" fmla="*/ 6363433 w 8387961"/>
                <a:gd name="connsiteY7232" fmla="*/ 1939620 h 3980066"/>
                <a:gd name="connsiteX7233" fmla="*/ 6362953 w 8387961"/>
                <a:gd name="connsiteY7233" fmla="*/ 1940406 h 3980066"/>
                <a:gd name="connsiteX7234" fmla="*/ 6372974 w 8387961"/>
                <a:gd name="connsiteY7234" fmla="*/ 1967177 h 3980066"/>
                <a:gd name="connsiteX7235" fmla="*/ 6382995 w 8387961"/>
                <a:gd name="connsiteY7235" fmla="*/ 1990602 h 3980066"/>
                <a:gd name="connsiteX7236" fmla="*/ 6372974 w 8387961"/>
                <a:gd name="connsiteY7236" fmla="*/ 1978890 h 3980066"/>
                <a:gd name="connsiteX7237" fmla="*/ 6347921 w 8387961"/>
                <a:gd name="connsiteY7237" fmla="*/ 1960485 h 3980066"/>
                <a:gd name="connsiteX7238" fmla="*/ 6327879 w 8387961"/>
                <a:gd name="connsiteY7238" fmla="*/ 1957138 h 3980066"/>
                <a:gd name="connsiteX7239" fmla="*/ 6326209 w 8387961"/>
                <a:gd name="connsiteY7239" fmla="*/ 1935386 h 3980066"/>
                <a:gd name="connsiteX7240" fmla="*/ 6302826 w 8387961"/>
                <a:gd name="connsiteY7240" fmla="*/ 1938733 h 3980066"/>
                <a:gd name="connsiteX7241" fmla="*/ 6301156 w 8387961"/>
                <a:gd name="connsiteY7241" fmla="*/ 1962158 h 3980066"/>
                <a:gd name="connsiteX7242" fmla="*/ 6301156 w 8387961"/>
                <a:gd name="connsiteY7242" fmla="*/ 1987256 h 3980066"/>
                <a:gd name="connsiteX7243" fmla="*/ 6296145 w 8387961"/>
                <a:gd name="connsiteY7243" fmla="*/ 2012354 h 3980066"/>
                <a:gd name="connsiteX7244" fmla="*/ 6289464 w 8387961"/>
                <a:gd name="connsiteY7244" fmla="*/ 2040798 h 3980066"/>
                <a:gd name="connsiteX7245" fmla="*/ 6297815 w 8387961"/>
                <a:gd name="connsiteY7245" fmla="*/ 2062550 h 3980066"/>
                <a:gd name="connsiteX7246" fmla="*/ 6309507 w 8387961"/>
                <a:gd name="connsiteY7246" fmla="*/ 2065896 h 3980066"/>
                <a:gd name="connsiteX7247" fmla="*/ 6319528 w 8387961"/>
                <a:gd name="connsiteY7247" fmla="*/ 2092668 h 3980066"/>
                <a:gd name="connsiteX7248" fmla="*/ 6326209 w 8387961"/>
                <a:gd name="connsiteY7248" fmla="*/ 2116093 h 3980066"/>
                <a:gd name="connsiteX7249" fmla="*/ 6339570 w 8387961"/>
                <a:gd name="connsiteY7249" fmla="*/ 2131152 h 3980066"/>
                <a:gd name="connsiteX7250" fmla="*/ 6359613 w 8387961"/>
                <a:gd name="connsiteY7250" fmla="*/ 2136171 h 3980066"/>
                <a:gd name="connsiteX7251" fmla="*/ 6372838 w 8387961"/>
                <a:gd name="connsiteY7251" fmla="*/ 2152732 h 3980066"/>
                <a:gd name="connsiteX7252" fmla="*/ 6373309 w 8387961"/>
                <a:gd name="connsiteY7252" fmla="*/ 2152098 h 3980066"/>
                <a:gd name="connsiteX7253" fmla="*/ 6389665 w 8387961"/>
                <a:gd name="connsiteY7253" fmla="*/ 2168621 h 3980066"/>
                <a:gd name="connsiteX7254" fmla="*/ 6407656 w 8387961"/>
                <a:gd name="connsiteY7254" fmla="*/ 2186796 h 3980066"/>
                <a:gd name="connsiteX7255" fmla="*/ 6409292 w 8387961"/>
                <a:gd name="connsiteY7255" fmla="*/ 2214884 h 3980066"/>
                <a:gd name="connsiteX7256" fmla="*/ 6412563 w 8387961"/>
                <a:gd name="connsiteY7256" fmla="*/ 2241320 h 3980066"/>
                <a:gd name="connsiteX7257" fmla="*/ 6425648 w 8387961"/>
                <a:gd name="connsiteY7257" fmla="*/ 2267756 h 3980066"/>
                <a:gd name="connsiteX7258" fmla="*/ 6437097 w 8387961"/>
                <a:gd name="connsiteY7258" fmla="*/ 2294192 h 3980066"/>
                <a:gd name="connsiteX7259" fmla="*/ 6427284 w 8387961"/>
                <a:gd name="connsiteY7259" fmla="*/ 2289235 h 3980066"/>
                <a:gd name="connsiteX7260" fmla="*/ 6419105 w 8387961"/>
                <a:gd name="connsiteY7260" fmla="*/ 2295844 h 3980066"/>
                <a:gd name="connsiteX7261" fmla="*/ 6388029 w 8387961"/>
                <a:gd name="connsiteY7261" fmla="*/ 2274365 h 3980066"/>
                <a:gd name="connsiteX7262" fmla="*/ 6356953 w 8387961"/>
                <a:gd name="connsiteY7262" fmla="*/ 2251233 h 3980066"/>
                <a:gd name="connsiteX7263" fmla="*/ 6342233 w 8387961"/>
                <a:gd name="connsiteY7263" fmla="*/ 2218188 h 3980066"/>
                <a:gd name="connsiteX7264" fmla="*/ 6332419 w 8387961"/>
                <a:gd name="connsiteY7264" fmla="*/ 2181839 h 3980066"/>
                <a:gd name="connsiteX7265" fmla="*/ 6322606 w 8387961"/>
                <a:gd name="connsiteY7265" fmla="*/ 2147142 h 3980066"/>
                <a:gd name="connsiteX7266" fmla="*/ 6323854 w 8387961"/>
                <a:gd name="connsiteY7266" fmla="*/ 2143358 h 3980066"/>
                <a:gd name="connsiteX7267" fmla="*/ 6322868 w 8387961"/>
                <a:gd name="connsiteY7267" fmla="*/ 2142864 h 3980066"/>
                <a:gd name="connsiteX7268" fmla="*/ 6321198 w 8387961"/>
                <a:gd name="connsiteY7268" fmla="*/ 2147884 h 3980066"/>
                <a:gd name="connsiteX7269" fmla="*/ 6309507 w 8387961"/>
                <a:gd name="connsiteY7269" fmla="*/ 2129478 h 3980066"/>
                <a:gd name="connsiteX7270" fmla="*/ 6301156 w 8387961"/>
                <a:gd name="connsiteY7270" fmla="*/ 2121112 h 3980066"/>
                <a:gd name="connsiteX7271" fmla="*/ 6287794 w 8387961"/>
                <a:gd name="connsiteY7271" fmla="*/ 2106053 h 3980066"/>
                <a:gd name="connsiteX7272" fmla="*/ 6272762 w 8387961"/>
                <a:gd name="connsiteY7272" fmla="*/ 2089321 h 3980066"/>
                <a:gd name="connsiteX7273" fmla="*/ 6269422 w 8387961"/>
                <a:gd name="connsiteY7273" fmla="*/ 2092668 h 3980066"/>
                <a:gd name="connsiteX7274" fmla="*/ 6272762 w 8387961"/>
                <a:gd name="connsiteY7274" fmla="*/ 2062550 h 3980066"/>
                <a:gd name="connsiteX7275" fmla="*/ 6277773 w 8387961"/>
                <a:gd name="connsiteY7275" fmla="*/ 2035779 h 3980066"/>
                <a:gd name="connsiteX7276" fmla="*/ 6277773 w 8387961"/>
                <a:gd name="connsiteY7276" fmla="*/ 2029086 h 3980066"/>
                <a:gd name="connsiteX7277" fmla="*/ 6277951 w 8387961"/>
                <a:gd name="connsiteY7277" fmla="*/ 2028729 h 3980066"/>
                <a:gd name="connsiteX7278" fmla="*/ 6271431 w 8387961"/>
                <a:gd name="connsiteY7278" fmla="*/ 2035227 h 3980066"/>
                <a:gd name="connsiteX7279" fmla="*/ 6273112 w 8387961"/>
                <a:gd name="connsiteY7279" fmla="*/ 2011772 h 3980066"/>
                <a:gd name="connsiteX7280" fmla="*/ 6273112 w 8387961"/>
                <a:gd name="connsiteY7280" fmla="*/ 1986641 h 3980066"/>
                <a:gd name="connsiteX7281" fmla="*/ 6269750 w 8387961"/>
                <a:gd name="connsiteY7281" fmla="*/ 1964861 h 3980066"/>
                <a:gd name="connsiteX7282" fmla="*/ 6261344 w 8387961"/>
                <a:gd name="connsiteY7282" fmla="*/ 1941406 h 3980066"/>
                <a:gd name="connsiteX7283" fmla="*/ 6252938 w 8387961"/>
                <a:gd name="connsiteY7283" fmla="*/ 1919627 h 3980066"/>
                <a:gd name="connsiteX7284" fmla="*/ 6251257 w 8387961"/>
                <a:gd name="connsiteY7284" fmla="*/ 1928003 h 3980066"/>
                <a:gd name="connsiteX7285" fmla="*/ 6241170 w 8387961"/>
                <a:gd name="connsiteY7285" fmla="*/ 1886119 h 3980066"/>
                <a:gd name="connsiteX7286" fmla="*/ 6229403 w 8387961"/>
                <a:gd name="connsiteY7286" fmla="*/ 1844235 h 3980066"/>
                <a:gd name="connsiteX7287" fmla="*/ 6217635 w 8387961"/>
                <a:gd name="connsiteY7287" fmla="*/ 1834183 h 3980066"/>
                <a:gd name="connsiteX7288" fmla="*/ 6207548 w 8387961"/>
                <a:gd name="connsiteY7288" fmla="*/ 1819105 h 3980066"/>
                <a:gd name="connsiteX7289" fmla="*/ 6199142 w 8387961"/>
                <a:gd name="connsiteY7289" fmla="*/ 1844235 h 3980066"/>
                <a:gd name="connsiteX7290" fmla="*/ 6192418 w 8387961"/>
                <a:gd name="connsiteY7290" fmla="*/ 1839209 h 3980066"/>
                <a:gd name="connsiteX7291" fmla="*/ 6189056 w 8387961"/>
                <a:gd name="connsiteY7291" fmla="*/ 1847586 h 3980066"/>
                <a:gd name="connsiteX7292" fmla="*/ 6170563 w 8387961"/>
                <a:gd name="connsiteY7292" fmla="*/ 1864339 h 3980066"/>
                <a:gd name="connsiteX7293" fmla="*/ 6170563 w 8387961"/>
                <a:gd name="connsiteY7293" fmla="*/ 1859313 h 3980066"/>
                <a:gd name="connsiteX7294" fmla="*/ 6165520 w 8387961"/>
                <a:gd name="connsiteY7294" fmla="*/ 1860989 h 3980066"/>
                <a:gd name="connsiteX7295" fmla="*/ 6158795 w 8387961"/>
                <a:gd name="connsiteY7295" fmla="*/ 1864339 h 3980066"/>
                <a:gd name="connsiteX7296" fmla="*/ 6155433 w 8387961"/>
                <a:gd name="connsiteY7296" fmla="*/ 1859313 h 3980066"/>
                <a:gd name="connsiteX7297" fmla="*/ 6150390 w 8387961"/>
                <a:gd name="connsiteY7297" fmla="*/ 1844235 h 3980066"/>
                <a:gd name="connsiteX7298" fmla="*/ 6140303 w 8387961"/>
                <a:gd name="connsiteY7298" fmla="*/ 1857638 h 3980066"/>
                <a:gd name="connsiteX7299" fmla="*/ 6141984 w 8387961"/>
                <a:gd name="connsiteY7299" fmla="*/ 1830832 h 3980066"/>
                <a:gd name="connsiteX7300" fmla="*/ 6141984 w 8387961"/>
                <a:gd name="connsiteY7300" fmla="*/ 1807377 h 3980066"/>
                <a:gd name="connsiteX7301" fmla="*/ 6135260 w 8387961"/>
                <a:gd name="connsiteY7301" fmla="*/ 1783922 h 3980066"/>
                <a:gd name="connsiteX7302" fmla="*/ 6125173 w 8387961"/>
                <a:gd name="connsiteY7302" fmla="*/ 1758791 h 3980066"/>
                <a:gd name="connsiteX7303" fmla="*/ 6120130 w 8387961"/>
                <a:gd name="connsiteY7303" fmla="*/ 1770519 h 3980066"/>
                <a:gd name="connsiteX7304" fmla="*/ 6111724 w 8387961"/>
                <a:gd name="connsiteY7304" fmla="*/ 1758791 h 3980066"/>
                <a:gd name="connsiteX7305" fmla="*/ 6120130 w 8387961"/>
                <a:gd name="connsiteY7305" fmla="*/ 1755441 h 3980066"/>
                <a:gd name="connsiteX7306" fmla="*/ 6111724 w 8387961"/>
                <a:gd name="connsiteY7306" fmla="*/ 1743713 h 3980066"/>
                <a:gd name="connsiteX7307" fmla="*/ 6099956 w 8387961"/>
                <a:gd name="connsiteY7307" fmla="*/ 1743713 h 3980066"/>
                <a:gd name="connsiteX7308" fmla="*/ 6098275 w 8387961"/>
                <a:gd name="connsiteY7308" fmla="*/ 1743713 h 3980066"/>
                <a:gd name="connsiteX7309" fmla="*/ 6091550 w 8387961"/>
                <a:gd name="connsiteY7309" fmla="*/ 1725284 h 3980066"/>
                <a:gd name="connsiteX7310" fmla="*/ 6086507 w 8387961"/>
                <a:gd name="connsiteY7310" fmla="*/ 1730310 h 3980066"/>
                <a:gd name="connsiteX7311" fmla="*/ 6086507 w 8387961"/>
                <a:gd name="connsiteY7311" fmla="*/ 1728635 h 3980066"/>
                <a:gd name="connsiteX7312" fmla="*/ 6068015 w 8387961"/>
                <a:gd name="connsiteY7312" fmla="*/ 1703504 h 3980066"/>
                <a:gd name="connsiteX7313" fmla="*/ 6076420 w 8387961"/>
                <a:gd name="connsiteY7313" fmla="*/ 1696803 h 3980066"/>
                <a:gd name="connsiteX7314" fmla="*/ 6074739 w 8387961"/>
                <a:gd name="connsiteY7314" fmla="*/ 1678374 h 3980066"/>
                <a:gd name="connsiteX7315" fmla="*/ 6076420 w 8387961"/>
                <a:gd name="connsiteY7315" fmla="*/ 1676698 h 3980066"/>
                <a:gd name="connsiteX7316" fmla="*/ 6084826 w 8387961"/>
                <a:gd name="connsiteY7316" fmla="*/ 1678374 h 3980066"/>
                <a:gd name="connsiteX7317" fmla="*/ 6086507 w 8387961"/>
                <a:gd name="connsiteY7317" fmla="*/ 1646542 h 3980066"/>
                <a:gd name="connsiteX7318" fmla="*/ 6086507 w 8387961"/>
                <a:gd name="connsiteY7318" fmla="*/ 1619736 h 3980066"/>
                <a:gd name="connsiteX7319" fmla="*/ 6101637 w 8387961"/>
                <a:gd name="connsiteY7319" fmla="*/ 1619736 h 3980066"/>
                <a:gd name="connsiteX7320" fmla="*/ 6115086 w 8387961"/>
                <a:gd name="connsiteY7320" fmla="*/ 1584553 h 3980066"/>
                <a:gd name="connsiteX7321" fmla="*/ 6116767 w 8387961"/>
                <a:gd name="connsiteY7321" fmla="*/ 1569475 h 3980066"/>
                <a:gd name="connsiteX7322" fmla="*/ 6116767 w 8387961"/>
                <a:gd name="connsiteY7322" fmla="*/ 1546020 h 3980066"/>
                <a:gd name="connsiteX7323" fmla="*/ 6140303 w 8387961"/>
                <a:gd name="connsiteY7323" fmla="*/ 1519214 h 3980066"/>
                <a:gd name="connsiteX7324" fmla="*/ 6160477 w 8387961"/>
                <a:gd name="connsiteY7324" fmla="*/ 1524240 h 3980066"/>
                <a:gd name="connsiteX7325" fmla="*/ 6157114 w 8387961"/>
                <a:gd name="connsiteY7325" fmla="*/ 1514188 h 3980066"/>
                <a:gd name="connsiteX7326" fmla="*/ 6158795 w 8387961"/>
                <a:gd name="connsiteY7326" fmla="*/ 1505811 h 3980066"/>
                <a:gd name="connsiteX7327" fmla="*/ 6161506 w 8387961"/>
                <a:gd name="connsiteY7327" fmla="*/ 1495005 h 3980066"/>
                <a:gd name="connsiteX7328" fmla="*/ 6160579 w 8387961"/>
                <a:gd name="connsiteY7328" fmla="*/ 1494658 h 3980066"/>
                <a:gd name="connsiteX7329" fmla="*/ 6158069 w 8387961"/>
                <a:gd name="connsiteY7329" fmla="*/ 1504732 h 3980066"/>
                <a:gd name="connsiteX7330" fmla="*/ 6156396 w 8387961"/>
                <a:gd name="connsiteY7330" fmla="*/ 1513123 h 3980066"/>
                <a:gd name="connsiteX7331" fmla="*/ 6159742 w 8387961"/>
                <a:gd name="connsiteY7331" fmla="*/ 1523193 h 3980066"/>
                <a:gd name="connsiteX7332" fmla="*/ 6139665 w 8387961"/>
                <a:gd name="connsiteY7332" fmla="*/ 1518158 h 3980066"/>
                <a:gd name="connsiteX7333" fmla="*/ 6116242 w 8387961"/>
                <a:gd name="connsiteY7333" fmla="*/ 1545011 h 3980066"/>
                <a:gd name="connsiteX7334" fmla="*/ 6116242 w 8387961"/>
                <a:gd name="connsiteY7334" fmla="*/ 1568507 h 3980066"/>
                <a:gd name="connsiteX7335" fmla="*/ 6114569 w 8387961"/>
                <a:gd name="connsiteY7335" fmla="*/ 1583611 h 3980066"/>
                <a:gd name="connsiteX7336" fmla="*/ 6101184 w 8387961"/>
                <a:gd name="connsiteY7336" fmla="*/ 1618855 h 3980066"/>
                <a:gd name="connsiteX7337" fmla="*/ 6086127 w 8387961"/>
                <a:gd name="connsiteY7337" fmla="*/ 1618855 h 3980066"/>
                <a:gd name="connsiteX7338" fmla="*/ 6086127 w 8387961"/>
                <a:gd name="connsiteY7338" fmla="*/ 1645707 h 3980066"/>
                <a:gd name="connsiteX7339" fmla="*/ 6084453 w 8387961"/>
                <a:gd name="connsiteY7339" fmla="*/ 1677594 h 3980066"/>
                <a:gd name="connsiteX7340" fmla="*/ 6076088 w 8387961"/>
                <a:gd name="connsiteY7340" fmla="*/ 1675916 h 3980066"/>
                <a:gd name="connsiteX7341" fmla="*/ 6074415 w 8387961"/>
                <a:gd name="connsiteY7341" fmla="*/ 1677594 h 3980066"/>
                <a:gd name="connsiteX7342" fmla="*/ 6064377 w 8387961"/>
                <a:gd name="connsiteY7342" fmla="*/ 1652420 h 3980066"/>
                <a:gd name="connsiteX7343" fmla="*/ 6054338 w 8387961"/>
                <a:gd name="connsiteY7343" fmla="*/ 1625568 h 3980066"/>
                <a:gd name="connsiteX7344" fmla="*/ 6040954 w 8387961"/>
                <a:gd name="connsiteY7344" fmla="*/ 1647385 h 3980066"/>
                <a:gd name="connsiteX7345" fmla="*/ 6037607 w 8387961"/>
                <a:gd name="connsiteY7345" fmla="*/ 1642351 h 3980066"/>
                <a:gd name="connsiteX7346" fmla="*/ 6031046 w 8387961"/>
                <a:gd name="connsiteY7346" fmla="*/ 1617666 h 3980066"/>
                <a:gd name="connsiteX7347" fmla="*/ 6030753 w 8387961"/>
                <a:gd name="connsiteY7347" fmla="*/ 1617863 h 3980066"/>
                <a:gd name="connsiteX7348" fmla="*/ 6037389 w 8387961"/>
                <a:gd name="connsiteY7348" fmla="*/ 1642945 h 3980066"/>
                <a:gd name="connsiteX7349" fmla="*/ 6040707 w 8387961"/>
                <a:gd name="connsiteY7349" fmla="*/ 1647962 h 3980066"/>
                <a:gd name="connsiteX7350" fmla="*/ 6053980 w 8387961"/>
                <a:gd name="connsiteY7350" fmla="*/ 1626223 h 3980066"/>
                <a:gd name="connsiteX7351" fmla="*/ 6063934 w 8387961"/>
                <a:gd name="connsiteY7351" fmla="*/ 1652978 h 3980066"/>
                <a:gd name="connsiteX7352" fmla="*/ 6073888 w 8387961"/>
                <a:gd name="connsiteY7352" fmla="*/ 1678061 h 3980066"/>
                <a:gd name="connsiteX7353" fmla="*/ 6075547 w 8387961"/>
                <a:gd name="connsiteY7353" fmla="*/ 1696455 h 3980066"/>
                <a:gd name="connsiteX7354" fmla="*/ 6067252 w 8387961"/>
                <a:gd name="connsiteY7354" fmla="*/ 1703143 h 3980066"/>
                <a:gd name="connsiteX7355" fmla="*/ 6070570 w 8387961"/>
                <a:gd name="connsiteY7355" fmla="*/ 1709832 h 3980066"/>
                <a:gd name="connsiteX7356" fmla="*/ 6055639 w 8387961"/>
                <a:gd name="connsiteY7356" fmla="*/ 1683077 h 3980066"/>
                <a:gd name="connsiteX7357" fmla="*/ 6040707 w 8387961"/>
                <a:gd name="connsiteY7357" fmla="*/ 1654650 h 3980066"/>
                <a:gd name="connsiteX7358" fmla="*/ 6024117 w 8387961"/>
                <a:gd name="connsiteY7358" fmla="*/ 1652978 h 3980066"/>
                <a:gd name="connsiteX7359" fmla="*/ 6015822 w 8387961"/>
                <a:gd name="connsiteY7359" fmla="*/ 1634584 h 3980066"/>
                <a:gd name="connsiteX7360" fmla="*/ 5989278 w 8387961"/>
                <a:gd name="connsiteY7360" fmla="*/ 1617863 h 3980066"/>
                <a:gd name="connsiteX7361" fmla="*/ 5980983 w 8387961"/>
                <a:gd name="connsiteY7361" fmla="*/ 1619535 h 3980066"/>
                <a:gd name="connsiteX7362" fmla="*/ 6009186 w 8387961"/>
                <a:gd name="connsiteY7362" fmla="*/ 1636256 h 3980066"/>
                <a:gd name="connsiteX7363" fmla="*/ 6017481 w 8387961"/>
                <a:gd name="connsiteY7363" fmla="*/ 1654650 h 3980066"/>
                <a:gd name="connsiteX7364" fmla="*/ 6019140 w 8387961"/>
                <a:gd name="connsiteY7364" fmla="*/ 1659667 h 3980066"/>
                <a:gd name="connsiteX7365" fmla="*/ 6014163 w 8387961"/>
                <a:gd name="connsiteY7365" fmla="*/ 1684749 h 3980066"/>
                <a:gd name="connsiteX7366" fmla="*/ 6007527 w 8387961"/>
                <a:gd name="connsiteY7366" fmla="*/ 1676388 h 3980066"/>
                <a:gd name="connsiteX7367" fmla="*/ 6004209 w 8387961"/>
                <a:gd name="connsiteY7367" fmla="*/ 1676388 h 3980066"/>
                <a:gd name="connsiteX7368" fmla="*/ 5997573 w 8387961"/>
                <a:gd name="connsiteY7368" fmla="*/ 1683077 h 3980066"/>
                <a:gd name="connsiteX7369" fmla="*/ 5990937 w 8387961"/>
                <a:gd name="connsiteY7369" fmla="*/ 1683077 h 3980066"/>
                <a:gd name="connsiteX7370" fmla="*/ 5989278 w 8387961"/>
                <a:gd name="connsiteY7370" fmla="*/ 1684749 h 3980066"/>
                <a:gd name="connsiteX7371" fmla="*/ 5984301 w 8387961"/>
                <a:gd name="connsiteY7371" fmla="*/ 1676388 h 3980066"/>
                <a:gd name="connsiteX7372" fmla="*/ 5984301 w 8387961"/>
                <a:gd name="connsiteY7372" fmla="*/ 1679733 h 3980066"/>
                <a:gd name="connsiteX7373" fmla="*/ 5976006 w 8387961"/>
                <a:gd name="connsiteY7373" fmla="*/ 1656322 h 3980066"/>
                <a:gd name="connsiteX7374" fmla="*/ 5967711 w 8387961"/>
                <a:gd name="connsiteY7374" fmla="*/ 1634584 h 3980066"/>
                <a:gd name="connsiteX7375" fmla="*/ 5966052 w 8387961"/>
                <a:gd name="connsiteY7375" fmla="*/ 1616190 h 3980066"/>
                <a:gd name="connsiteX7376" fmla="*/ 5965701 w 8387961"/>
                <a:gd name="connsiteY7376" fmla="*/ 1615896 h 3980066"/>
                <a:gd name="connsiteX7377" fmla="*/ 5967338 w 8387961"/>
                <a:gd name="connsiteY7377" fmla="*/ 1633959 h 3980066"/>
                <a:gd name="connsiteX7378" fmla="*/ 5975704 w 8387961"/>
                <a:gd name="connsiteY7378" fmla="*/ 1655777 h 3980066"/>
                <a:gd name="connsiteX7379" fmla="*/ 5984069 w 8387961"/>
                <a:gd name="connsiteY7379" fmla="*/ 1679273 h 3980066"/>
                <a:gd name="connsiteX7380" fmla="*/ 5984069 w 8387961"/>
                <a:gd name="connsiteY7380" fmla="*/ 1687664 h 3980066"/>
                <a:gd name="connsiteX7381" fmla="*/ 5977377 w 8387961"/>
                <a:gd name="connsiteY7381" fmla="*/ 1685986 h 3980066"/>
                <a:gd name="connsiteX7382" fmla="*/ 5970685 w 8387961"/>
                <a:gd name="connsiteY7382" fmla="*/ 1687664 h 3980066"/>
                <a:gd name="connsiteX7383" fmla="*/ 5963992 w 8387961"/>
                <a:gd name="connsiteY7383" fmla="*/ 1687664 h 3980066"/>
                <a:gd name="connsiteX7384" fmla="*/ 5957300 w 8387961"/>
                <a:gd name="connsiteY7384" fmla="*/ 1675916 h 3980066"/>
                <a:gd name="connsiteX7385" fmla="*/ 5933877 w 8387961"/>
                <a:gd name="connsiteY7385" fmla="*/ 1692699 h 3980066"/>
                <a:gd name="connsiteX7386" fmla="*/ 5930531 w 8387961"/>
                <a:gd name="connsiteY7386" fmla="*/ 1714516 h 3980066"/>
                <a:gd name="connsiteX7387" fmla="*/ 5917146 w 8387961"/>
                <a:gd name="connsiteY7387" fmla="*/ 1736334 h 3980066"/>
                <a:gd name="connsiteX7388" fmla="*/ 5900416 w 8387961"/>
                <a:gd name="connsiteY7388" fmla="*/ 1746404 h 3980066"/>
                <a:gd name="connsiteX7389" fmla="*/ 5880339 w 8387961"/>
                <a:gd name="connsiteY7389" fmla="*/ 1768221 h 3980066"/>
                <a:gd name="connsiteX7390" fmla="*/ 5855243 w 8387961"/>
                <a:gd name="connsiteY7390" fmla="*/ 1795074 h 3980066"/>
                <a:gd name="connsiteX7391" fmla="*/ 5830147 w 8387961"/>
                <a:gd name="connsiteY7391" fmla="*/ 1820248 h 3980066"/>
                <a:gd name="connsiteX7392" fmla="*/ 5826800 w 8387961"/>
                <a:gd name="connsiteY7392" fmla="*/ 1838709 h 3980066"/>
                <a:gd name="connsiteX7393" fmla="*/ 5805051 w 8387961"/>
                <a:gd name="connsiteY7393" fmla="*/ 1847100 h 3980066"/>
                <a:gd name="connsiteX7394" fmla="*/ 5798358 w 8387961"/>
                <a:gd name="connsiteY7394" fmla="*/ 1858848 h 3980066"/>
                <a:gd name="connsiteX7395" fmla="*/ 5793339 w 8387961"/>
                <a:gd name="connsiteY7395" fmla="*/ 1860526 h 3980066"/>
                <a:gd name="connsiteX7396" fmla="*/ 5788320 w 8387961"/>
                <a:gd name="connsiteY7396" fmla="*/ 1863883 h 3980066"/>
                <a:gd name="connsiteX7397" fmla="*/ 5774935 w 8387961"/>
                <a:gd name="connsiteY7397" fmla="*/ 1873953 h 3980066"/>
                <a:gd name="connsiteX7398" fmla="*/ 5776608 w 8387961"/>
                <a:gd name="connsiteY7398" fmla="*/ 1907518 h 3980066"/>
                <a:gd name="connsiteX7399" fmla="*/ 5783301 w 8387961"/>
                <a:gd name="connsiteY7399" fmla="*/ 1936049 h 3980066"/>
                <a:gd name="connsiteX7400" fmla="*/ 5778281 w 8387961"/>
                <a:gd name="connsiteY7400" fmla="*/ 1959545 h 3980066"/>
                <a:gd name="connsiteX7401" fmla="*/ 5773262 w 8387961"/>
                <a:gd name="connsiteY7401" fmla="*/ 1984719 h 3980066"/>
                <a:gd name="connsiteX7402" fmla="*/ 5776608 w 8387961"/>
                <a:gd name="connsiteY7402" fmla="*/ 2006536 h 3980066"/>
                <a:gd name="connsiteX7403" fmla="*/ 5778281 w 8387961"/>
                <a:gd name="connsiteY7403" fmla="*/ 2028354 h 3980066"/>
                <a:gd name="connsiteX7404" fmla="*/ 5769916 w 8387961"/>
                <a:gd name="connsiteY7404" fmla="*/ 2028354 h 3980066"/>
                <a:gd name="connsiteX7405" fmla="*/ 5756531 w 8387961"/>
                <a:gd name="connsiteY7405" fmla="*/ 2050171 h 3980066"/>
                <a:gd name="connsiteX7406" fmla="*/ 5766570 w 8387961"/>
                <a:gd name="connsiteY7406" fmla="*/ 2061919 h 3980066"/>
                <a:gd name="connsiteX7407" fmla="*/ 5749839 w 8387961"/>
                <a:gd name="connsiteY7407" fmla="*/ 2065276 h 3980066"/>
                <a:gd name="connsiteX7408" fmla="*/ 5734782 w 8387961"/>
                <a:gd name="connsiteY7408" fmla="*/ 2080380 h 3980066"/>
                <a:gd name="connsiteX7409" fmla="*/ 5719724 w 8387961"/>
                <a:gd name="connsiteY7409" fmla="*/ 2095485 h 3980066"/>
                <a:gd name="connsiteX7410" fmla="*/ 5704666 w 8387961"/>
                <a:gd name="connsiteY7410" fmla="*/ 2087093 h 3980066"/>
                <a:gd name="connsiteX7411" fmla="*/ 5694628 w 8387961"/>
                <a:gd name="connsiteY7411" fmla="*/ 2065276 h 3980066"/>
                <a:gd name="connsiteX7412" fmla="*/ 5682916 w 8387961"/>
                <a:gd name="connsiteY7412" fmla="*/ 2040102 h 3980066"/>
                <a:gd name="connsiteX7413" fmla="*/ 5674551 w 8387961"/>
                <a:gd name="connsiteY7413" fmla="*/ 2019962 h 3980066"/>
                <a:gd name="connsiteX7414" fmla="*/ 5662839 w 8387961"/>
                <a:gd name="connsiteY7414" fmla="*/ 1996467 h 3980066"/>
                <a:gd name="connsiteX7415" fmla="*/ 5649455 w 8387961"/>
                <a:gd name="connsiteY7415" fmla="*/ 1969614 h 3980066"/>
                <a:gd name="connsiteX7416" fmla="*/ 5637743 w 8387961"/>
                <a:gd name="connsiteY7416" fmla="*/ 1946118 h 3980066"/>
                <a:gd name="connsiteX7417" fmla="*/ 5624359 w 8387961"/>
                <a:gd name="connsiteY7417" fmla="*/ 1910875 h 3980066"/>
                <a:gd name="connsiteX7418" fmla="*/ 5609301 w 8387961"/>
                <a:gd name="connsiteY7418" fmla="*/ 1877309 h 3980066"/>
                <a:gd name="connsiteX7419" fmla="*/ 5604282 w 8387961"/>
                <a:gd name="connsiteY7419" fmla="*/ 1868918 h 3980066"/>
                <a:gd name="connsiteX7420" fmla="*/ 5594244 w 8387961"/>
                <a:gd name="connsiteY7420" fmla="*/ 1840387 h 3980066"/>
                <a:gd name="connsiteX7421" fmla="*/ 5584205 w 8387961"/>
                <a:gd name="connsiteY7421" fmla="*/ 1810178 h 3980066"/>
                <a:gd name="connsiteX7422" fmla="*/ 5575840 w 8387961"/>
                <a:gd name="connsiteY7422" fmla="*/ 1774934 h 3980066"/>
                <a:gd name="connsiteX7423" fmla="*/ 5574167 w 8387961"/>
                <a:gd name="connsiteY7423" fmla="*/ 1766543 h 3980066"/>
                <a:gd name="connsiteX7424" fmla="*/ 5572494 w 8387961"/>
                <a:gd name="connsiteY7424" fmla="*/ 1758152 h 3980066"/>
                <a:gd name="connsiteX7425" fmla="*/ 5564128 w 8387961"/>
                <a:gd name="connsiteY7425" fmla="*/ 1727943 h 3980066"/>
                <a:gd name="connsiteX7426" fmla="*/ 5564128 w 8387961"/>
                <a:gd name="connsiteY7426" fmla="*/ 1707803 h 3980066"/>
                <a:gd name="connsiteX7427" fmla="*/ 5559109 w 8387961"/>
                <a:gd name="connsiteY7427" fmla="*/ 1694377 h 3980066"/>
                <a:gd name="connsiteX7428" fmla="*/ 5567474 w 8387961"/>
                <a:gd name="connsiteY7428" fmla="*/ 1684307 h 3980066"/>
                <a:gd name="connsiteX7429" fmla="*/ 5554090 w 8387961"/>
                <a:gd name="connsiteY7429" fmla="*/ 1684307 h 3980066"/>
                <a:gd name="connsiteX7430" fmla="*/ 5555763 w 8387961"/>
                <a:gd name="connsiteY7430" fmla="*/ 1677594 h 3980066"/>
                <a:gd name="connsiteX7431" fmla="*/ 5559109 w 8387961"/>
                <a:gd name="connsiteY7431" fmla="*/ 1669203 h 3980066"/>
                <a:gd name="connsiteX7432" fmla="*/ 5545724 w 8387961"/>
                <a:gd name="connsiteY7432" fmla="*/ 1669203 h 3980066"/>
                <a:gd name="connsiteX7433" fmla="*/ 5544051 w 8387961"/>
                <a:gd name="connsiteY7433" fmla="*/ 1684307 h 3980066"/>
                <a:gd name="connsiteX7434" fmla="*/ 5542378 w 8387961"/>
                <a:gd name="connsiteY7434" fmla="*/ 1704447 h 3980066"/>
                <a:gd name="connsiteX7435" fmla="*/ 5505571 w 8387961"/>
                <a:gd name="connsiteY7435" fmla="*/ 1714516 h 3980066"/>
                <a:gd name="connsiteX7436" fmla="*/ 5483821 w 8387961"/>
                <a:gd name="connsiteY7436" fmla="*/ 1687664 h 3980066"/>
                <a:gd name="connsiteX7437" fmla="*/ 5458725 w 8387961"/>
                <a:gd name="connsiteY7437" fmla="*/ 1664168 h 3980066"/>
                <a:gd name="connsiteX7438" fmla="*/ 5473782 w 8387961"/>
                <a:gd name="connsiteY7438" fmla="*/ 1665846 h 3980066"/>
                <a:gd name="connsiteX7439" fmla="*/ 5492186 w 8387961"/>
                <a:gd name="connsiteY7439" fmla="*/ 1654099 h 3980066"/>
                <a:gd name="connsiteX7440" fmla="*/ 5493859 w 8387961"/>
                <a:gd name="connsiteY7440" fmla="*/ 1647385 h 3980066"/>
                <a:gd name="connsiteX7441" fmla="*/ 5463744 w 8387961"/>
                <a:gd name="connsiteY7441" fmla="*/ 1652420 h 3980066"/>
                <a:gd name="connsiteX7442" fmla="*/ 5441994 w 8387961"/>
                <a:gd name="connsiteY7442" fmla="*/ 1628924 h 3980066"/>
                <a:gd name="connsiteX7443" fmla="*/ 5445340 w 8387961"/>
                <a:gd name="connsiteY7443" fmla="*/ 1622211 h 3980066"/>
                <a:gd name="connsiteX7444" fmla="*/ 5435302 w 8387961"/>
                <a:gd name="connsiteY7444" fmla="*/ 1625568 h 3980066"/>
                <a:gd name="connsiteX7445" fmla="*/ 5435302 w 8387961"/>
                <a:gd name="connsiteY7445" fmla="*/ 1623890 h 3980066"/>
                <a:gd name="connsiteX7446" fmla="*/ 5435368 w 8387961"/>
                <a:gd name="connsiteY7446" fmla="*/ 1623852 h 3980066"/>
                <a:gd name="connsiteX7447" fmla="*/ 5415550 w 8387961"/>
                <a:gd name="connsiteY7447" fmla="*/ 1615639 h 3980066"/>
                <a:gd name="connsiteX7448" fmla="*/ 5402160 w 8387961"/>
                <a:gd name="connsiteY7448" fmla="*/ 1593998 h 3980066"/>
                <a:gd name="connsiteX7449" fmla="*/ 5392117 w 8387961"/>
                <a:gd name="connsiteY7449" fmla="*/ 1589004 h 3980066"/>
                <a:gd name="connsiteX7450" fmla="*/ 5382074 w 8387961"/>
                <a:gd name="connsiteY7450" fmla="*/ 1574022 h 3980066"/>
                <a:gd name="connsiteX7451" fmla="*/ 5355292 w 8387961"/>
                <a:gd name="connsiteY7451" fmla="*/ 1575687 h 3980066"/>
                <a:gd name="connsiteX7452" fmla="*/ 5326837 w 8387961"/>
                <a:gd name="connsiteY7452" fmla="*/ 1577351 h 3980066"/>
                <a:gd name="connsiteX7453" fmla="*/ 5306751 w 8387961"/>
                <a:gd name="connsiteY7453" fmla="*/ 1579016 h 3980066"/>
                <a:gd name="connsiteX7454" fmla="*/ 5283317 w 8387961"/>
                <a:gd name="connsiteY7454" fmla="*/ 1579016 h 3980066"/>
                <a:gd name="connsiteX7455" fmla="*/ 5258209 w 8387961"/>
                <a:gd name="connsiteY7455" fmla="*/ 1582345 h 3980066"/>
                <a:gd name="connsiteX7456" fmla="*/ 5261557 w 8387961"/>
                <a:gd name="connsiteY7456" fmla="*/ 1557375 h 3980066"/>
                <a:gd name="connsiteX7457" fmla="*/ 5270885 w 8387961"/>
                <a:gd name="connsiteY7457" fmla="*/ 1548098 h 3980066"/>
                <a:gd name="connsiteX7458" fmla="*/ 5270536 w 8387961"/>
                <a:gd name="connsiteY7458" fmla="*/ 1548259 h 3980066"/>
                <a:gd name="connsiteX7459" fmla="*/ 5260543 w 8387961"/>
                <a:gd name="connsiteY7459" fmla="*/ 1558268 h 3980066"/>
                <a:gd name="connsiteX7460" fmla="*/ 5257212 w 8387961"/>
                <a:gd name="connsiteY7460" fmla="*/ 1583289 h 3980066"/>
                <a:gd name="connsiteX7461" fmla="*/ 5230563 w 8387961"/>
                <a:gd name="connsiteY7461" fmla="*/ 1578285 h 3980066"/>
                <a:gd name="connsiteX7462" fmla="*/ 5202249 w 8387961"/>
                <a:gd name="connsiteY7462" fmla="*/ 1573280 h 3980066"/>
                <a:gd name="connsiteX7463" fmla="*/ 5173936 w 8387961"/>
                <a:gd name="connsiteY7463" fmla="*/ 1568276 h 3980066"/>
                <a:gd name="connsiteX7464" fmla="*/ 5145622 w 8387961"/>
                <a:gd name="connsiteY7464" fmla="*/ 1564940 h 3980066"/>
                <a:gd name="connsiteX7465" fmla="*/ 5135628 w 8387961"/>
                <a:gd name="connsiteY7465" fmla="*/ 1544923 h 3980066"/>
                <a:gd name="connsiteX7466" fmla="*/ 5123970 w 8387961"/>
                <a:gd name="connsiteY7466" fmla="*/ 1524906 h 3980066"/>
                <a:gd name="connsiteX7467" fmla="*/ 5103983 w 8387961"/>
                <a:gd name="connsiteY7467" fmla="*/ 1533247 h 3980066"/>
                <a:gd name="connsiteX7468" fmla="*/ 5082332 w 8387961"/>
                <a:gd name="connsiteY7468" fmla="*/ 1539919 h 3980066"/>
                <a:gd name="connsiteX7469" fmla="*/ 5042359 w 8387961"/>
                <a:gd name="connsiteY7469" fmla="*/ 1533247 h 3980066"/>
                <a:gd name="connsiteX7470" fmla="*/ 5020707 w 8387961"/>
                <a:gd name="connsiteY7470" fmla="*/ 1516566 h 3980066"/>
                <a:gd name="connsiteX7471" fmla="*/ 4995724 w 8387961"/>
                <a:gd name="connsiteY7471" fmla="*/ 1503221 h 3980066"/>
                <a:gd name="connsiteX7472" fmla="*/ 4975738 w 8387961"/>
                <a:gd name="connsiteY7472" fmla="*/ 1483204 h 3980066"/>
                <a:gd name="connsiteX7473" fmla="*/ 4964079 w 8387961"/>
                <a:gd name="connsiteY7473" fmla="*/ 1464856 h 3980066"/>
                <a:gd name="connsiteX7474" fmla="*/ 4940762 w 8387961"/>
                <a:gd name="connsiteY7474" fmla="*/ 1433162 h 3980066"/>
                <a:gd name="connsiteX7475" fmla="*/ 4930769 w 8387961"/>
                <a:gd name="connsiteY7475" fmla="*/ 1434830 h 3980066"/>
                <a:gd name="connsiteX7476" fmla="*/ 4917445 w 8387961"/>
                <a:gd name="connsiteY7476" fmla="*/ 1426490 h 3980066"/>
                <a:gd name="connsiteX7477" fmla="*/ 4917445 w 8387961"/>
                <a:gd name="connsiteY7477" fmla="*/ 1424822 h 3980066"/>
                <a:gd name="connsiteX7478" fmla="*/ 4910783 w 8387961"/>
                <a:gd name="connsiteY7478" fmla="*/ 1438167 h 3980066"/>
                <a:gd name="connsiteX7479" fmla="*/ 4905786 w 8387961"/>
                <a:gd name="connsiteY7479" fmla="*/ 1438167 h 3980066"/>
                <a:gd name="connsiteX7480" fmla="*/ 4904157 w 8387961"/>
                <a:gd name="connsiteY7480" fmla="*/ 1436209 h 3980066"/>
                <a:gd name="connsiteX7481" fmla="*/ 4893084 w 8387961"/>
                <a:gd name="connsiteY7481" fmla="*/ 1436209 h 3980066"/>
                <a:gd name="connsiteX7482" fmla="*/ 4871225 w 8387961"/>
                <a:gd name="connsiteY7482" fmla="*/ 1437869 h 3980066"/>
                <a:gd name="connsiteX7483" fmla="*/ 4857774 w 8387961"/>
                <a:gd name="connsiteY7483" fmla="*/ 1462772 h 3980066"/>
                <a:gd name="connsiteX7484" fmla="*/ 4812376 w 8387961"/>
                <a:gd name="connsiteY7484" fmla="*/ 1461112 h 3980066"/>
                <a:gd name="connsiteX7485" fmla="*/ 4785474 w 8387961"/>
                <a:gd name="connsiteY7485" fmla="*/ 1436209 h 3980066"/>
                <a:gd name="connsiteX7486" fmla="*/ 4761934 w 8387961"/>
                <a:gd name="connsiteY7486" fmla="*/ 1414627 h 3980066"/>
                <a:gd name="connsiteX7487" fmla="*/ 4736713 w 8387961"/>
                <a:gd name="connsiteY7487" fmla="*/ 1403005 h 3980066"/>
                <a:gd name="connsiteX7488" fmla="*/ 4713174 w 8387961"/>
                <a:gd name="connsiteY7488" fmla="*/ 1393044 h 3980066"/>
                <a:gd name="connsiteX7489" fmla="*/ 4686271 w 8387961"/>
                <a:gd name="connsiteY7489" fmla="*/ 1381423 h 3980066"/>
                <a:gd name="connsiteX7490" fmla="*/ 4662732 w 8387961"/>
                <a:gd name="connsiteY7490" fmla="*/ 1371462 h 3980066"/>
                <a:gd name="connsiteX7491" fmla="*/ 4646826 w 8387961"/>
                <a:gd name="connsiteY7491" fmla="*/ 1336911 h 3980066"/>
                <a:gd name="connsiteX7492" fmla="*/ 4646037 w 8387961"/>
                <a:gd name="connsiteY7492" fmla="*/ 1337496 h 3980066"/>
                <a:gd name="connsiteX7493" fmla="*/ 4662318 w 8387961"/>
                <a:gd name="connsiteY7493" fmla="*/ 1372493 h 3980066"/>
                <a:gd name="connsiteX7494" fmla="*/ 4662624 w 8387961"/>
                <a:gd name="connsiteY7494" fmla="*/ 1372385 h 3980066"/>
                <a:gd name="connsiteX7495" fmla="*/ 4686050 w 8387961"/>
                <a:gd name="connsiteY7495" fmla="*/ 1382458 h 3980066"/>
                <a:gd name="connsiteX7496" fmla="*/ 4712824 w 8387961"/>
                <a:gd name="connsiteY7496" fmla="*/ 1394211 h 3980066"/>
                <a:gd name="connsiteX7497" fmla="*/ 4736251 w 8387961"/>
                <a:gd name="connsiteY7497" fmla="*/ 1404284 h 3980066"/>
                <a:gd name="connsiteX7498" fmla="*/ 4761351 w 8387961"/>
                <a:gd name="connsiteY7498" fmla="*/ 1416037 h 3980066"/>
                <a:gd name="connsiteX7499" fmla="*/ 4784778 w 8387961"/>
                <a:gd name="connsiteY7499" fmla="*/ 1437863 h 3980066"/>
                <a:gd name="connsiteX7500" fmla="*/ 4811551 w 8387961"/>
                <a:gd name="connsiteY7500" fmla="*/ 1463046 h 3980066"/>
                <a:gd name="connsiteX7501" fmla="*/ 4856731 w 8387961"/>
                <a:gd name="connsiteY7501" fmla="*/ 1464725 h 3980066"/>
                <a:gd name="connsiteX7502" fmla="*/ 4881795 w 8387961"/>
                <a:gd name="connsiteY7502" fmla="*/ 1468078 h 3980066"/>
                <a:gd name="connsiteX7503" fmla="*/ 4881678 w 8387961"/>
                <a:gd name="connsiteY7503" fmla="*/ 1467794 h 3980066"/>
                <a:gd name="connsiteX7504" fmla="*/ 4856822 w 8387961"/>
                <a:gd name="connsiteY7504" fmla="*/ 1464557 h 3980066"/>
                <a:gd name="connsiteX7505" fmla="*/ 4870079 w 8387961"/>
                <a:gd name="connsiteY7505" fmla="*/ 1440287 h 3980066"/>
                <a:gd name="connsiteX7506" fmla="*/ 4891621 w 8387961"/>
                <a:gd name="connsiteY7506" fmla="*/ 1438669 h 3980066"/>
                <a:gd name="connsiteX7507" fmla="*/ 4896592 w 8387961"/>
                <a:gd name="connsiteY7507" fmla="*/ 1449995 h 3980066"/>
                <a:gd name="connsiteX7508" fmla="*/ 4889964 w 8387961"/>
                <a:gd name="connsiteY7508" fmla="*/ 1453231 h 3980066"/>
                <a:gd name="connsiteX7509" fmla="*/ 4891621 w 8387961"/>
                <a:gd name="connsiteY7509" fmla="*/ 1458085 h 3980066"/>
                <a:gd name="connsiteX7510" fmla="*/ 4906535 w 8387961"/>
                <a:gd name="connsiteY7510" fmla="*/ 1482356 h 3980066"/>
                <a:gd name="connsiteX7511" fmla="*/ 4884992 w 8387961"/>
                <a:gd name="connsiteY7511" fmla="*/ 1475884 h 3980066"/>
                <a:gd name="connsiteX7512" fmla="*/ 4883081 w 8387961"/>
                <a:gd name="connsiteY7512" fmla="*/ 1471217 h 3980066"/>
                <a:gd name="connsiteX7513" fmla="*/ 4885178 w 8387961"/>
                <a:gd name="connsiteY7513" fmla="*/ 1476478 h 3980066"/>
                <a:gd name="connsiteX7514" fmla="*/ 4906931 w 8387961"/>
                <a:gd name="connsiteY7514" fmla="*/ 1483193 h 3980066"/>
                <a:gd name="connsiteX7515" fmla="*/ 4921992 w 8387961"/>
                <a:gd name="connsiteY7515" fmla="*/ 1505019 h 3980066"/>
                <a:gd name="connsiteX7516" fmla="*/ 4933705 w 8387961"/>
                <a:gd name="connsiteY7516" fmla="*/ 1515093 h 3980066"/>
                <a:gd name="connsiteX7517" fmla="*/ 4957132 w 8387961"/>
                <a:gd name="connsiteY7517" fmla="*/ 1538598 h 3980066"/>
                <a:gd name="connsiteX7518" fmla="*/ 4960478 w 8387961"/>
                <a:gd name="connsiteY7518" fmla="*/ 1555387 h 3980066"/>
                <a:gd name="connsiteX7519" fmla="*/ 4972192 w 8387961"/>
                <a:gd name="connsiteY7519" fmla="*/ 1575534 h 3980066"/>
                <a:gd name="connsiteX7520" fmla="*/ 4980351 w 8387961"/>
                <a:gd name="connsiteY7520" fmla="*/ 1593271 h 3980066"/>
                <a:gd name="connsiteX7521" fmla="*/ 4980351 w 8387961"/>
                <a:gd name="connsiteY7521" fmla="*/ 1566874 h 3980066"/>
                <a:gd name="connsiteX7522" fmla="*/ 4991033 w 8387961"/>
                <a:gd name="connsiteY7522" fmla="*/ 1553160 h 3980066"/>
                <a:gd name="connsiteX7523" fmla="*/ 4999935 w 8387961"/>
                <a:gd name="connsiteY7523" fmla="*/ 1578873 h 3980066"/>
                <a:gd name="connsiteX7524" fmla="*/ 4992813 w 8387961"/>
                <a:gd name="connsiteY7524" fmla="*/ 1599444 h 3980066"/>
                <a:gd name="connsiteX7525" fmla="*/ 4989253 w 8387961"/>
                <a:gd name="connsiteY7525" fmla="*/ 1602873 h 3980066"/>
                <a:gd name="connsiteX7526" fmla="*/ 4985480 w 8387961"/>
                <a:gd name="connsiteY7526" fmla="*/ 1599967 h 3980066"/>
                <a:gd name="connsiteX7527" fmla="*/ 4990599 w 8387961"/>
                <a:gd name="connsiteY7527" fmla="*/ 1604075 h 3980066"/>
                <a:gd name="connsiteX7528" fmla="*/ 4993945 w 8387961"/>
                <a:gd name="connsiteY7528" fmla="*/ 1600717 h 3980066"/>
                <a:gd name="connsiteX7529" fmla="*/ 4997292 w 8387961"/>
                <a:gd name="connsiteY7529" fmla="*/ 1600717 h 3980066"/>
                <a:gd name="connsiteX7530" fmla="*/ 4997292 w 8387961"/>
                <a:gd name="connsiteY7530" fmla="*/ 1609112 h 3980066"/>
                <a:gd name="connsiteX7531" fmla="*/ 4999935 w 8387961"/>
                <a:gd name="connsiteY7531" fmla="*/ 1610438 h 3980066"/>
                <a:gd name="connsiteX7532" fmla="*/ 4999935 w 8387961"/>
                <a:gd name="connsiteY7532" fmla="*/ 1610104 h 3980066"/>
                <a:gd name="connsiteX7533" fmla="*/ 5006764 w 8387961"/>
                <a:gd name="connsiteY7533" fmla="*/ 1615075 h 3980066"/>
                <a:gd name="connsiteX7534" fmla="*/ 5023837 w 8387961"/>
                <a:gd name="connsiteY7534" fmla="*/ 1616732 h 3980066"/>
                <a:gd name="connsiteX7535" fmla="*/ 5064813 w 8387961"/>
                <a:gd name="connsiteY7535" fmla="*/ 1615075 h 3980066"/>
                <a:gd name="connsiteX7536" fmla="*/ 5092130 w 8387961"/>
                <a:gd name="connsiteY7536" fmla="*/ 1588561 h 3980066"/>
                <a:gd name="connsiteX7537" fmla="*/ 5113810 w 8387961"/>
                <a:gd name="connsiteY7537" fmla="*/ 1564282 h 3980066"/>
                <a:gd name="connsiteX7538" fmla="*/ 5111413 w 8387961"/>
                <a:gd name="connsiteY7538" fmla="*/ 1563404 h 3980066"/>
                <a:gd name="connsiteX7539" fmla="*/ 5120452 w 8387961"/>
                <a:gd name="connsiteY7539" fmla="*/ 1550147 h 3980066"/>
                <a:gd name="connsiteX7540" fmla="*/ 5120452 w 8387961"/>
                <a:gd name="connsiteY7540" fmla="*/ 1566083 h 3980066"/>
                <a:gd name="connsiteX7541" fmla="*/ 5122862 w 8387961"/>
                <a:gd name="connsiteY7541" fmla="*/ 1567019 h 3980066"/>
                <a:gd name="connsiteX7542" fmla="*/ 5127984 w 8387961"/>
                <a:gd name="connsiteY7542" fmla="*/ 1588561 h 3980066"/>
                <a:gd name="connsiteX7543" fmla="*/ 5125730 w 8387961"/>
                <a:gd name="connsiteY7543" fmla="*/ 1590312 h 3980066"/>
                <a:gd name="connsiteX7544" fmla="*/ 5136808 w 8387961"/>
                <a:gd name="connsiteY7544" fmla="*/ 1611118 h 3980066"/>
                <a:gd name="connsiteX7545" fmla="*/ 5160025 w 8387961"/>
                <a:gd name="connsiteY7545" fmla="*/ 1621182 h 3980066"/>
                <a:gd name="connsiteX7546" fmla="*/ 5181584 w 8387961"/>
                <a:gd name="connsiteY7546" fmla="*/ 1631245 h 3980066"/>
                <a:gd name="connsiteX7547" fmla="*/ 5201484 w 8387961"/>
                <a:gd name="connsiteY7547" fmla="*/ 1648017 h 3980066"/>
                <a:gd name="connsiteX7548" fmla="*/ 5221385 w 8387961"/>
                <a:gd name="connsiteY7548" fmla="*/ 1666466 h 3980066"/>
                <a:gd name="connsiteX7549" fmla="*/ 5206459 w 8387961"/>
                <a:gd name="connsiteY7549" fmla="*/ 1696655 h 3980066"/>
                <a:gd name="connsiteX7550" fmla="*/ 5191534 w 8387961"/>
                <a:gd name="connsiteY7550" fmla="*/ 1725168 h 3980066"/>
                <a:gd name="connsiteX7551" fmla="*/ 5184901 w 8387961"/>
                <a:gd name="connsiteY7551" fmla="*/ 1725168 h 3980066"/>
                <a:gd name="connsiteX7552" fmla="*/ 5174950 w 8387961"/>
                <a:gd name="connsiteY7552" fmla="*/ 1731876 h 3980066"/>
                <a:gd name="connsiteX7553" fmla="*/ 5176609 w 8387961"/>
                <a:gd name="connsiteY7553" fmla="*/ 1765420 h 3980066"/>
                <a:gd name="connsiteX7554" fmla="*/ 5156708 w 8387961"/>
                <a:gd name="connsiteY7554" fmla="*/ 1775483 h 3980066"/>
                <a:gd name="connsiteX7555" fmla="*/ 5146758 w 8387961"/>
                <a:gd name="connsiteY7555" fmla="*/ 1797287 h 3980066"/>
                <a:gd name="connsiteX7556" fmla="*/ 5123541 w 8387961"/>
                <a:gd name="connsiteY7556" fmla="*/ 1802318 h 3980066"/>
                <a:gd name="connsiteX7557" fmla="*/ 5115249 w 8387961"/>
                <a:gd name="connsiteY7557" fmla="*/ 1819090 h 3980066"/>
                <a:gd name="connsiteX7558" fmla="*/ 5101982 w 8387961"/>
                <a:gd name="connsiteY7558" fmla="*/ 1830831 h 3980066"/>
                <a:gd name="connsiteX7559" fmla="*/ 5082082 w 8387961"/>
                <a:gd name="connsiteY7559" fmla="*/ 1837539 h 3980066"/>
                <a:gd name="connsiteX7560" fmla="*/ 5060523 w 8387961"/>
                <a:gd name="connsiteY7560" fmla="*/ 1840894 h 3980066"/>
                <a:gd name="connsiteX7561" fmla="*/ 5060070 w 8387961"/>
                <a:gd name="connsiteY7561" fmla="*/ 1840185 h 3980066"/>
                <a:gd name="connsiteX7562" fmla="*/ 5036614 w 8387961"/>
                <a:gd name="connsiteY7562" fmla="*/ 1860077 h 3980066"/>
                <a:gd name="connsiteX7563" fmla="*/ 5034930 w 8387961"/>
                <a:gd name="connsiteY7563" fmla="*/ 1871742 h 3980066"/>
                <a:gd name="connsiteX7564" fmla="*/ 5014719 w 8387961"/>
                <a:gd name="connsiteY7564" fmla="*/ 1881741 h 3980066"/>
                <a:gd name="connsiteX7565" fmla="*/ 4994508 w 8387961"/>
                <a:gd name="connsiteY7565" fmla="*/ 1890073 h 3980066"/>
                <a:gd name="connsiteX7566" fmla="*/ 4974297 w 8387961"/>
                <a:gd name="connsiteY7566" fmla="*/ 1900072 h 3980066"/>
                <a:gd name="connsiteX7567" fmla="*/ 4954086 w 8387961"/>
                <a:gd name="connsiteY7567" fmla="*/ 1910070 h 3980066"/>
                <a:gd name="connsiteX7568" fmla="*/ 4933876 w 8387961"/>
                <a:gd name="connsiteY7568" fmla="*/ 1918402 h 3980066"/>
                <a:gd name="connsiteX7569" fmla="*/ 4905243 w 8387961"/>
                <a:gd name="connsiteY7569" fmla="*/ 1928401 h 3980066"/>
                <a:gd name="connsiteX7570" fmla="*/ 4879980 w 8387961"/>
                <a:gd name="connsiteY7570" fmla="*/ 1936733 h 3980066"/>
                <a:gd name="connsiteX7571" fmla="*/ 4844611 w 8387961"/>
                <a:gd name="connsiteY7571" fmla="*/ 1956730 h 3980066"/>
                <a:gd name="connsiteX7572" fmla="*/ 4812610 w 8387961"/>
                <a:gd name="connsiteY7572" fmla="*/ 1958397 h 3980066"/>
                <a:gd name="connsiteX7573" fmla="*/ 4800820 w 8387961"/>
                <a:gd name="connsiteY7573" fmla="*/ 1920069 h 3980066"/>
                <a:gd name="connsiteX7574" fmla="*/ 4789031 w 8387961"/>
                <a:gd name="connsiteY7574" fmla="*/ 1885074 h 3980066"/>
                <a:gd name="connsiteX7575" fmla="*/ 4789031 w 8387961"/>
                <a:gd name="connsiteY7575" fmla="*/ 1848412 h 3980066"/>
                <a:gd name="connsiteX7576" fmla="*/ 4790074 w 8387961"/>
                <a:gd name="connsiteY7576" fmla="*/ 1847173 h 3980066"/>
                <a:gd name="connsiteX7577" fmla="*/ 4776411 w 8387961"/>
                <a:gd name="connsiteY7577" fmla="*/ 1827371 h 3980066"/>
                <a:gd name="connsiteX7578" fmla="*/ 4764697 w 8387961"/>
                <a:gd name="connsiteY7578" fmla="*/ 1805545 h 3980066"/>
                <a:gd name="connsiteX7579" fmla="*/ 4742944 w 8387961"/>
                <a:gd name="connsiteY7579" fmla="*/ 1771967 h 3980066"/>
                <a:gd name="connsiteX7580" fmla="*/ 4722864 w 8387961"/>
                <a:gd name="connsiteY7580" fmla="*/ 1738389 h 3980066"/>
                <a:gd name="connsiteX7581" fmla="*/ 4692744 w 8387961"/>
                <a:gd name="connsiteY7581" fmla="*/ 1711526 h 3980066"/>
                <a:gd name="connsiteX7582" fmla="*/ 4682704 w 8387961"/>
                <a:gd name="connsiteY7582" fmla="*/ 1671232 h 3980066"/>
                <a:gd name="connsiteX7583" fmla="*/ 4672664 w 8387961"/>
                <a:gd name="connsiteY7583" fmla="*/ 1649406 h 3980066"/>
                <a:gd name="connsiteX7584" fmla="*/ 4664297 w 8387961"/>
                <a:gd name="connsiteY7584" fmla="*/ 1625901 h 3980066"/>
                <a:gd name="connsiteX7585" fmla="*/ 4645890 w 8387961"/>
                <a:gd name="connsiteY7585" fmla="*/ 1610791 h 3980066"/>
                <a:gd name="connsiteX7586" fmla="*/ 4630830 w 8387961"/>
                <a:gd name="connsiteY7586" fmla="*/ 1597360 h 3980066"/>
                <a:gd name="connsiteX7587" fmla="*/ 4615770 w 8387961"/>
                <a:gd name="connsiteY7587" fmla="*/ 1565460 h 3980066"/>
                <a:gd name="connsiteX7588" fmla="*/ 4590670 w 8387961"/>
                <a:gd name="connsiteY7588" fmla="*/ 1530203 h 3980066"/>
                <a:gd name="connsiteX7589" fmla="*/ 4563896 w 8387961"/>
                <a:gd name="connsiteY7589" fmla="*/ 1494946 h 3980066"/>
                <a:gd name="connsiteX7590" fmla="*/ 4555530 w 8387961"/>
                <a:gd name="connsiteY7590" fmla="*/ 1493267 h 3980066"/>
                <a:gd name="connsiteX7591" fmla="*/ 4562182 w 8387961"/>
                <a:gd name="connsiteY7591" fmla="*/ 1456558 h 3980066"/>
                <a:gd name="connsiteX7592" fmla="*/ 4562102 w 8387961"/>
                <a:gd name="connsiteY7592" fmla="*/ 1456539 h 3980066"/>
                <a:gd name="connsiteX7593" fmla="*/ 4555711 w 8387961"/>
                <a:gd name="connsiteY7593" fmla="*/ 1478531 h 3980066"/>
                <a:gd name="connsiteX7594" fmla="*/ 4550649 w 8387961"/>
                <a:gd name="connsiteY7594" fmla="*/ 1503413 h 3980066"/>
                <a:gd name="connsiteX7595" fmla="*/ 4535464 w 8387961"/>
                <a:gd name="connsiteY7595" fmla="*/ 1498437 h 3980066"/>
                <a:gd name="connsiteX7596" fmla="*/ 4520279 w 8387961"/>
                <a:gd name="connsiteY7596" fmla="*/ 1470237 h 3980066"/>
                <a:gd name="connsiteX7597" fmla="*/ 4501720 w 8387961"/>
                <a:gd name="connsiteY7597" fmla="*/ 1443696 h 3980066"/>
                <a:gd name="connsiteX7598" fmla="*/ 4496658 w 8387961"/>
                <a:gd name="connsiteY7598" fmla="*/ 1445355 h 3980066"/>
                <a:gd name="connsiteX7599" fmla="*/ 4506781 w 8387961"/>
                <a:gd name="connsiteY7599" fmla="*/ 1468578 h 3980066"/>
                <a:gd name="connsiteX7600" fmla="*/ 4520279 w 8387961"/>
                <a:gd name="connsiteY7600" fmla="*/ 1490143 h 3980066"/>
                <a:gd name="connsiteX7601" fmla="*/ 4532090 w 8387961"/>
                <a:gd name="connsiteY7601" fmla="*/ 1513366 h 3980066"/>
                <a:gd name="connsiteX7602" fmla="*/ 4542213 w 8387961"/>
                <a:gd name="connsiteY7602" fmla="*/ 1534930 h 3980066"/>
                <a:gd name="connsiteX7603" fmla="*/ 4554024 w 8387961"/>
                <a:gd name="connsiteY7603" fmla="*/ 1554836 h 3980066"/>
                <a:gd name="connsiteX7604" fmla="*/ 4565835 w 8387961"/>
                <a:gd name="connsiteY7604" fmla="*/ 1576400 h 3980066"/>
                <a:gd name="connsiteX7605" fmla="*/ 4581020 w 8387961"/>
                <a:gd name="connsiteY7605" fmla="*/ 1596306 h 3980066"/>
                <a:gd name="connsiteX7606" fmla="*/ 4596205 w 8387961"/>
                <a:gd name="connsiteY7606" fmla="*/ 1617870 h 3980066"/>
                <a:gd name="connsiteX7607" fmla="*/ 4592830 w 8387961"/>
                <a:gd name="connsiteY7607" fmla="*/ 1619529 h 3980066"/>
                <a:gd name="connsiteX7608" fmla="*/ 4594518 w 8387961"/>
                <a:gd name="connsiteY7608" fmla="*/ 1644411 h 3980066"/>
                <a:gd name="connsiteX7609" fmla="*/ 4594499 w 8387961"/>
                <a:gd name="connsiteY7609" fmla="*/ 1644429 h 3980066"/>
                <a:gd name="connsiteX7610" fmla="*/ 4612119 w 8387961"/>
                <a:gd name="connsiteY7610" fmla="*/ 1661996 h 3980066"/>
                <a:gd name="connsiteX7611" fmla="*/ 4627260 w 8387961"/>
                <a:gd name="connsiteY7611" fmla="*/ 1682122 h 3980066"/>
                <a:gd name="connsiteX7612" fmla="*/ 4637354 w 8387961"/>
                <a:gd name="connsiteY7612" fmla="*/ 1703925 h 3980066"/>
                <a:gd name="connsiteX7613" fmla="*/ 4644083 w 8387961"/>
                <a:gd name="connsiteY7613" fmla="*/ 1739145 h 3980066"/>
                <a:gd name="connsiteX7614" fmla="*/ 4652494 w 8387961"/>
                <a:gd name="connsiteY7614" fmla="*/ 1774366 h 3980066"/>
                <a:gd name="connsiteX7615" fmla="*/ 4676047 w 8387961"/>
                <a:gd name="connsiteY7615" fmla="*/ 1802877 h 3980066"/>
                <a:gd name="connsiteX7616" fmla="*/ 4660906 w 8387961"/>
                <a:gd name="connsiteY7616" fmla="*/ 1814618 h 3980066"/>
                <a:gd name="connsiteX7617" fmla="*/ 4644083 w 8387961"/>
                <a:gd name="connsiteY7617" fmla="*/ 1826358 h 3980066"/>
                <a:gd name="connsiteX7618" fmla="*/ 4643571 w 8387961"/>
                <a:gd name="connsiteY7618" fmla="*/ 1828315 h 3980066"/>
                <a:gd name="connsiteX7619" fmla="*/ 4659332 w 8387961"/>
                <a:gd name="connsiteY7619" fmla="*/ 1817056 h 3980066"/>
                <a:gd name="connsiteX7620" fmla="*/ 4674182 w 8387961"/>
                <a:gd name="connsiteY7620" fmla="*/ 1805270 h 3980066"/>
                <a:gd name="connsiteX7621" fmla="*/ 4679132 w 8387961"/>
                <a:gd name="connsiteY7621" fmla="*/ 1800219 h 3980066"/>
                <a:gd name="connsiteX7622" fmla="*/ 4685731 w 8387961"/>
                <a:gd name="connsiteY7622" fmla="*/ 1820423 h 3980066"/>
                <a:gd name="connsiteX7623" fmla="*/ 4693981 w 8387961"/>
                <a:gd name="connsiteY7623" fmla="*/ 1842311 h 3980066"/>
                <a:gd name="connsiteX7624" fmla="*/ 4702231 w 8387961"/>
                <a:gd name="connsiteY7624" fmla="*/ 1865883 h 3980066"/>
                <a:gd name="connsiteX7625" fmla="*/ 4712130 w 8387961"/>
                <a:gd name="connsiteY7625" fmla="*/ 1887771 h 3980066"/>
                <a:gd name="connsiteX7626" fmla="*/ 4712130 w 8387961"/>
                <a:gd name="connsiteY7626" fmla="*/ 1879352 h 3980066"/>
                <a:gd name="connsiteX7627" fmla="*/ 4720380 w 8387961"/>
                <a:gd name="connsiteY7627" fmla="*/ 1882719 h 3980066"/>
                <a:gd name="connsiteX7628" fmla="*/ 4741829 w 8387961"/>
                <a:gd name="connsiteY7628" fmla="*/ 1899556 h 3980066"/>
                <a:gd name="connsiteX7629" fmla="*/ 4769878 w 8387961"/>
                <a:gd name="connsiteY7629" fmla="*/ 1928179 h 3980066"/>
                <a:gd name="connsiteX7630" fmla="*/ 4797927 w 8387961"/>
                <a:gd name="connsiteY7630" fmla="*/ 1956802 h 3980066"/>
                <a:gd name="connsiteX7631" fmla="*/ 4799472 w 8387961"/>
                <a:gd name="connsiteY7631" fmla="*/ 1961533 h 3980066"/>
                <a:gd name="connsiteX7632" fmla="*/ 4799850 w 8387961"/>
                <a:gd name="connsiteY7632" fmla="*/ 1961410 h 3980066"/>
                <a:gd name="connsiteX7633" fmla="*/ 4810121 w 8387961"/>
                <a:gd name="connsiteY7633" fmla="*/ 1994767 h 3980066"/>
                <a:gd name="connsiteX7634" fmla="*/ 4809396 w 8387961"/>
                <a:gd name="connsiteY7634" fmla="*/ 1996179 h 3980066"/>
                <a:gd name="connsiteX7635" fmla="*/ 4825925 w 8387961"/>
                <a:gd name="connsiteY7635" fmla="*/ 2011098 h 3980066"/>
                <a:gd name="connsiteX7636" fmla="*/ 4842600 w 8387961"/>
                <a:gd name="connsiteY7636" fmla="*/ 2027823 h 3980066"/>
                <a:gd name="connsiteX7637" fmla="*/ 4874283 w 8387961"/>
                <a:gd name="connsiteY7637" fmla="*/ 2016116 h 3980066"/>
                <a:gd name="connsiteX7638" fmla="*/ 4900964 w 8387961"/>
                <a:gd name="connsiteY7638" fmla="*/ 2017788 h 3980066"/>
                <a:gd name="connsiteX7639" fmla="*/ 4924309 w 8387961"/>
                <a:gd name="connsiteY7639" fmla="*/ 2006081 h 3980066"/>
                <a:gd name="connsiteX7640" fmla="*/ 4960995 w 8387961"/>
                <a:gd name="connsiteY7640" fmla="*/ 1997719 h 3980066"/>
                <a:gd name="connsiteX7641" fmla="*/ 4999348 w 8387961"/>
                <a:gd name="connsiteY7641" fmla="*/ 1989356 h 3980066"/>
                <a:gd name="connsiteX7642" fmla="*/ 5011021 w 8387961"/>
                <a:gd name="connsiteY7642" fmla="*/ 1980994 h 3980066"/>
                <a:gd name="connsiteX7643" fmla="*/ 5019358 w 8387961"/>
                <a:gd name="connsiteY7643" fmla="*/ 1989356 h 3980066"/>
                <a:gd name="connsiteX7644" fmla="*/ 5016023 w 8387961"/>
                <a:gd name="connsiteY7644" fmla="*/ 2027823 h 3980066"/>
                <a:gd name="connsiteX7645" fmla="*/ 5021026 w 8387961"/>
                <a:gd name="connsiteY7645" fmla="*/ 2027823 h 3980066"/>
                <a:gd name="connsiteX7646" fmla="*/ 5012688 w 8387961"/>
                <a:gd name="connsiteY7646" fmla="*/ 2037858 h 3980066"/>
                <a:gd name="connsiteX7647" fmla="*/ 5004350 w 8387961"/>
                <a:gd name="connsiteY7647" fmla="*/ 2071308 h 3980066"/>
                <a:gd name="connsiteX7648" fmla="*/ 4986008 w 8387961"/>
                <a:gd name="connsiteY7648" fmla="*/ 2108102 h 3980066"/>
                <a:gd name="connsiteX7649" fmla="*/ 4969332 w 8387961"/>
                <a:gd name="connsiteY7649" fmla="*/ 2141552 h 3980066"/>
                <a:gd name="connsiteX7650" fmla="*/ 4950990 w 8387961"/>
                <a:gd name="connsiteY7650" fmla="*/ 2178346 h 3980066"/>
                <a:gd name="connsiteX7651" fmla="*/ 4932647 w 8387961"/>
                <a:gd name="connsiteY7651" fmla="*/ 2213468 h 3980066"/>
                <a:gd name="connsiteX7652" fmla="*/ 4915971 w 8387961"/>
                <a:gd name="connsiteY7652" fmla="*/ 2231865 h 3980066"/>
                <a:gd name="connsiteX7653" fmla="*/ 4900964 w 8387961"/>
                <a:gd name="connsiteY7653" fmla="*/ 2248590 h 3980066"/>
                <a:gd name="connsiteX7654" fmla="*/ 4884288 w 8387961"/>
                <a:gd name="connsiteY7654" fmla="*/ 2263643 h 3980066"/>
                <a:gd name="connsiteX7655" fmla="*/ 4870948 w 8387961"/>
                <a:gd name="connsiteY7655" fmla="*/ 2280367 h 3980066"/>
                <a:gd name="connsiteX7656" fmla="*/ 4850938 w 8387961"/>
                <a:gd name="connsiteY7656" fmla="*/ 2298765 h 3980066"/>
                <a:gd name="connsiteX7657" fmla="*/ 4832595 w 8387961"/>
                <a:gd name="connsiteY7657" fmla="*/ 2317162 h 3980066"/>
                <a:gd name="connsiteX7658" fmla="*/ 4814252 w 8387961"/>
                <a:gd name="connsiteY7658" fmla="*/ 2333887 h 3980066"/>
                <a:gd name="connsiteX7659" fmla="*/ 4795909 w 8387961"/>
                <a:gd name="connsiteY7659" fmla="*/ 2352284 h 3980066"/>
                <a:gd name="connsiteX7660" fmla="*/ 4782569 w 8387961"/>
                <a:gd name="connsiteY7660" fmla="*/ 2372354 h 3980066"/>
                <a:gd name="connsiteX7661" fmla="*/ 4770897 w 8387961"/>
                <a:gd name="connsiteY7661" fmla="*/ 2390751 h 3980066"/>
                <a:gd name="connsiteX7662" fmla="*/ 4755889 w 8387961"/>
                <a:gd name="connsiteY7662" fmla="*/ 2367336 h 3980066"/>
                <a:gd name="connsiteX7663" fmla="*/ 4755889 w 8387961"/>
                <a:gd name="connsiteY7663" fmla="*/ 2338904 h 3980066"/>
                <a:gd name="connsiteX7664" fmla="*/ 4755889 w 8387961"/>
                <a:gd name="connsiteY7664" fmla="*/ 2310472 h 3980066"/>
                <a:gd name="connsiteX7665" fmla="*/ 4755889 w 8387961"/>
                <a:gd name="connsiteY7665" fmla="*/ 2282040 h 3980066"/>
                <a:gd name="connsiteX7666" fmla="*/ 4755889 w 8387961"/>
                <a:gd name="connsiteY7666" fmla="*/ 2256953 h 3980066"/>
                <a:gd name="connsiteX7667" fmla="*/ 4769229 w 8387961"/>
                <a:gd name="connsiteY7667" fmla="*/ 2238555 h 3980066"/>
                <a:gd name="connsiteX7668" fmla="*/ 4780902 w 8387961"/>
                <a:gd name="connsiteY7668" fmla="*/ 2221831 h 3980066"/>
                <a:gd name="connsiteX7669" fmla="*/ 4792574 w 8387961"/>
                <a:gd name="connsiteY7669" fmla="*/ 2213468 h 3980066"/>
                <a:gd name="connsiteX7670" fmla="*/ 4819255 w 8387961"/>
                <a:gd name="connsiteY7670" fmla="*/ 2198416 h 3980066"/>
                <a:gd name="connsiteX7671" fmla="*/ 4839265 w 8387961"/>
                <a:gd name="connsiteY7671" fmla="*/ 2196743 h 3980066"/>
                <a:gd name="connsiteX7672" fmla="*/ 4860943 w 8387961"/>
                <a:gd name="connsiteY7672" fmla="*/ 2193399 h 3980066"/>
                <a:gd name="connsiteX7673" fmla="*/ 4879286 w 8387961"/>
                <a:gd name="connsiteY7673" fmla="*/ 2169984 h 3980066"/>
                <a:gd name="connsiteX7674" fmla="*/ 4899296 w 8387961"/>
                <a:gd name="connsiteY7674" fmla="*/ 2146569 h 3980066"/>
                <a:gd name="connsiteX7675" fmla="*/ 4919307 w 8387961"/>
                <a:gd name="connsiteY7675" fmla="*/ 2123154 h 3980066"/>
                <a:gd name="connsiteX7676" fmla="*/ 4935982 w 8387961"/>
                <a:gd name="connsiteY7676" fmla="*/ 2099740 h 3980066"/>
                <a:gd name="connsiteX7677" fmla="*/ 4935658 w 8387961"/>
                <a:gd name="connsiteY7677" fmla="*/ 2099740 h 3980066"/>
                <a:gd name="connsiteX7678" fmla="*/ 4919940 w 8387961"/>
                <a:gd name="connsiteY7678" fmla="*/ 2121765 h 3980066"/>
                <a:gd name="connsiteX7679" fmla="*/ 4899870 w 8387961"/>
                <a:gd name="connsiteY7679" fmla="*/ 2145198 h 3980066"/>
                <a:gd name="connsiteX7680" fmla="*/ 4879801 w 8387961"/>
                <a:gd name="connsiteY7680" fmla="*/ 2168632 h 3980066"/>
                <a:gd name="connsiteX7681" fmla="*/ 4861405 w 8387961"/>
                <a:gd name="connsiteY7681" fmla="*/ 2192066 h 3980066"/>
                <a:gd name="connsiteX7682" fmla="*/ 4839663 w 8387961"/>
                <a:gd name="connsiteY7682" fmla="*/ 2195414 h 3980066"/>
                <a:gd name="connsiteX7683" fmla="*/ 4819594 w 8387961"/>
                <a:gd name="connsiteY7683" fmla="*/ 2197087 h 3980066"/>
                <a:gd name="connsiteX7684" fmla="*/ 4792835 w 8387961"/>
                <a:gd name="connsiteY7684" fmla="*/ 2212152 h 3980066"/>
                <a:gd name="connsiteX7685" fmla="*/ 4781128 w 8387961"/>
                <a:gd name="connsiteY7685" fmla="*/ 2220521 h 3980066"/>
                <a:gd name="connsiteX7686" fmla="*/ 4752697 w 8387961"/>
                <a:gd name="connsiteY7686" fmla="*/ 2215500 h 3980066"/>
                <a:gd name="connsiteX7687" fmla="*/ 4725938 w 8387961"/>
                <a:gd name="connsiteY7687" fmla="*/ 2222195 h 3980066"/>
                <a:gd name="connsiteX7688" fmla="*/ 4712559 w 8387961"/>
                <a:gd name="connsiteY7688" fmla="*/ 2235586 h 3980066"/>
                <a:gd name="connsiteX7689" fmla="*/ 4675766 w 8387961"/>
                <a:gd name="connsiteY7689" fmla="*/ 2227217 h 3980066"/>
                <a:gd name="connsiteX7690" fmla="*/ 4643990 w 8387961"/>
                <a:gd name="connsiteY7690" fmla="*/ 2205457 h 3980066"/>
                <a:gd name="connsiteX7691" fmla="*/ 4622248 w 8387961"/>
                <a:gd name="connsiteY7691" fmla="*/ 2200435 h 3980066"/>
                <a:gd name="connsiteX7692" fmla="*/ 4622223 w 8387961"/>
                <a:gd name="connsiteY7692" fmla="*/ 2200365 h 3980066"/>
                <a:gd name="connsiteX7693" fmla="*/ 4602025 w 8387961"/>
                <a:gd name="connsiteY7693" fmla="*/ 2200365 h 3980066"/>
                <a:gd name="connsiteX7694" fmla="*/ 4581837 w 8387961"/>
                <a:gd name="connsiteY7694" fmla="*/ 2200365 h 3980066"/>
                <a:gd name="connsiteX7695" fmla="*/ 4571743 w 8387961"/>
                <a:gd name="connsiteY7695" fmla="*/ 2212106 h 3980066"/>
                <a:gd name="connsiteX7696" fmla="*/ 4570994 w 8387961"/>
                <a:gd name="connsiteY7696" fmla="*/ 2213067 h 3980066"/>
                <a:gd name="connsiteX7697" fmla="*/ 4571224 w 8387961"/>
                <a:gd name="connsiteY7697" fmla="*/ 2213568 h 3980066"/>
                <a:gd name="connsiteX7698" fmla="*/ 4580712 w 8387961"/>
                <a:gd name="connsiteY7698" fmla="*/ 2202444 h 3980066"/>
                <a:gd name="connsiteX7699" fmla="*/ 4600640 w 8387961"/>
                <a:gd name="connsiteY7699" fmla="*/ 2202444 h 3980066"/>
                <a:gd name="connsiteX7700" fmla="*/ 4622229 w 8387961"/>
                <a:gd name="connsiteY7700" fmla="*/ 2202444 h 3980066"/>
                <a:gd name="connsiteX7701" fmla="*/ 4643818 w 8387961"/>
                <a:gd name="connsiteY7701" fmla="*/ 2207450 h 3980066"/>
                <a:gd name="connsiteX7702" fmla="*/ 4675370 w 8387961"/>
                <a:gd name="connsiteY7702" fmla="*/ 2229145 h 3980066"/>
                <a:gd name="connsiteX7703" fmla="*/ 4711905 w 8387961"/>
                <a:gd name="connsiteY7703" fmla="*/ 2237489 h 3980066"/>
                <a:gd name="connsiteX7704" fmla="*/ 4725190 w 8387961"/>
                <a:gd name="connsiteY7704" fmla="*/ 2224139 h 3980066"/>
                <a:gd name="connsiteX7705" fmla="*/ 4751761 w 8387961"/>
                <a:gd name="connsiteY7705" fmla="*/ 2217463 h 3980066"/>
                <a:gd name="connsiteX7706" fmla="*/ 4779992 w 8387961"/>
                <a:gd name="connsiteY7706" fmla="*/ 2222470 h 3980066"/>
                <a:gd name="connsiteX7707" fmla="*/ 4768367 w 8387961"/>
                <a:gd name="connsiteY7707" fmla="*/ 2239158 h 3980066"/>
                <a:gd name="connsiteX7708" fmla="*/ 4755082 w 8387961"/>
                <a:gd name="connsiteY7708" fmla="*/ 2257515 h 3980066"/>
                <a:gd name="connsiteX7709" fmla="*/ 4755082 w 8387961"/>
                <a:gd name="connsiteY7709" fmla="*/ 2282548 h 3980066"/>
                <a:gd name="connsiteX7710" fmla="*/ 4755082 w 8387961"/>
                <a:gd name="connsiteY7710" fmla="*/ 2310918 h 3980066"/>
                <a:gd name="connsiteX7711" fmla="*/ 4755082 w 8387961"/>
                <a:gd name="connsiteY7711" fmla="*/ 2339288 h 3980066"/>
                <a:gd name="connsiteX7712" fmla="*/ 4755082 w 8387961"/>
                <a:gd name="connsiteY7712" fmla="*/ 2367659 h 3980066"/>
                <a:gd name="connsiteX7713" fmla="*/ 4770028 w 8387961"/>
                <a:gd name="connsiteY7713" fmla="*/ 2391022 h 3980066"/>
                <a:gd name="connsiteX7714" fmla="*/ 4755082 w 8387961"/>
                <a:gd name="connsiteY7714" fmla="*/ 2399366 h 3980066"/>
                <a:gd name="connsiteX7715" fmla="*/ 4745118 w 8387961"/>
                <a:gd name="connsiteY7715" fmla="*/ 2417724 h 3980066"/>
                <a:gd name="connsiteX7716" fmla="*/ 4733493 w 8387961"/>
                <a:gd name="connsiteY7716" fmla="*/ 2429405 h 3980066"/>
                <a:gd name="connsiteX7717" fmla="*/ 4721869 w 8387961"/>
                <a:gd name="connsiteY7717" fmla="*/ 2452769 h 3980066"/>
                <a:gd name="connsiteX7718" fmla="*/ 4710244 w 8387961"/>
                <a:gd name="connsiteY7718" fmla="*/ 2479470 h 3980066"/>
                <a:gd name="connsiteX7719" fmla="*/ 4709311 w 8387961"/>
                <a:gd name="connsiteY7719" fmla="*/ 2480408 h 3980066"/>
                <a:gd name="connsiteX7720" fmla="*/ 4709383 w 8387961"/>
                <a:gd name="connsiteY7720" fmla="*/ 2480480 h 3980066"/>
                <a:gd name="connsiteX7721" fmla="*/ 4695922 w 8387961"/>
                <a:gd name="connsiteY7721" fmla="*/ 2520778 h 3980066"/>
                <a:gd name="connsiteX7722" fmla="*/ 4714431 w 8387961"/>
                <a:gd name="connsiteY7722" fmla="*/ 2547643 h 3980066"/>
                <a:gd name="connsiteX7723" fmla="*/ 4709383 w 8387961"/>
                <a:gd name="connsiteY7723" fmla="*/ 2574508 h 3980066"/>
                <a:gd name="connsiteX7724" fmla="*/ 4711066 w 8387961"/>
                <a:gd name="connsiteY7724" fmla="*/ 2584582 h 3980066"/>
                <a:gd name="connsiteX7725" fmla="*/ 4714431 w 8387961"/>
                <a:gd name="connsiteY7725" fmla="*/ 2608089 h 3980066"/>
                <a:gd name="connsiteX7726" fmla="*/ 4719479 w 8387961"/>
                <a:gd name="connsiteY7726" fmla="*/ 2638313 h 3980066"/>
                <a:gd name="connsiteX7727" fmla="*/ 4735583 w 8387961"/>
                <a:gd name="connsiteY7727" fmla="*/ 2654382 h 3980066"/>
                <a:gd name="connsiteX7728" fmla="*/ 4737666 w 8387961"/>
                <a:gd name="connsiteY7728" fmla="*/ 2654382 h 3980066"/>
                <a:gd name="connsiteX7729" fmla="*/ 4734363 w 8387961"/>
                <a:gd name="connsiteY7729" fmla="*/ 2674489 h 3980066"/>
                <a:gd name="connsiteX7730" fmla="*/ 4737666 w 8387961"/>
                <a:gd name="connsiteY7730" fmla="*/ 2718053 h 3980066"/>
                <a:gd name="connsiteX7731" fmla="*/ 4732711 w 8387961"/>
                <a:gd name="connsiteY7731" fmla="*/ 2731457 h 3980066"/>
                <a:gd name="connsiteX7732" fmla="*/ 4737666 w 8387961"/>
                <a:gd name="connsiteY7732" fmla="*/ 2773346 h 3980066"/>
                <a:gd name="connsiteX7733" fmla="*/ 4739318 w 8387961"/>
                <a:gd name="connsiteY7733" fmla="*/ 2773346 h 3980066"/>
                <a:gd name="connsiteX7734" fmla="*/ 4732711 w 8387961"/>
                <a:gd name="connsiteY7734" fmla="*/ 2795128 h 3980066"/>
                <a:gd name="connsiteX7735" fmla="*/ 4711240 w 8387961"/>
                <a:gd name="connsiteY7735" fmla="*/ 2833666 h 3980066"/>
                <a:gd name="connsiteX7736" fmla="*/ 4679858 w 8387961"/>
                <a:gd name="connsiteY7736" fmla="*/ 2853773 h 3980066"/>
                <a:gd name="connsiteX7737" fmla="*/ 4655083 w 8387961"/>
                <a:gd name="connsiteY7737" fmla="*/ 2868853 h 3980066"/>
                <a:gd name="connsiteX7738" fmla="*/ 4633612 w 8387961"/>
                <a:gd name="connsiteY7738" fmla="*/ 2882257 h 3980066"/>
                <a:gd name="connsiteX7739" fmla="*/ 4613792 w 8387961"/>
                <a:gd name="connsiteY7739" fmla="*/ 2909066 h 3980066"/>
                <a:gd name="connsiteX7740" fmla="*/ 4584062 w 8387961"/>
                <a:gd name="connsiteY7740" fmla="*/ 2932524 h 3980066"/>
                <a:gd name="connsiteX7741" fmla="*/ 4574152 w 8387961"/>
                <a:gd name="connsiteY7741" fmla="*/ 2932524 h 3980066"/>
                <a:gd name="connsiteX7742" fmla="*/ 4574152 w 8387961"/>
                <a:gd name="connsiteY7742" fmla="*/ 2942577 h 3980066"/>
                <a:gd name="connsiteX7743" fmla="*/ 4579107 w 8387961"/>
                <a:gd name="connsiteY7743" fmla="*/ 2962684 h 3980066"/>
                <a:gd name="connsiteX7744" fmla="*/ 4580759 w 8387961"/>
                <a:gd name="connsiteY7744" fmla="*/ 2989492 h 3980066"/>
                <a:gd name="connsiteX7745" fmla="*/ 4585714 w 8387961"/>
                <a:gd name="connsiteY7745" fmla="*/ 3012950 h 3980066"/>
                <a:gd name="connsiteX7746" fmla="*/ 4590669 w 8387961"/>
                <a:gd name="connsiteY7746" fmla="*/ 3004572 h 3980066"/>
                <a:gd name="connsiteX7747" fmla="*/ 4589017 w 8387961"/>
                <a:gd name="connsiteY7747" fmla="*/ 3031381 h 3980066"/>
                <a:gd name="connsiteX7748" fmla="*/ 4584062 w 8387961"/>
                <a:gd name="connsiteY7748" fmla="*/ 3056514 h 3980066"/>
                <a:gd name="connsiteX7749" fmla="*/ 4584062 w 8387961"/>
                <a:gd name="connsiteY7749" fmla="*/ 3069919 h 3980066"/>
                <a:gd name="connsiteX7750" fmla="*/ 4562590 w 8387961"/>
                <a:gd name="connsiteY7750" fmla="*/ 3083323 h 3980066"/>
                <a:gd name="connsiteX7751" fmla="*/ 4541119 w 8387961"/>
                <a:gd name="connsiteY7751" fmla="*/ 3095052 h 3980066"/>
                <a:gd name="connsiteX7752" fmla="*/ 4509737 w 8387961"/>
                <a:gd name="connsiteY7752" fmla="*/ 3121861 h 3980066"/>
                <a:gd name="connsiteX7753" fmla="*/ 4516344 w 8387961"/>
                <a:gd name="connsiteY7753" fmla="*/ 3126888 h 3980066"/>
                <a:gd name="connsiteX7754" fmla="*/ 4514780 w 8387961"/>
                <a:gd name="connsiteY7754" fmla="*/ 3145928 h 3980066"/>
                <a:gd name="connsiteX7755" fmla="*/ 4514855 w 8387961"/>
                <a:gd name="connsiteY7755" fmla="*/ 3145928 h 3980066"/>
                <a:gd name="connsiteX7756" fmla="*/ 4514761 w 8387961"/>
                <a:gd name="connsiteY7756" fmla="*/ 3146154 h 3980066"/>
                <a:gd name="connsiteX7757" fmla="*/ 4514692 w 8387961"/>
                <a:gd name="connsiteY7757" fmla="*/ 3146994 h 3980066"/>
                <a:gd name="connsiteX7758" fmla="*/ 4514414 w 8387961"/>
                <a:gd name="connsiteY7758" fmla="*/ 3146994 h 3980066"/>
                <a:gd name="connsiteX7759" fmla="*/ 4503101 w 8387961"/>
                <a:gd name="connsiteY7759" fmla="*/ 3174371 h 3980066"/>
                <a:gd name="connsiteX7760" fmla="*/ 4491347 w 8387961"/>
                <a:gd name="connsiteY7760" fmla="*/ 3204486 h 3980066"/>
                <a:gd name="connsiteX7761" fmla="*/ 4471197 w 8387961"/>
                <a:gd name="connsiteY7761" fmla="*/ 3229583 h 3980066"/>
                <a:gd name="connsiteX7762" fmla="*/ 4452727 w 8387961"/>
                <a:gd name="connsiteY7762" fmla="*/ 3251333 h 3980066"/>
                <a:gd name="connsiteX7763" fmla="*/ 4434256 w 8387961"/>
                <a:gd name="connsiteY7763" fmla="*/ 3269737 h 3980066"/>
                <a:gd name="connsiteX7764" fmla="*/ 4419144 w 8387961"/>
                <a:gd name="connsiteY7764" fmla="*/ 3286468 h 3980066"/>
                <a:gd name="connsiteX7765" fmla="*/ 4402353 w 8387961"/>
                <a:gd name="connsiteY7765" fmla="*/ 3304872 h 3980066"/>
                <a:gd name="connsiteX7766" fmla="*/ 4385561 w 8387961"/>
                <a:gd name="connsiteY7766" fmla="*/ 3321603 h 3980066"/>
                <a:gd name="connsiteX7767" fmla="*/ 4358695 w 8387961"/>
                <a:gd name="connsiteY7767" fmla="*/ 3336661 h 3980066"/>
                <a:gd name="connsiteX7768" fmla="*/ 4330150 w 8387961"/>
                <a:gd name="connsiteY7768" fmla="*/ 3353392 h 3980066"/>
                <a:gd name="connsiteX7769" fmla="*/ 4313359 w 8387961"/>
                <a:gd name="connsiteY7769" fmla="*/ 3360085 h 3980066"/>
                <a:gd name="connsiteX7770" fmla="*/ 4279776 w 8387961"/>
                <a:gd name="connsiteY7770" fmla="*/ 3363431 h 3980066"/>
                <a:gd name="connsiteX7771" fmla="*/ 4251231 w 8387961"/>
                <a:gd name="connsiteY7771" fmla="*/ 3365104 h 3980066"/>
                <a:gd name="connsiteX7772" fmla="*/ 4224365 w 8387961"/>
                <a:gd name="connsiteY7772" fmla="*/ 3365104 h 3980066"/>
                <a:gd name="connsiteX7773" fmla="*/ 4197498 w 8387961"/>
                <a:gd name="connsiteY7773" fmla="*/ 3375143 h 3980066"/>
                <a:gd name="connsiteX7774" fmla="*/ 4170632 w 8387961"/>
                <a:gd name="connsiteY7774" fmla="*/ 3383508 h 3980066"/>
                <a:gd name="connsiteX7775" fmla="*/ 4153841 w 8387961"/>
                <a:gd name="connsiteY7775" fmla="*/ 3375143 h 3980066"/>
                <a:gd name="connsiteX7776" fmla="*/ 4140408 w 8387961"/>
                <a:gd name="connsiteY7776" fmla="*/ 3366777 h 3980066"/>
                <a:gd name="connsiteX7777" fmla="*/ 4132012 w 8387961"/>
                <a:gd name="connsiteY7777" fmla="*/ 3366777 h 3980066"/>
                <a:gd name="connsiteX7778" fmla="*/ 4123616 w 8387961"/>
                <a:gd name="connsiteY7778" fmla="*/ 3336661 h 3980066"/>
                <a:gd name="connsiteX7779" fmla="*/ 4121937 w 8387961"/>
                <a:gd name="connsiteY7779" fmla="*/ 3323277 h 3980066"/>
                <a:gd name="connsiteX7780" fmla="*/ 4132012 w 8387961"/>
                <a:gd name="connsiteY7780" fmla="*/ 3309892 h 3980066"/>
                <a:gd name="connsiteX7781" fmla="*/ 4121937 w 8387961"/>
                <a:gd name="connsiteY7781" fmla="*/ 3281449 h 3980066"/>
                <a:gd name="connsiteX7782" fmla="*/ 4111862 w 8387961"/>
                <a:gd name="connsiteY7782" fmla="*/ 3253006 h 3980066"/>
                <a:gd name="connsiteX7783" fmla="*/ 4101788 w 8387961"/>
                <a:gd name="connsiteY7783" fmla="*/ 3226237 h 3980066"/>
                <a:gd name="connsiteX7784" fmla="*/ 4090379 w 8387961"/>
                <a:gd name="connsiteY7784" fmla="*/ 3200254 h 3980066"/>
                <a:gd name="connsiteX7785" fmla="*/ 4090170 w 8387961"/>
                <a:gd name="connsiteY7785" fmla="*/ 3200519 h 3980066"/>
                <a:gd name="connsiteX7786" fmla="*/ 4076862 w 8387961"/>
                <a:gd name="connsiteY7786" fmla="*/ 3180320 h 3980066"/>
                <a:gd name="connsiteX7787" fmla="*/ 4060226 w 8387961"/>
                <a:gd name="connsiteY7787" fmla="*/ 3156754 h 3980066"/>
                <a:gd name="connsiteX7788" fmla="*/ 4056899 w 8387961"/>
                <a:gd name="connsiteY7788" fmla="*/ 3126455 h 3980066"/>
                <a:gd name="connsiteX7789" fmla="*/ 4051909 w 8387961"/>
                <a:gd name="connsiteY7789" fmla="*/ 3096156 h 3980066"/>
                <a:gd name="connsiteX7790" fmla="*/ 4048582 w 8387961"/>
                <a:gd name="connsiteY7790" fmla="*/ 3065857 h 3980066"/>
                <a:gd name="connsiteX7791" fmla="*/ 4043591 w 8387961"/>
                <a:gd name="connsiteY7791" fmla="*/ 3033875 h 3980066"/>
                <a:gd name="connsiteX7792" fmla="*/ 4043748 w 8387961"/>
                <a:gd name="connsiteY7792" fmla="*/ 3033928 h 3980066"/>
                <a:gd name="connsiteX7793" fmla="*/ 4043334 w 8387961"/>
                <a:gd name="connsiteY7793" fmla="*/ 3033675 h 3980066"/>
                <a:gd name="connsiteX7794" fmla="*/ 4045342 w 8387961"/>
                <a:gd name="connsiteY7794" fmla="*/ 3018945 h 3980066"/>
                <a:gd name="connsiteX7795" fmla="*/ 4046303 w 8387961"/>
                <a:gd name="connsiteY7795" fmla="*/ 3034790 h 3980066"/>
                <a:gd name="connsiteX7796" fmla="*/ 4048582 w 8387961"/>
                <a:gd name="connsiteY7796" fmla="*/ 3035558 h 3980066"/>
                <a:gd name="connsiteX7797" fmla="*/ 4046918 w 8387961"/>
                <a:gd name="connsiteY7797" fmla="*/ 3020409 h 3980066"/>
                <a:gd name="connsiteX7798" fmla="*/ 4028619 w 8387961"/>
                <a:gd name="connsiteY7798" fmla="*/ 2983377 h 3980066"/>
                <a:gd name="connsiteX7799" fmla="*/ 4011984 w 8387961"/>
                <a:gd name="connsiteY7799" fmla="*/ 2948028 h 3980066"/>
                <a:gd name="connsiteX7800" fmla="*/ 3993685 w 8387961"/>
                <a:gd name="connsiteY7800" fmla="*/ 2910996 h 3980066"/>
                <a:gd name="connsiteX7801" fmla="*/ 3977050 w 8387961"/>
                <a:gd name="connsiteY7801" fmla="*/ 2873964 h 3980066"/>
                <a:gd name="connsiteX7802" fmla="*/ 3978713 w 8387961"/>
                <a:gd name="connsiteY7802" fmla="*/ 2857132 h 3980066"/>
                <a:gd name="connsiteX7803" fmla="*/ 4009256 w 8387961"/>
                <a:gd name="connsiteY7803" fmla="*/ 2848999 h 3980066"/>
                <a:gd name="connsiteX7804" fmla="*/ 4008935 w 8387961"/>
                <a:gd name="connsiteY7804" fmla="*/ 2848854 h 3980066"/>
                <a:gd name="connsiteX7805" fmla="*/ 3977050 w 8387961"/>
                <a:gd name="connsiteY7805" fmla="*/ 2857185 h 3980066"/>
                <a:gd name="connsiteX7806" fmla="*/ 3978728 w 8387961"/>
                <a:gd name="connsiteY7806" fmla="*/ 2832193 h 3980066"/>
                <a:gd name="connsiteX7807" fmla="*/ 3980406 w 8387961"/>
                <a:gd name="connsiteY7807" fmla="*/ 2808867 h 3980066"/>
                <a:gd name="connsiteX7808" fmla="*/ 3992153 w 8387961"/>
                <a:gd name="connsiteY7808" fmla="*/ 2772212 h 3980066"/>
                <a:gd name="connsiteX7809" fmla="*/ 4005579 w 8387961"/>
                <a:gd name="connsiteY7809" fmla="*/ 2733891 h 3980066"/>
                <a:gd name="connsiteX7810" fmla="*/ 4019004 w 8387961"/>
                <a:gd name="connsiteY7810" fmla="*/ 2713897 h 3980066"/>
                <a:gd name="connsiteX7811" fmla="*/ 4030752 w 8387961"/>
                <a:gd name="connsiteY7811" fmla="*/ 2693904 h 3980066"/>
                <a:gd name="connsiteX7812" fmla="*/ 4027395 w 8387961"/>
                <a:gd name="connsiteY7812" fmla="*/ 2653917 h 3980066"/>
                <a:gd name="connsiteX7813" fmla="*/ 4019004 w 8387961"/>
                <a:gd name="connsiteY7813" fmla="*/ 2630591 h 3980066"/>
                <a:gd name="connsiteX7814" fmla="*/ 4012292 w 8387961"/>
                <a:gd name="connsiteY7814" fmla="*/ 2608931 h 3980066"/>
                <a:gd name="connsiteX7815" fmla="*/ 4020682 w 8387961"/>
                <a:gd name="connsiteY7815" fmla="*/ 2593936 h 3980066"/>
                <a:gd name="connsiteX7816" fmla="*/ 4008935 w 8387961"/>
                <a:gd name="connsiteY7816" fmla="*/ 2558947 h 3980066"/>
                <a:gd name="connsiteX7817" fmla="*/ 3995510 w 8387961"/>
                <a:gd name="connsiteY7817" fmla="*/ 2522293 h 3980066"/>
                <a:gd name="connsiteX7818" fmla="*/ 4004603 w 8387961"/>
                <a:gd name="connsiteY7818" fmla="*/ 2520209 h 3980066"/>
                <a:gd name="connsiteX7819" fmla="*/ 3998601 w 8387961"/>
                <a:gd name="connsiteY7819" fmla="*/ 2520674 h 3980066"/>
                <a:gd name="connsiteX7820" fmla="*/ 3993621 w 8387961"/>
                <a:gd name="connsiteY7820" fmla="*/ 2515657 h 3980066"/>
                <a:gd name="connsiteX7821" fmla="*/ 4003581 w 8387961"/>
                <a:gd name="connsiteY7821" fmla="*/ 2513985 h 3980066"/>
                <a:gd name="connsiteX7822" fmla="*/ 4005241 w 8387961"/>
                <a:gd name="connsiteY7822" fmla="*/ 2490572 h 3980066"/>
                <a:gd name="connsiteX7823" fmla="*/ 4018522 w 8387961"/>
                <a:gd name="connsiteY7823" fmla="*/ 2480538 h 3980066"/>
                <a:gd name="connsiteX7824" fmla="*/ 4031803 w 8387961"/>
                <a:gd name="connsiteY7824" fmla="*/ 2485555 h 3980066"/>
                <a:gd name="connsiteX7825" fmla="*/ 4038443 w 8387961"/>
                <a:gd name="connsiteY7825" fmla="*/ 2475521 h 3980066"/>
                <a:gd name="connsiteX7826" fmla="*/ 4053195 w 8387961"/>
                <a:gd name="connsiteY7826" fmla="*/ 2473870 h 3980066"/>
                <a:gd name="connsiteX7827" fmla="*/ 4052527 w 8387961"/>
                <a:gd name="connsiteY7827" fmla="*/ 2471896 h 3980066"/>
                <a:gd name="connsiteX7828" fmla="*/ 4037347 w 8387961"/>
                <a:gd name="connsiteY7828" fmla="*/ 2473558 h 3980066"/>
                <a:gd name="connsiteX7829" fmla="*/ 4030600 w 8387961"/>
                <a:gd name="connsiteY7829" fmla="*/ 2483530 h 3980066"/>
                <a:gd name="connsiteX7830" fmla="*/ 4017106 w 8387961"/>
                <a:gd name="connsiteY7830" fmla="*/ 2478544 h 3980066"/>
                <a:gd name="connsiteX7831" fmla="*/ 4006986 w 8387961"/>
                <a:gd name="connsiteY7831" fmla="*/ 2473558 h 3980066"/>
                <a:gd name="connsiteX7832" fmla="*/ 4006463 w 8387961"/>
                <a:gd name="connsiteY7832" fmla="*/ 2474027 h 3980066"/>
                <a:gd name="connsiteX7833" fmla="*/ 4016218 w 8387961"/>
                <a:gd name="connsiteY7833" fmla="*/ 2478690 h 3980066"/>
                <a:gd name="connsiteX7834" fmla="*/ 4002039 w 8387961"/>
                <a:gd name="connsiteY7834" fmla="*/ 2488859 h 3980066"/>
                <a:gd name="connsiteX7835" fmla="*/ 4000267 w 8387961"/>
                <a:gd name="connsiteY7835" fmla="*/ 2512585 h 3980066"/>
                <a:gd name="connsiteX7836" fmla="*/ 3989633 w 8387961"/>
                <a:gd name="connsiteY7836" fmla="*/ 2514280 h 3980066"/>
                <a:gd name="connsiteX7837" fmla="*/ 3986089 w 8387961"/>
                <a:gd name="connsiteY7837" fmla="*/ 2490554 h 3980066"/>
                <a:gd name="connsiteX7838" fmla="*/ 3987713 w 8387961"/>
                <a:gd name="connsiteY7838" fmla="*/ 2489142 h 3980066"/>
                <a:gd name="connsiteX7839" fmla="*/ 3966505 w 8387961"/>
                <a:gd name="connsiteY7839" fmla="*/ 2458601 h 3980066"/>
                <a:gd name="connsiteX7840" fmla="*/ 3967569 w 8387961"/>
                <a:gd name="connsiteY7840" fmla="*/ 2456767 h 3980066"/>
                <a:gd name="connsiteX7841" fmla="*/ 3949585 w 8387961"/>
                <a:gd name="connsiteY7841" fmla="*/ 2435475 h 3980066"/>
                <a:gd name="connsiteX7842" fmla="*/ 3931375 w 8387961"/>
                <a:gd name="connsiteY7842" fmla="*/ 2412256 h 3980066"/>
                <a:gd name="connsiteX7843" fmla="*/ 3934686 w 8387961"/>
                <a:gd name="connsiteY7843" fmla="*/ 2415573 h 3980066"/>
                <a:gd name="connsiteX7844" fmla="*/ 3919787 w 8387961"/>
                <a:gd name="connsiteY7844" fmla="*/ 2397330 h 3980066"/>
                <a:gd name="connsiteX7845" fmla="*/ 3923098 w 8387961"/>
                <a:gd name="connsiteY7845" fmla="*/ 2397330 h 3980066"/>
                <a:gd name="connsiteX7846" fmla="*/ 3911510 w 8387961"/>
                <a:gd name="connsiteY7846" fmla="*/ 2379086 h 3980066"/>
                <a:gd name="connsiteX7847" fmla="*/ 3921443 w 8387961"/>
                <a:gd name="connsiteY7847" fmla="*/ 2387379 h 3980066"/>
                <a:gd name="connsiteX7848" fmla="*/ 3914821 w 8387961"/>
                <a:gd name="connsiteY7848" fmla="*/ 2380745 h 3980066"/>
                <a:gd name="connsiteX7849" fmla="*/ 3903233 w 8387961"/>
                <a:gd name="connsiteY7849" fmla="*/ 2360843 h 3980066"/>
                <a:gd name="connsiteX7850" fmla="*/ 3911510 w 8387961"/>
                <a:gd name="connsiteY7850" fmla="*/ 2360843 h 3980066"/>
                <a:gd name="connsiteX7851" fmla="*/ 3919787 w 8387961"/>
                <a:gd name="connsiteY7851" fmla="*/ 2332649 h 3980066"/>
                <a:gd name="connsiteX7852" fmla="*/ 3934686 w 8387961"/>
                <a:gd name="connsiteY7852" fmla="*/ 2335966 h 3980066"/>
                <a:gd name="connsiteX7853" fmla="*/ 3918132 w 8387961"/>
                <a:gd name="connsiteY7853" fmla="*/ 2321039 h 3980066"/>
                <a:gd name="connsiteX7854" fmla="*/ 3924754 w 8387961"/>
                <a:gd name="connsiteY7854" fmla="*/ 2321039 h 3980066"/>
                <a:gd name="connsiteX7855" fmla="*/ 3929720 w 8387961"/>
                <a:gd name="connsiteY7855" fmla="*/ 2309430 h 3980066"/>
                <a:gd name="connsiteX7856" fmla="*/ 3931375 w 8387961"/>
                <a:gd name="connsiteY7856" fmla="*/ 2309430 h 3980066"/>
                <a:gd name="connsiteX7857" fmla="*/ 3951241 w 8387961"/>
                <a:gd name="connsiteY7857" fmla="*/ 2309430 h 3980066"/>
                <a:gd name="connsiteX7858" fmla="*/ 3971106 w 8387961"/>
                <a:gd name="connsiteY7858" fmla="*/ 2309430 h 3980066"/>
                <a:gd name="connsiteX7859" fmla="*/ 3971106 w 8387961"/>
                <a:gd name="connsiteY7859" fmla="*/ 2276260 h 3980066"/>
                <a:gd name="connsiteX7860" fmla="*/ 3997593 w 8387961"/>
                <a:gd name="connsiteY7860" fmla="*/ 2276260 h 3980066"/>
                <a:gd name="connsiteX7861" fmla="*/ 4022425 w 8387961"/>
                <a:gd name="connsiteY7861" fmla="*/ 2276260 h 3980066"/>
                <a:gd name="connsiteX7862" fmla="*/ 4022351 w 8387961"/>
                <a:gd name="connsiteY7862" fmla="*/ 2277446 h 3980066"/>
                <a:gd name="connsiteX7863" fmla="*/ 4049154 w 8387961"/>
                <a:gd name="connsiteY7863" fmla="*/ 2277446 h 3980066"/>
                <a:gd name="connsiteX7864" fmla="*/ 4071081 w 8387961"/>
                <a:gd name="connsiteY7864" fmla="*/ 2282432 h 3980066"/>
                <a:gd name="connsiteX7865" fmla="*/ 4094695 w 8387961"/>
                <a:gd name="connsiteY7865" fmla="*/ 2289080 h 3980066"/>
                <a:gd name="connsiteX7866" fmla="*/ 4099755 w 8387961"/>
                <a:gd name="connsiteY7866" fmla="*/ 2274122 h 3980066"/>
                <a:gd name="connsiteX7867" fmla="*/ 4100294 w 8387961"/>
                <a:gd name="connsiteY7867" fmla="*/ 2272443 h 3980066"/>
                <a:gd name="connsiteX7868" fmla="*/ 4092210 w 8387961"/>
                <a:gd name="connsiteY7868" fmla="*/ 2246362 h 3980066"/>
                <a:gd name="connsiteX7869" fmla="*/ 4078877 w 8387961"/>
                <a:gd name="connsiteY7869" fmla="*/ 2226199 h 3980066"/>
                <a:gd name="connsiteX7870" fmla="*/ 4063878 w 8387961"/>
                <a:gd name="connsiteY7870" fmla="*/ 2202675 h 3980066"/>
                <a:gd name="connsiteX7871" fmla="*/ 4053879 w 8387961"/>
                <a:gd name="connsiteY7871" fmla="*/ 2160668 h 3980066"/>
                <a:gd name="connsiteX7872" fmla="*/ 4068878 w 8387961"/>
                <a:gd name="connsiteY7872" fmla="*/ 2137144 h 3980066"/>
                <a:gd name="connsiteX7873" fmla="*/ 4080544 w 8387961"/>
                <a:gd name="connsiteY7873" fmla="*/ 2111940 h 3980066"/>
                <a:gd name="connsiteX7874" fmla="*/ 4103786 w 8387961"/>
                <a:gd name="connsiteY7874" fmla="*/ 2105691 h 3980066"/>
                <a:gd name="connsiteX7875" fmla="*/ 4103287 w 8387961"/>
                <a:gd name="connsiteY7875" fmla="*/ 2105356 h 3980066"/>
                <a:gd name="connsiteX7876" fmla="*/ 4078334 w 8387961"/>
                <a:gd name="connsiteY7876" fmla="*/ 2112056 h 3980066"/>
                <a:gd name="connsiteX7877" fmla="*/ 4061698 w 8387961"/>
                <a:gd name="connsiteY7877" fmla="*/ 2075206 h 3980066"/>
                <a:gd name="connsiteX7878" fmla="*/ 4061079 w 8387961"/>
                <a:gd name="connsiteY7878" fmla="*/ 2074390 h 3980066"/>
                <a:gd name="connsiteX7879" fmla="*/ 4077546 w 8387961"/>
                <a:gd name="connsiteY7879" fmla="*/ 2110793 h 3980066"/>
                <a:gd name="connsiteX7880" fmla="*/ 4065868 w 8387961"/>
                <a:gd name="connsiteY7880" fmla="*/ 2135938 h 3980066"/>
                <a:gd name="connsiteX7881" fmla="*/ 4050853 w 8387961"/>
                <a:gd name="connsiteY7881" fmla="*/ 2159406 h 3980066"/>
                <a:gd name="connsiteX7882" fmla="*/ 4060863 w 8387961"/>
                <a:gd name="connsiteY7882" fmla="*/ 2201313 h 3980066"/>
                <a:gd name="connsiteX7883" fmla="*/ 4075878 w 8387961"/>
                <a:gd name="connsiteY7883" fmla="*/ 2224782 h 3980066"/>
                <a:gd name="connsiteX7884" fmla="*/ 4089224 w 8387961"/>
                <a:gd name="connsiteY7884" fmla="*/ 2244897 h 3980066"/>
                <a:gd name="connsiteX7885" fmla="*/ 4097566 w 8387961"/>
                <a:gd name="connsiteY7885" fmla="*/ 2271718 h 3980066"/>
                <a:gd name="connsiteX7886" fmla="*/ 4092561 w 8387961"/>
                <a:gd name="connsiteY7886" fmla="*/ 2286805 h 3980066"/>
                <a:gd name="connsiteX7887" fmla="*/ 4069205 w 8387961"/>
                <a:gd name="connsiteY7887" fmla="*/ 2280100 h 3980066"/>
                <a:gd name="connsiteX7888" fmla="*/ 4047517 w 8387961"/>
                <a:gd name="connsiteY7888" fmla="*/ 2275071 h 3980066"/>
                <a:gd name="connsiteX7889" fmla="*/ 4020824 w 8387961"/>
                <a:gd name="connsiteY7889" fmla="*/ 2275071 h 3980066"/>
                <a:gd name="connsiteX7890" fmla="*/ 3995799 w 8387961"/>
                <a:gd name="connsiteY7890" fmla="*/ 2275071 h 3980066"/>
                <a:gd name="connsiteX7891" fmla="*/ 3969106 w 8387961"/>
                <a:gd name="connsiteY7891" fmla="*/ 2275071 h 3980066"/>
                <a:gd name="connsiteX7892" fmla="*/ 3949087 w 8387961"/>
                <a:gd name="connsiteY7892" fmla="*/ 2270042 h 3980066"/>
                <a:gd name="connsiteX7893" fmla="*/ 3929067 w 8387961"/>
                <a:gd name="connsiteY7893" fmla="*/ 2268366 h 3980066"/>
                <a:gd name="connsiteX7894" fmla="*/ 3929067 w 8387961"/>
                <a:gd name="connsiteY7894" fmla="*/ 2236516 h 3980066"/>
                <a:gd name="connsiteX7895" fmla="*/ 3925730 w 8387961"/>
                <a:gd name="connsiteY7895" fmla="*/ 2221429 h 3980066"/>
                <a:gd name="connsiteX7896" fmla="*/ 3922394 w 8387961"/>
                <a:gd name="connsiteY7896" fmla="*/ 2218076 h 3980066"/>
                <a:gd name="connsiteX7897" fmla="*/ 3907379 w 8387961"/>
                <a:gd name="connsiteY7897" fmla="*/ 2216400 h 3980066"/>
                <a:gd name="connsiteX7898" fmla="*/ 3899037 w 8387961"/>
                <a:gd name="connsiteY7898" fmla="*/ 2197961 h 3980066"/>
                <a:gd name="connsiteX7899" fmla="*/ 3895701 w 8387961"/>
                <a:gd name="connsiteY7899" fmla="*/ 2199637 h 3980066"/>
                <a:gd name="connsiteX7900" fmla="*/ 3896933 w 8387961"/>
                <a:gd name="connsiteY7900" fmla="*/ 2195924 h 3980066"/>
                <a:gd name="connsiteX7901" fmla="*/ 3888639 w 8387961"/>
                <a:gd name="connsiteY7901" fmla="*/ 2193128 h 3980066"/>
                <a:gd name="connsiteX7902" fmla="*/ 3890304 w 8387961"/>
                <a:gd name="connsiteY7902" fmla="*/ 2203237 h 3980066"/>
                <a:gd name="connsiteX7903" fmla="*/ 3863650 w 8387961"/>
                <a:gd name="connsiteY7903" fmla="*/ 2203237 h 3980066"/>
                <a:gd name="connsiteX7904" fmla="*/ 3860319 w 8387961"/>
                <a:gd name="connsiteY7904" fmla="*/ 2201552 h 3980066"/>
                <a:gd name="connsiteX7905" fmla="*/ 3856987 w 8387961"/>
                <a:gd name="connsiteY7905" fmla="*/ 2201552 h 3980066"/>
                <a:gd name="connsiteX7906" fmla="*/ 3851989 w 8387961"/>
                <a:gd name="connsiteY7906" fmla="*/ 2206606 h 3980066"/>
                <a:gd name="connsiteX7907" fmla="*/ 3848658 w 8387961"/>
                <a:gd name="connsiteY7907" fmla="*/ 2198183 h 3980066"/>
                <a:gd name="connsiteX7908" fmla="*/ 3848658 w 8387961"/>
                <a:gd name="connsiteY7908" fmla="*/ 2203237 h 3980066"/>
                <a:gd name="connsiteX7909" fmla="*/ 3843660 w 8387961"/>
                <a:gd name="connsiteY7909" fmla="*/ 2206606 h 3980066"/>
                <a:gd name="connsiteX7910" fmla="*/ 3836997 w 8387961"/>
                <a:gd name="connsiteY7910" fmla="*/ 2206606 h 3980066"/>
                <a:gd name="connsiteX7911" fmla="*/ 3823670 w 8387961"/>
                <a:gd name="connsiteY7911" fmla="*/ 2208291 h 3980066"/>
                <a:gd name="connsiteX7912" fmla="*/ 3813674 w 8387961"/>
                <a:gd name="connsiteY7912" fmla="*/ 2179651 h 3980066"/>
                <a:gd name="connsiteX7913" fmla="*/ 3817006 w 8387961"/>
                <a:gd name="connsiteY7913" fmla="*/ 2177966 h 3980066"/>
                <a:gd name="connsiteX7914" fmla="*/ 3810343 w 8387961"/>
                <a:gd name="connsiteY7914" fmla="*/ 2171227 h 3980066"/>
                <a:gd name="connsiteX7915" fmla="*/ 3812008 w 8387961"/>
                <a:gd name="connsiteY7915" fmla="*/ 2171227 h 3980066"/>
                <a:gd name="connsiteX7916" fmla="*/ 3807011 w 8387961"/>
                <a:gd name="connsiteY7916" fmla="*/ 2166173 h 3980066"/>
                <a:gd name="connsiteX7917" fmla="*/ 3778691 w 8387961"/>
                <a:gd name="connsiteY7917" fmla="*/ 2147641 h 3980066"/>
                <a:gd name="connsiteX7918" fmla="*/ 3763698 w 8387961"/>
                <a:gd name="connsiteY7918" fmla="*/ 2145956 h 3980066"/>
                <a:gd name="connsiteX7919" fmla="*/ 3768696 w 8387961"/>
                <a:gd name="connsiteY7919" fmla="*/ 2140902 h 3980066"/>
                <a:gd name="connsiteX7920" fmla="*/ 3742042 w 8387961"/>
                <a:gd name="connsiteY7920" fmla="*/ 2149325 h 3980066"/>
                <a:gd name="connsiteX7921" fmla="*/ 3743708 w 8387961"/>
                <a:gd name="connsiteY7921" fmla="*/ 2107207 h 3980066"/>
                <a:gd name="connsiteX7922" fmla="*/ 3747039 w 8387961"/>
                <a:gd name="connsiteY7922" fmla="*/ 2066773 h 3980066"/>
                <a:gd name="connsiteX7923" fmla="*/ 3767030 w 8387961"/>
                <a:gd name="connsiteY7923" fmla="*/ 2031393 h 3980066"/>
                <a:gd name="connsiteX7924" fmla="*/ 3768696 w 8387961"/>
                <a:gd name="connsiteY7924" fmla="*/ 2006122 h 3980066"/>
                <a:gd name="connsiteX7925" fmla="*/ 3763698 w 8387961"/>
                <a:gd name="connsiteY7925" fmla="*/ 1989275 h 3980066"/>
                <a:gd name="connsiteX7926" fmla="*/ 3763698 w 8387961"/>
                <a:gd name="connsiteY7926" fmla="*/ 1987590 h 3980066"/>
                <a:gd name="connsiteX7927" fmla="*/ 3767030 w 8387961"/>
                <a:gd name="connsiteY7927" fmla="*/ 1975797 h 3980066"/>
                <a:gd name="connsiteX7928" fmla="*/ 3773693 w 8387961"/>
                <a:gd name="connsiteY7928" fmla="*/ 1955580 h 3980066"/>
                <a:gd name="connsiteX7929" fmla="*/ 3780069 w 8387961"/>
                <a:gd name="connsiteY7929" fmla="*/ 1934626 h 3980066"/>
                <a:gd name="connsiteX7930" fmla="*/ 3779409 w 8387961"/>
                <a:gd name="connsiteY7930" fmla="*/ 1934862 h 3980066"/>
                <a:gd name="connsiteX7931" fmla="*/ 3772722 w 8387961"/>
                <a:gd name="connsiteY7931" fmla="*/ 1956663 h 3980066"/>
                <a:gd name="connsiteX7932" fmla="*/ 3766035 w 8387961"/>
                <a:gd name="connsiteY7932" fmla="*/ 1976787 h 3980066"/>
                <a:gd name="connsiteX7933" fmla="*/ 3762691 w 8387961"/>
                <a:gd name="connsiteY7933" fmla="*/ 1988526 h 3980066"/>
                <a:gd name="connsiteX7934" fmla="*/ 3740958 w 8387961"/>
                <a:gd name="connsiteY7934" fmla="*/ 1968402 h 3980066"/>
                <a:gd name="connsiteX7935" fmla="*/ 3740491 w 8387961"/>
                <a:gd name="connsiteY7935" fmla="*/ 1968963 h 3980066"/>
                <a:gd name="connsiteX7936" fmla="*/ 3761331 w 8387961"/>
                <a:gd name="connsiteY7936" fmla="*/ 1988992 h 3980066"/>
                <a:gd name="connsiteX7937" fmla="*/ 3761331 w 8387961"/>
                <a:gd name="connsiteY7937" fmla="*/ 1990663 h 3980066"/>
                <a:gd name="connsiteX7938" fmla="*/ 3766145 w 8387961"/>
                <a:gd name="connsiteY7938" fmla="*/ 2007371 h 3980066"/>
                <a:gd name="connsiteX7939" fmla="*/ 3764540 w 8387961"/>
                <a:gd name="connsiteY7939" fmla="*/ 2032433 h 3980066"/>
                <a:gd name="connsiteX7940" fmla="*/ 3745284 w 8387961"/>
                <a:gd name="connsiteY7940" fmla="*/ 2067520 h 3980066"/>
                <a:gd name="connsiteX7941" fmla="*/ 3742074 w 8387961"/>
                <a:gd name="connsiteY7941" fmla="*/ 2107619 h 3980066"/>
                <a:gd name="connsiteX7942" fmla="*/ 3740470 w 8387961"/>
                <a:gd name="connsiteY7942" fmla="*/ 2149389 h 3980066"/>
                <a:gd name="connsiteX7943" fmla="*/ 3713190 w 8387961"/>
                <a:gd name="connsiteY7943" fmla="*/ 2152731 h 3980066"/>
                <a:gd name="connsiteX7944" fmla="*/ 3711585 w 8387961"/>
                <a:gd name="connsiteY7944" fmla="*/ 2131010 h 3980066"/>
                <a:gd name="connsiteX7945" fmla="*/ 3711585 w 8387961"/>
                <a:gd name="connsiteY7945" fmla="*/ 2109290 h 3980066"/>
                <a:gd name="connsiteX7946" fmla="*/ 3709980 w 8387961"/>
                <a:gd name="connsiteY7946" fmla="*/ 2085899 h 3980066"/>
                <a:gd name="connsiteX7947" fmla="*/ 3709980 w 8387961"/>
                <a:gd name="connsiteY7947" fmla="*/ 2062508 h 3980066"/>
                <a:gd name="connsiteX7948" fmla="*/ 3706771 w 8387961"/>
                <a:gd name="connsiteY7948" fmla="*/ 2039116 h 3980066"/>
                <a:gd name="connsiteX7949" fmla="*/ 3692329 w 8387961"/>
                <a:gd name="connsiteY7949" fmla="*/ 2022408 h 3980066"/>
                <a:gd name="connsiteX7950" fmla="*/ 3693933 w 8387961"/>
                <a:gd name="connsiteY7950" fmla="*/ 2009042 h 3980066"/>
                <a:gd name="connsiteX7951" fmla="*/ 3697143 w 8387961"/>
                <a:gd name="connsiteY7951" fmla="*/ 2009042 h 3980066"/>
                <a:gd name="connsiteX7952" fmla="*/ 3711585 w 8387961"/>
                <a:gd name="connsiteY7952" fmla="*/ 1999017 h 3980066"/>
                <a:gd name="connsiteX7953" fmla="*/ 3730841 w 8387961"/>
                <a:gd name="connsiteY7953" fmla="*/ 1987322 h 3980066"/>
                <a:gd name="connsiteX7954" fmla="*/ 3732446 w 8387961"/>
                <a:gd name="connsiteY7954" fmla="*/ 1982309 h 3980066"/>
                <a:gd name="connsiteX7955" fmla="*/ 3732446 w 8387961"/>
                <a:gd name="connsiteY7955" fmla="*/ 1981359 h 3980066"/>
                <a:gd name="connsiteX7956" fmla="*/ 3727584 w 8387961"/>
                <a:gd name="connsiteY7956" fmla="*/ 1966725 h 3980066"/>
                <a:gd name="connsiteX7957" fmla="*/ 3720896 w 8387961"/>
                <a:gd name="connsiteY7957" fmla="*/ 1958340 h 3980066"/>
                <a:gd name="connsiteX7958" fmla="*/ 3720865 w 8387961"/>
                <a:gd name="connsiteY7958" fmla="*/ 1958345 h 3980066"/>
                <a:gd name="connsiteX7959" fmla="*/ 3726504 w 8387961"/>
                <a:gd name="connsiteY7959" fmla="*/ 1965482 h 3980066"/>
                <a:gd name="connsiteX7960" fmla="*/ 3731497 w 8387961"/>
                <a:gd name="connsiteY7960" fmla="*/ 1980651 h 3980066"/>
                <a:gd name="connsiteX7961" fmla="*/ 3729832 w 8387961"/>
                <a:gd name="connsiteY7961" fmla="*/ 1985708 h 3980066"/>
                <a:gd name="connsiteX7962" fmla="*/ 3709860 w 8387961"/>
                <a:gd name="connsiteY7962" fmla="*/ 1997506 h 3980066"/>
                <a:gd name="connsiteX7963" fmla="*/ 3694880 w 8387961"/>
                <a:gd name="connsiteY7963" fmla="*/ 2007618 h 3980066"/>
                <a:gd name="connsiteX7964" fmla="*/ 3686558 w 8387961"/>
                <a:gd name="connsiteY7964" fmla="*/ 2007618 h 3980066"/>
                <a:gd name="connsiteX7965" fmla="*/ 3664921 w 8387961"/>
                <a:gd name="connsiteY7965" fmla="*/ 2004248 h 3980066"/>
                <a:gd name="connsiteX7966" fmla="*/ 3656599 w 8387961"/>
                <a:gd name="connsiteY7966" fmla="*/ 2005933 h 3980066"/>
                <a:gd name="connsiteX7967" fmla="*/ 3626640 w 8387961"/>
                <a:gd name="connsiteY7967" fmla="*/ 2007618 h 3980066"/>
                <a:gd name="connsiteX7968" fmla="*/ 3595016 w 8387961"/>
                <a:gd name="connsiteY7968" fmla="*/ 2007618 h 3980066"/>
                <a:gd name="connsiteX7969" fmla="*/ 3596681 w 8387961"/>
                <a:gd name="connsiteY7969" fmla="*/ 2031215 h 3980066"/>
                <a:gd name="connsiteX7970" fmla="*/ 3598345 w 8387961"/>
                <a:gd name="connsiteY7970" fmla="*/ 2054811 h 3980066"/>
                <a:gd name="connsiteX7971" fmla="*/ 3575044 w 8387961"/>
                <a:gd name="connsiteY7971" fmla="*/ 2039642 h 3980066"/>
                <a:gd name="connsiteX7972" fmla="*/ 3550078 w 8387961"/>
                <a:gd name="connsiteY7972" fmla="*/ 2048069 h 3980066"/>
                <a:gd name="connsiteX7973" fmla="*/ 3535098 w 8387961"/>
                <a:gd name="connsiteY7973" fmla="*/ 2029529 h 3980066"/>
                <a:gd name="connsiteX7974" fmla="*/ 3525112 w 8387961"/>
                <a:gd name="connsiteY7974" fmla="*/ 2026158 h 3980066"/>
                <a:gd name="connsiteX7975" fmla="*/ 3530036 w 8387961"/>
                <a:gd name="connsiteY7975" fmla="*/ 1986265 h 3980066"/>
                <a:gd name="connsiteX7976" fmla="*/ 3529374 w 8387961"/>
                <a:gd name="connsiteY7976" fmla="*/ 1986794 h 3980066"/>
                <a:gd name="connsiteX7977" fmla="*/ 3524364 w 8387961"/>
                <a:gd name="connsiteY7977" fmla="*/ 2026876 h 3980066"/>
                <a:gd name="connsiteX7978" fmla="*/ 3505995 w 8387961"/>
                <a:gd name="connsiteY7978" fmla="*/ 2030217 h 3980066"/>
                <a:gd name="connsiteX7979" fmla="*/ 3500985 w 8387961"/>
                <a:gd name="connsiteY7979" fmla="*/ 2018526 h 3980066"/>
                <a:gd name="connsiteX7980" fmla="*/ 3500093 w 8387961"/>
                <a:gd name="connsiteY7980" fmla="*/ 2019121 h 3980066"/>
                <a:gd name="connsiteX7981" fmla="*/ 3504994 w 8387961"/>
                <a:gd name="connsiteY7981" fmla="*/ 2030404 h 3980066"/>
                <a:gd name="connsiteX7982" fmla="*/ 3523703 w 8387961"/>
                <a:gd name="connsiteY7982" fmla="*/ 2027047 h 3980066"/>
                <a:gd name="connsiteX7983" fmla="*/ 3533908 w 8387961"/>
                <a:gd name="connsiteY7983" fmla="*/ 2030404 h 3980066"/>
                <a:gd name="connsiteX7984" fmla="*/ 3549216 w 8387961"/>
                <a:gd name="connsiteY7984" fmla="*/ 2048864 h 3980066"/>
                <a:gd name="connsiteX7985" fmla="*/ 3574728 w 8387961"/>
                <a:gd name="connsiteY7985" fmla="*/ 2040473 h 3980066"/>
                <a:gd name="connsiteX7986" fmla="*/ 3598540 w 8387961"/>
                <a:gd name="connsiteY7986" fmla="*/ 2055577 h 3980066"/>
                <a:gd name="connsiteX7987" fmla="*/ 3601942 w 8387961"/>
                <a:gd name="connsiteY7987" fmla="*/ 2092499 h 3980066"/>
                <a:gd name="connsiteX7988" fmla="*/ 3595138 w 8387961"/>
                <a:gd name="connsiteY7988" fmla="*/ 2115994 h 3980066"/>
                <a:gd name="connsiteX7989" fmla="*/ 3584933 w 8387961"/>
                <a:gd name="connsiteY7989" fmla="*/ 2136133 h 3980066"/>
                <a:gd name="connsiteX7990" fmla="*/ 3590036 w 8387961"/>
                <a:gd name="connsiteY7990" fmla="*/ 2157950 h 3980066"/>
                <a:gd name="connsiteX7991" fmla="*/ 3595138 w 8387961"/>
                <a:gd name="connsiteY7991" fmla="*/ 2181446 h 3980066"/>
                <a:gd name="connsiteX7992" fmla="*/ 3586634 w 8387961"/>
                <a:gd name="connsiteY7992" fmla="*/ 2188159 h 3980066"/>
                <a:gd name="connsiteX7993" fmla="*/ 3581532 w 8387961"/>
                <a:gd name="connsiteY7993" fmla="*/ 2183124 h 3980066"/>
                <a:gd name="connsiteX7994" fmla="*/ 3566224 w 8387961"/>
                <a:gd name="connsiteY7994" fmla="*/ 2181446 h 3980066"/>
                <a:gd name="connsiteX7995" fmla="*/ 3545814 w 8387961"/>
                <a:gd name="connsiteY7995" fmla="*/ 2183124 h 3980066"/>
                <a:gd name="connsiteX7996" fmla="*/ 3561122 w 8387961"/>
                <a:gd name="connsiteY7996" fmla="*/ 2183124 h 3980066"/>
                <a:gd name="connsiteX7997" fmla="*/ 3527105 w 8387961"/>
                <a:gd name="connsiteY7997" fmla="*/ 2186480 h 3980066"/>
                <a:gd name="connsiteX7998" fmla="*/ 3535609 w 8387961"/>
                <a:gd name="connsiteY7998" fmla="*/ 2186480 h 3980066"/>
                <a:gd name="connsiteX7999" fmla="*/ 3503293 w 8387961"/>
                <a:gd name="connsiteY7999" fmla="*/ 2198228 h 3980066"/>
                <a:gd name="connsiteX8000" fmla="*/ 3468875 w 8387961"/>
                <a:gd name="connsiteY8000" fmla="*/ 2209549 h 3980066"/>
                <a:gd name="connsiteX8001" fmla="*/ 3468816 w 8387961"/>
                <a:gd name="connsiteY8001" fmla="*/ 2209976 h 3980066"/>
                <a:gd name="connsiteX8002" fmla="*/ 3468398 w 8387961"/>
                <a:gd name="connsiteY8002" fmla="*/ 2209705 h 3980066"/>
                <a:gd name="connsiteX8003" fmla="*/ 3467575 w 8387961"/>
                <a:gd name="connsiteY8003" fmla="*/ 2209976 h 3980066"/>
                <a:gd name="connsiteX8004" fmla="*/ 3467677 w 8387961"/>
                <a:gd name="connsiteY8004" fmla="*/ 2209240 h 3980066"/>
                <a:gd name="connsiteX8005" fmla="*/ 3440055 w 8387961"/>
                <a:gd name="connsiteY8005" fmla="*/ 2191389 h 3980066"/>
                <a:gd name="connsiteX8006" fmla="*/ 3412985 w 8387961"/>
                <a:gd name="connsiteY8006" fmla="*/ 2176182 h 3980066"/>
                <a:gd name="connsiteX8007" fmla="*/ 3387607 w 8387961"/>
                <a:gd name="connsiteY8007" fmla="*/ 2152527 h 3980066"/>
                <a:gd name="connsiteX8008" fmla="*/ 3364681 w 8387961"/>
                <a:gd name="connsiteY8008" fmla="*/ 2131266 h 3980066"/>
                <a:gd name="connsiteX8009" fmla="*/ 3337181 w 8387961"/>
                <a:gd name="connsiteY8009" fmla="*/ 2118054 h 3980066"/>
                <a:gd name="connsiteX8010" fmla="*/ 3343835 w 8387961"/>
                <a:gd name="connsiteY8010" fmla="*/ 2112960 h 3980066"/>
                <a:gd name="connsiteX8011" fmla="*/ 3337181 w 8387961"/>
                <a:gd name="connsiteY8011" fmla="*/ 2109564 h 3980066"/>
                <a:gd name="connsiteX8012" fmla="*/ 3318884 w 8387961"/>
                <a:gd name="connsiteY8012" fmla="*/ 2089185 h 3980066"/>
                <a:gd name="connsiteX8013" fmla="*/ 3327201 w 8387961"/>
                <a:gd name="connsiteY8013" fmla="*/ 2082393 h 3980066"/>
                <a:gd name="connsiteX8014" fmla="*/ 3318884 w 8387961"/>
                <a:gd name="connsiteY8014" fmla="*/ 2078996 h 3980066"/>
                <a:gd name="connsiteX8015" fmla="*/ 3325538 w 8387961"/>
                <a:gd name="connsiteY8015" fmla="*/ 2075600 h 3980066"/>
                <a:gd name="connsiteX8016" fmla="*/ 3318056 w 8387961"/>
                <a:gd name="connsiteY8016" fmla="*/ 2069489 h 3980066"/>
                <a:gd name="connsiteX8017" fmla="*/ 3317429 w 8387961"/>
                <a:gd name="connsiteY8017" fmla="*/ 2070123 h 3980066"/>
                <a:gd name="connsiteX8018" fmla="*/ 3315753 w 8387961"/>
                <a:gd name="connsiteY8018" fmla="*/ 2059966 h 3980066"/>
                <a:gd name="connsiteX8019" fmla="*/ 3309052 w 8387961"/>
                <a:gd name="connsiteY8019" fmla="*/ 2051502 h 3980066"/>
                <a:gd name="connsiteX8020" fmla="*/ 3305702 w 8387961"/>
                <a:gd name="connsiteY8020" fmla="*/ 2046424 h 3980066"/>
                <a:gd name="connsiteX8021" fmla="*/ 3297325 w 8387961"/>
                <a:gd name="connsiteY8021" fmla="*/ 2037960 h 3980066"/>
                <a:gd name="connsiteX8022" fmla="*/ 3283923 w 8387961"/>
                <a:gd name="connsiteY8022" fmla="*/ 2021031 h 3980066"/>
                <a:gd name="connsiteX8023" fmla="*/ 3283923 w 8387961"/>
                <a:gd name="connsiteY8023" fmla="*/ 2015953 h 3980066"/>
                <a:gd name="connsiteX8024" fmla="*/ 3280572 w 8387961"/>
                <a:gd name="connsiteY8024" fmla="*/ 2017646 h 3980066"/>
                <a:gd name="connsiteX8025" fmla="*/ 3278897 w 8387961"/>
                <a:gd name="connsiteY8025" fmla="*/ 2009182 h 3980066"/>
                <a:gd name="connsiteX8026" fmla="*/ 3270521 w 8387961"/>
                <a:gd name="connsiteY8026" fmla="*/ 2012567 h 3980066"/>
                <a:gd name="connsiteX8027" fmla="*/ 3273728 w 8387961"/>
                <a:gd name="connsiteY8027" fmla="*/ 2010947 h 3980066"/>
                <a:gd name="connsiteX8028" fmla="*/ 3269078 w 8387961"/>
                <a:gd name="connsiteY8028" fmla="*/ 2007721 h 3980066"/>
                <a:gd name="connsiteX8029" fmla="*/ 3265808 w 8387961"/>
                <a:gd name="connsiteY8029" fmla="*/ 1999217 h 3980066"/>
                <a:gd name="connsiteX8030" fmla="*/ 3269078 w 8387961"/>
                <a:gd name="connsiteY8030" fmla="*/ 1990713 h 3980066"/>
                <a:gd name="connsiteX8031" fmla="*/ 3259270 w 8387961"/>
                <a:gd name="connsiteY8031" fmla="*/ 1989012 h 3980066"/>
                <a:gd name="connsiteX8032" fmla="*/ 3273982 w 8387961"/>
                <a:gd name="connsiteY8032" fmla="*/ 1987311 h 3980066"/>
                <a:gd name="connsiteX8033" fmla="*/ 3267443 w 8387961"/>
                <a:gd name="connsiteY8033" fmla="*/ 1982209 h 3980066"/>
                <a:gd name="connsiteX8034" fmla="*/ 3249462 w 8387961"/>
                <a:gd name="connsiteY8034" fmla="*/ 1982209 h 3980066"/>
                <a:gd name="connsiteX8035" fmla="*/ 3251096 w 8387961"/>
                <a:gd name="connsiteY8035" fmla="*/ 1978807 h 3980066"/>
                <a:gd name="connsiteX8036" fmla="*/ 3238019 w 8387961"/>
                <a:gd name="connsiteY8036" fmla="*/ 1977106 h 3980066"/>
                <a:gd name="connsiteX8037" fmla="*/ 3241288 w 8387961"/>
                <a:gd name="connsiteY8037" fmla="*/ 1970303 h 3980066"/>
                <a:gd name="connsiteX8038" fmla="*/ 3235698 w 8387961"/>
                <a:gd name="connsiteY8038" fmla="*/ 1970303 h 3980066"/>
                <a:gd name="connsiteX8039" fmla="*/ 3228752 w 8387961"/>
                <a:gd name="connsiteY8039" fmla="*/ 1971956 h 3980066"/>
                <a:gd name="connsiteX8040" fmla="*/ 3229854 w 8387961"/>
                <a:gd name="connsiteY8040" fmla="*/ 1970303 h 3980066"/>
                <a:gd name="connsiteX8041" fmla="*/ 3229846 w 8387961"/>
                <a:gd name="connsiteY8041" fmla="*/ 1970303 h 3980066"/>
                <a:gd name="connsiteX8042" fmla="*/ 3229856 w 8387961"/>
                <a:gd name="connsiteY8042" fmla="*/ 1970300 h 3980066"/>
                <a:gd name="connsiteX8043" fmla="*/ 3235475 w 8387961"/>
                <a:gd name="connsiteY8043" fmla="*/ 1961874 h 3980066"/>
                <a:gd name="connsiteX8044" fmla="*/ 3259008 w 8387961"/>
                <a:gd name="connsiteY8044" fmla="*/ 1960194 h 3980066"/>
                <a:gd name="connsiteX8045" fmla="*/ 3259008 w 8387961"/>
                <a:gd name="connsiteY8045" fmla="*/ 1956833 h 3980066"/>
                <a:gd name="connsiteX8046" fmla="*/ 3248922 w 8387961"/>
                <a:gd name="connsiteY8046" fmla="*/ 1960194 h 3980066"/>
                <a:gd name="connsiteX8047" fmla="*/ 3230432 w 8387961"/>
                <a:gd name="connsiteY8047" fmla="*/ 1961874 h 3980066"/>
                <a:gd name="connsiteX8048" fmla="*/ 3227071 w 8387961"/>
                <a:gd name="connsiteY8048" fmla="*/ 1948432 h 3980066"/>
                <a:gd name="connsiteX8049" fmla="*/ 3248922 w 8387961"/>
                <a:gd name="connsiteY8049" fmla="*/ 1941711 h 3980066"/>
                <a:gd name="connsiteX8050" fmla="*/ 3269093 w 8387961"/>
                <a:gd name="connsiteY8050" fmla="*/ 1933309 h 3980066"/>
                <a:gd name="connsiteX8051" fmla="*/ 3304392 w 8387961"/>
                <a:gd name="connsiteY8051" fmla="*/ 1941711 h 3980066"/>
                <a:gd name="connsiteX8052" fmla="*/ 3301215 w 8387961"/>
                <a:gd name="connsiteY8052" fmla="*/ 1937741 h 3980066"/>
                <a:gd name="connsiteX8053" fmla="*/ 3268589 w 8387961"/>
                <a:gd name="connsiteY8053" fmla="*/ 1930151 h 3980066"/>
                <a:gd name="connsiteX8054" fmla="*/ 3248546 w 8387961"/>
                <a:gd name="connsiteY8054" fmla="*/ 1938311 h 3980066"/>
                <a:gd name="connsiteX8055" fmla="*/ 3226834 w 8387961"/>
                <a:gd name="connsiteY8055" fmla="*/ 1944839 h 3980066"/>
                <a:gd name="connsiteX8056" fmla="*/ 3230174 w 8387961"/>
                <a:gd name="connsiteY8056" fmla="*/ 1933415 h 3980066"/>
                <a:gd name="connsiteX8057" fmla="*/ 3243536 w 8387961"/>
                <a:gd name="connsiteY8057" fmla="*/ 1938311 h 3980066"/>
                <a:gd name="connsiteX8058" fmla="*/ 3256897 w 8387961"/>
                <a:gd name="connsiteY8058" fmla="*/ 1933415 h 3980066"/>
                <a:gd name="connsiteX8059" fmla="*/ 3233515 w 8387961"/>
                <a:gd name="connsiteY8059" fmla="*/ 1933415 h 3980066"/>
                <a:gd name="connsiteX8060" fmla="*/ 3233515 w 8387961"/>
                <a:gd name="connsiteY8060" fmla="*/ 1930151 h 3980066"/>
                <a:gd name="connsiteX8061" fmla="*/ 3233794 w 8387961"/>
                <a:gd name="connsiteY8061" fmla="*/ 1930151 h 3980066"/>
                <a:gd name="connsiteX8062" fmla="*/ 3233794 w 8387961"/>
                <a:gd name="connsiteY8062" fmla="*/ 1923228 h 3980066"/>
                <a:gd name="connsiteX8063" fmla="*/ 3228752 w 8387961"/>
                <a:gd name="connsiteY8063" fmla="*/ 1921547 h 3980066"/>
                <a:gd name="connsiteX8064" fmla="*/ 3235475 w 8387961"/>
                <a:gd name="connsiteY8064" fmla="*/ 1916507 h 3980066"/>
                <a:gd name="connsiteX8065" fmla="*/ 3227071 w 8387961"/>
                <a:gd name="connsiteY8065" fmla="*/ 1921547 h 3980066"/>
                <a:gd name="connsiteX8066" fmla="*/ 3210262 w 8387961"/>
                <a:gd name="connsiteY8066" fmla="*/ 1899704 h 3980066"/>
                <a:gd name="connsiteX8067" fmla="*/ 3223709 w 8387961"/>
                <a:gd name="connsiteY8067" fmla="*/ 1879540 h 3980066"/>
                <a:gd name="connsiteX8068" fmla="*/ 3235475 w 8387961"/>
                <a:gd name="connsiteY8068" fmla="*/ 1859377 h 3980066"/>
                <a:gd name="connsiteX8069" fmla="*/ 3240518 w 8387961"/>
                <a:gd name="connsiteY8069" fmla="*/ 1847615 h 3980066"/>
                <a:gd name="connsiteX8070" fmla="*/ 3264050 w 8387961"/>
                <a:gd name="connsiteY8070" fmla="*/ 1842574 h 3980066"/>
                <a:gd name="connsiteX8071" fmla="*/ 3284221 w 8387961"/>
                <a:gd name="connsiteY8071" fmla="*/ 1840894 h 3980066"/>
                <a:gd name="connsiteX8072" fmla="*/ 3306922 w 8387961"/>
                <a:gd name="connsiteY8072" fmla="*/ 1855482 h 3980066"/>
                <a:gd name="connsiteX8073" fmla="*/ 3306140 w 8387961"/>
                <a:gd name="connsiteY8073" fmla="*/ 1854638 h 3980066"/>
                <a:gd name="connsiteX8074" fmla="*/ 3282620 w 8387961"/>
                <a:gd name="connsiteY8074" fmla="*/ 1839580 h 3980066"/>
                <a:gd name="connsiteX8075" fmla="*/ 3262460 w 8387961"/>
                <a:gd name="connsiteY8075" fmla="*/ 1841253 h 3980066"/>
                <a:gd name="connsiteX8076" fmla="*/ 3238941 w 8387961"/>
                <a:gd name="connsiteY8076" fmla="*/ 1846273 h 3980066"/>
                <a:gd name="connsiteX8077" fmla="*/ 3233901 w 8387961"/>
                <a:gd name="connsiteY8077" fmla="*/ 1857984 h 3980066"/>
                <a:gd name="connsiteX8078" fmla="*/ 3242301 w 8387961"/>
                <a:gd name="connsiteY8078" fmla="*/ 1821176 h 3980066"/>
                <a:gd name="connsiteX8079" fmla="*/ 3247340 w 8387961"/>
                <a:gd name="connsiteY8079" fmla="*/ 1786041 h 3980066"/>
                <a:gd name="connsiteX8080" fmla="*/ 3238941 w 8387961"/>
                <a:gd name="connsiteY8080" fmla="*/ 1757598 h 3980066"/>
                <a:gd name="connsiteX8081" fmla="*/ 3242301 w 8387961"/>
                <a:gd name="connsiteY8081" fmla="*/ 1725809 h 3980066"/>
                <a:gd name="connsiteX8082" fmla="*/ 3225501 w 8387961"/>
                <a:gd name="connsiteY8082" fmla="*/ 1707405 h 3980066"/>
                <a:gd name="connsiteX8083" fmla="*/ 3227181 w 8387961"/>
                <a:gd name="connsiteY8083" fmla="*/ 1699040 h 3980066"/>
                <a:gd name="connsiteX8084" fmla="*/ 3252380 w 8387961"/>
                <a:gd name="connsiteY8084" fmla="*/ 1699040 h 3980066"/>
                <a:gd name="connsiteX8085" fmla="*/ 3277580 w 8387961"/>
                <a:gd name="connsiteY8085" fmla="*/ 1699040 h 3980066"/>
                <a:gd name="connsiteX8086" fmla="*/ 3304460 w 8387961"/>
                <a:gd name="connsiteY8086" fmla="*/ 1699040 h 3980066"/>
                <a:gd name="connsiteX8087" fmla="*/ 3329659 w 8387961"/>
                <a:gd name="connsiteY8087" fmla="*/ 1699040 h 3980066"/>
                <a:gd name="connsiteX8088" fmla="*/ 3329659 w 8387961"/>
                <a:gd name="connsiteY8088" fmla="*/ 1673943 h 3980066"/>
                <a:gd name="connsiteX8089" fmla="*/ 3329659 w 8387961"/>
                <a:gd name="connsiteY8089" fmla="*/ 1648847 h 3980066"/>
                <a:gd name="connsiteX8090" fmla="*/ 3356539 w 8387961"/>
                <a:gd name="connsiteY8090" fmla="*/ 1635462 h 3980066"/>
                <a:gd name="connsiteX8091" fmla="*/ 3358219 w 8387961"/>
                <a:gd name="connsiteY8091" fmla="*/ 1596981 h 3980066"/>
                <a:gd name="connsiteX8092" fmla="*/ 3358219 w 8387961"/>
                <a:gd name="connsiteY8092" fmla="*/ 1559039 h 3980066"/>
                <a:gd name="connsiteX8093" fmla="*/ 3357120 w 8387961"/>
                <a:gd name="connsiteY8093" fmla="*/ 1559039 h 3980066"/>
                <a:gd name="connsiteX8094" fmla="*/ 3357120 w 8387961"/>
                <a:gd name="connsiteY8094" fmla="*/ 1597041 h 3980066"/>
                <a:gd name="connsiteX8095" fmla="*/ 3355453 w 8387961"/>
                <a:gd name="connsiteY8095" fmla="*/ 1635042 h 3980066"/>
                <a:gd name="connsiteX8096" fmla="*/ 3328794 w 8387961"/>
                <a:gd name="connsiteY8096" fmla="*/ 1648260 h 3980066"/>
                <a:gd name="connsiteX8097" fmla="*/ 3328794 w 8387961"/>
                <a:gd name="connsiteY8097" fmla="*/ 1673044 h 3980066"/>
                <a:gd name="connsiteX8098" fmla="*/ 3328794 w 8387961"/>
                <a:gd name="connsiteY8098" fmla="*/ 1697827 h 3980066"/>
                <a:gd name="connsiteX8099" fmla="*/ 3303800 w 8387961"/>
                <a:gd name="connsiteY8099" fmla="*/ 1697827 h 3980066"/>
                <a:gd name="connsiteX8100" fmla="*/ 3277140 w 8387961"/>
                <a:gd name="connsiteY8100" fmla="*/ 1697827 h 3980066"/>
                <a:gd name="connsiteX8101" fmla="*/ 3252147 w 8387961"/>
                <a:gd name="connsiteY8101" fmla="*/ 1697827 h 3980066"/>
                <a:gd name="connsiteX8102" fmla="*/ 3227153 w 8387961"/>
                <a:gd name="connsiteY8102" fmla="*/ 1697827 h 3980066"/>
                <a:gd name="connsiteX8103" fmla="*/ 3223821 w 8387961"/>
                <a:gd name="connsiteY8103" fmla="*/ 1714350 h 3980066"/>
                <a:gd name="connsiteX8104" fmla="*/ 3223821 w 8387961"/>
                <a:gd name="connsiteY8104" fmla="*/ 1697827 h 3980066"/>
                <a:gd name="connsiteX8105" fmla="*/ 3242149 w 8387961"/>
                <a:gd name="connsiteY8105" fmla="*/ 1659826 h 3980066"/>
                <a:gd name="connsiteX8106" fmla="*/ 3258812 w 8387961"/>
                <a:gd name="connsiteY8106" fmla="*/ 1625129 h 3980066"/>
                <a:gd name="connsiteX8107" fmla="*/ 3253813 w 8387961"/>
                <a:gd name="connsiteY8107" fmla="*/ 1628433 h 3980066"/>
                <a:gd name="connsiteX8108" fmla="*/ 3275474 w 8387961"/>
                <a:gd name="connsiteY8108" fmla="*/ 1605302 h 3980066"/>
                <a:gd name="connsiteX8109" fmla="*/ 3283805 w 8387961"/>
                <a:gd name="connsiteY8109" fmla="*/ 1580518 h 3980066"/>
                <a:gd name="connsiteX8110" fmla="*/ 3293803 w 8387961"/>
                <a:gd name="connsiteY8110" fmla="*/ 1559039 h 3980066"/>
                <a:gd name="connsiteX8111" fmla="*/ 3313797 w 8387961"/>
                <a:gd name="connsiteY8111" fmla="*/ 1539212 h 3980066"/>
                <a:gd name="connsiteX8112" fmla="*/ 3328794 w 8387961"/>
                <a:gd name="connsiteY8112" fmla="*/ 1509472 h 3980066"/>
                <a:gd name="connsiteX8113" fmla="*/ 3330779 w 8387961"/>
                <a:gd name="connsiteY8113" fmla="*/ 1509472 h 3980066"/>
                <a:gd name="connsiteX8114" fmla="*/ 3359142 w 8387961"/>
                <a:gd name="connsiteY8114" fmla="*/ 1497707 h 3980066"/>
                <a:gd name="connsiteX8115" fmla="*/ 3379164 w 8387961"/>
                <a:gd name="connsiteY8115" fmla="*/ 1484262 h 3980066"/>
                <a:gd name="connsiteX8116" fmla="*/ 3399185 w 8387961"/>
                <a:gd name="connsiteY8116" fmla="*/ 1469136 h 3980066"/>
                <a:gd name="connsiteX8117" fmla="*/ 3410864 w 8387961"/>
                <a:gd name="connsiteY8117" fmla="*/ 1447287 h 3980066"/>
                <a:gd name="connsiteX8118" fmla="*/ 3424211 w 8387961"/>
                <a:gd name="connsiteY8118" fmla="*/ 1427119 h 3980066"/>
                <a:gd name="connsiteX8119" fmla="*/ 3419206 w 8387961"/>
                <a:gd name="connsiteY8119" fmla="*/ 1398547 h 3980066"/>
                <a:gd name="connsiteX8120" fmla="*/ 3430885 w 8387961"/>
                <a:gd name="connsiteY8120" fmla="*/ 1376699 h 3980066"/>
                <a:gd name="connsiteX8121" fmla="*/ 3445901 w 8387961"/>
                <a:gd name="connsiteY8121" fmla="*/ 1353169 h 3980066"/>
                <a:gd name="connsiteX8122" fmla="*/ 3467591 w 8387961"/>
                <a:gd name="connsiteY8122" fmla="*/ 1338043 h 3980066"/>
                <a:gd name="connsiteX8123" fmla="*/ 3490949 w 8387961"/>
                <a:gd name="connsiteY8123" fmla="*/ 1322917 h 3980066"/>
                <a:gd name="connsiteX8124" fmla="*/ 3505965 w 8387961"/>
                <a:gd name="connsiteY8124" fmla="*/ 1297707 h 3980066"/>
                <a:gd name="connsiteX8125" fmla="*/ 3517644 w 8387961"/>
                <a:gd name="connsiteY8125" fmla="*/ 1274178 h 3980066"/>
                <a:gd name="connsiteX8126" fmla="*/ 3530992 w 8387961"/>
                <a:gd name="connsiteY8126" fmla="*/ 1262413 h 3980066"/>
                <a:gd name="connsiteX8127" fmla="*/ 3546008 w 8387961"/>
                <a:gd name="connsiteY8127" fmla="*/ 1277539 h 3980066"/>
                <a:gd name="connsiteX8128" fmla="*/ 3587719 w 8387961"/>
                <a:gd name="connsiteY8128" fmla="*/ 1282581 h 3980066"/>
                <a:gd name="connsiteX8129" fmla="*/ 3596061 w 8387961"/>
                <a:gd name="connsiteY8129" fmla="*/ 1279220 h 3980066"/>
                <a:gd name="connsiteX8130" fmla="*/ 3613747 w 8387961"/>
                <a:gd name="connsiteY8130" fmla="*/ 1285698 h 3980066"/>
                <a:gd name="connsiteX8131" fmla="*/ 3635419 w 8387961"/>
                <a:gd name="connsiteY8131" fmla="*/ 1274090 h 3980066"/>
                <a:gd name="connsiteX8132" fmla="*/ 3658956 w 8387961"/>
                <a:gd name="connsiteY8132" fmla="*/ 1262385 h 3980066"/>
                <a:gd name="connsiteX8133" fmla="*/ 3674087 w 8387961"/>
                <a:gd name="connsiteY8133" fmla="*/ 1255696 h 3980066"/>
                <a:gd name="connsiteX8134" fmla="*/ 3706029 w 8387961"/>
                <a:gd name="connsiteY8134" fmla="*/ 1245662 h 3980066"/>
                <a:gd name="connsiteX8135" fmla="*/ 3737972 w 8387961"/>
                <a:gd name="connsiteY8135" fmla="*/ 1235628 h 3980066"/>
                <a:gd name="connsiteX8136" fmla="*/ 3766552 w 8387961"/>
                <a:gd name="connsiteY8136" fmla="*/ 1235628 h 3980066"/>
                <a:gd name="connsiteX8137" fmla="*/ 3795132 w 8387961"/>
                <a:gd name="connsiteY8137" fmla="*/ 1235628 h 3980066"/>
                <a:gd name="connsiteX8138" fmla="*/ 3822031 w 8387961"/>
                <a:gd name="connsiteY8138" fmla="*/ 1232284 h 3980066"/>
                <a:gd name="connsiteX8139" fmla="*/ 3842205 w 8387961"/>
                <a:gd name="connsiteY8139" fmla="*/ 1232284 h 3980066"/>
                <a:gd name="connsiteX8140" fmla="*/ 3881345 w 8387961"/>
                <a:gd name="connsiteY8140" fmla="*/ 1232284 h 3980066"/>
                <a:gd name="connsiteX8141" fmla="*/ 3881723 w 8387961"/>
                <a:gd name="connsiteY8141" fmla="*/ 1231782 h 3980066"/>
                <a:gd name="connsiteX8142" fmla="*/ 3910271 w 8387961"/>
                <a:gd name="connsiteY8142" fmla="*/ 1221739 h 3980066"/>
                <a:gd name="connsiteX8143" fmla="*/ 3920347 w 8387961"/>
                <a:gd name="connsiteY8143" fmla="*/ 1226760 h 3980066"/>
                <a:gd name="connsiteX8144" fmla="*/ 3927065 w 8387961"/>
                <a:gd name="connsiteY8144" fmla="*/ 1236803 h 3980066"/>
                <a:gd name="connsiteX8145" fmla="*/ 3942178 w 8387961"/>
                <a:gd name="connsiteY8145" fmla="*/ 1226760 h 3980066"/>
                <a:gd name="connsiteX8146" fmla="*/ 3930423 w 8387961"/>
                <a:gd name="connsiteY8146" fmla="*/ 1258563 h 3980066"/>
                <a:gd name="connsiteX8147" fmla="*/ 3947216 w 8387961"/>
                <a:gd name="connsiteY8147" fmla="*/ 1281997 h 3980066"/>
                <a:gd name="connsiteX8148" fmla="*/ 3932103 w 8387961"/>
                <a:gd name="connsiteY8148" fmla="*/ 1298736 h 3980066"/>
                <a:gd name="connsiteX8149" fmla="*/ 3920347 w 8387961"/>
                <a:gd name="connsiteY8149" fmla="*/ 1317148 h 3980066"/>
                <a:gd name="connsiteX8150" fmla="*/ 3942178 w 8387961"/>
                <a:gd name="connsiteY8150" fmla="*/ 1332212 h 3980066"/>
                <a:gd name="connsiteX8151" fmla="*/ 3958972 w 8387961"/>
                <a:gd name="connsiteY8151" fmla="*/ 1343929 h 3980066"/>
                <a:gd name="connsiteX8152" fmla="*/ 3957384 w 8387961"/>
                <a:gd name="connsiteY8152" fmla="*/ 1366078 h 3980066"/>
                <a:gd name="connsiteX8153" fmla="*/ 3957741 w 8387961"/>
                <a:gd name="connsiteY8153" fmla="*/ 1365756 h 3980066"/>
                <a:gd name="connsiteX8154" fmla="*/ 3959413 w 8387961"/>
                <a:gd name="connsiteY8154" fmla="*/ 1342255 h 3980066"/>
                <a:gd name="connsiteX8155" fmla="*/ 3996192 w 8387961"/>
                <a:gd name="connsiteY8155" fmla="*/ 1350648 h 3980066"/>
                <a:gd name="connsiteX8156" fmla="*/ 4022941 w 8387961"/>
                <a:gd name="connsiteY8156" fmla="*/ 1357362 h 3980066"/>
                <a:gd name="connsiteX8157" fmla="*/ 4051362 w 8387961"/>
                <a:gd name="connsiteY8157" fmla="*/ 1364077 h 3980066"/>
                <a:gd name="connsiteX8158" fmla="*/ 4063064 w 8387961"/>
                <a:gd name="connsiteY8158" fmla="*/ 1392614 h 3980066"/>
                <a:gd name="connsiteX8159" fmla="*/ 4093157 w 8387961"/>
                <a:gd name="connsiteY8159" fmla="*/ 1401007 h 3980066"/>
                <a:gd name="connsiteX8160" fmla="*/ 4121577 w 8387961"/>
                <a:gd name="connsiteY8160" fmla="*/ 1414436 h 3980066"/>
                <a:gd name="connsiteX8161" fmla="*/ 4151670 w 8387961"/>
                <a:gd name="connsiteY8161" fmla="*/ 1427865 h 3980066"/>
                <a:gd name="connsiteX8162" fmla="*/ 4178419 w 8387961"/>
                <a:gd name="connsiteY8162" fmla="*/ 1412757 h 3980066"/>
                <a:gd name="connsiteX8163" fmla="*/ 4176747 w 8387961"/>
                <a:gd name="connsiteY8163" fmla="*/ 1372470 h 3980066"/>
                <a:gd name="connsiteX8164" fmla="*/ 4193465 w 8387961"/>
                <a:gd name="connsiteY8164" fmla="*/ 1360720 h 3980066"/>
                <a:gd name="connsiteX8165" fmla="*/ 4213527 w 8387961"/>
                <a:gd name="connsiteY8165" fmla="*/ 1347291 h 3980066"/>
                <a:gd name="connsiteX8166" fmla="*/ 4246963 w 8387961"/>
                <a:gd name="connsiteY8166" fmla="*/ 1355684 h 3980066"/>
                <a:gd name="connsiteX8167" fmla="*/ 4251978 w 8387961"/>
                <a:gd name="connsiteY8167" fmla="*/ 1365756 h 3980066"/>
                <a:gd name="connsiteX8168" fmla="*/ 4290429 w 8387961"/>
                <a:gd name="connsiteY8168" fmla="*/ 1375827 h 3980066"/>
                <a:gd name="connsiteX8169" fmla="*/ 4303804 w 8387961"/>
                <a:gd name="connsiteY8169" fmla="*/ 1385899 h 3980066"/>
                <a:gd name="connsiteX8170" fmla="*/ 4300460 w 8387961"/>
                <a:gd name="connsiteY8170" fmla="*/ 1406043 h 3980066"/>
                <a:gd name="connsiteX8171" fmla="*/ 4302132 w 8387961"/>
                <a:gd name="connsiteY8171" fmla="*/ 1427865 h 3980066"/>
                <a:gd name="connsiteX8172" fmla="*/ 4302132 w 8387961"/>
                <a:gd name="connsiteY8172" fmla="*/ 1451365 h 3980066"/>
                <a:gd name="connsiteX8173" fmla="*/ 4303804 w 8387961"/>
                <a:gd name="connsiteY8173" fmla="*/ 1481581 h 3980066"/>
                <a:gd name="connsiteX8174" fmla="*/ 4307147 w 8387961"/>
                <a:gd name="connsiteY8174" fmla="*/ 1508439 h 3980066"/>
                <a:gd name="connsiteX8175" fmla="*/ 4308819 w 8387961"/>
                <a:gd name="connsiteY8175" fmla="*/ 1536975 h 3980066"/>
                <a:gd name="connsiteX8176" fmla="*/ 4310491 w 8387961"/>
                <a:gd name="connsiteY8176" fmla="*/ 1565512 h 3980066"/>
                <a:gd name="connsiteX8177" fmla="*/ 4312163 w 8387961"/>
                <a:gd name="connsiteY8177" fmla="*/ 1594049 h 3980066"/>
                <a:gd name="connsiteX8178" fmla="*/ 4313835 w 8387961"/>
                <a:gd name="connsiteY8178" fmla="*/ 1622585 h 3980066"/>
                <a:gd name="connsiteX8179" fmla="*/ 4317178 w 8387961"/>
                <a:gd name="connsiteY8179" fmla="*/ 1649443 h 3980066"/>
                <a:gd name="connsiteX8180" fmla="*/ 4318850 w 8387961"/>
                <a:gd name="connsiteY8180" fmla="*/ 1677980 h 3980066"/>
                <a:gd name="connsiteX8181" fmla="*/ 4318850 w 8387961"/>
                <a:gd name="connsiteY8181" fmla="*/ 1708195 h 3980066"/>
                <a:gd name="connsiteX8182" fmla="*/ 4320470 w 8387961"/>
                <a:gd name="connsiteY8182" fmla="*/ 1737468 h 3980066"/>
                <a:gd name="connsiteX8183" fmla="*/ 4321079 w 8387961"/>
                <a:gd name="connsiteY8183" fmla="*/ 1737468 h 3980066"/>
                <a:gd name="connsiteX8184" fmla="*/ 4319397 w 8387961"/>
                <a:gd name="connsiteY8184" fmla="*/ 1707279 h 3980066"/>
                <a:gd name="connsiteX8185" fmla="*/ 4319397 w 8387961"/>
                <a:gd name="connsiteY8185" fmla="*/ 1677090 h 3980066"/>
                <a:gd name="connsiteX8186" fmla="*/ 4319469 w 8387961"/>
                <a:gd name="connsiteY8186" fmla="*/ 1677090 h 3980066"/>
                <a:gd name="connsiteX8187" fmla="*/ 4317811 w 8387961"/>
                <a:gd name="connsiteY8187" fmla="*/ 1649387 h 3980066"/>
                <a:gd name="connsiteX8188" fmla="*/ 4314437 w 8387961"/>
                <a:gd name="connsiteY8188" fmla="*/ 1622846 h 3980066"/>
                <a:gd name="connsiteX8189" fmla="*/ 4312749 w 8387961"/>
                <a:gd name="connsiteY8189" fmla="*/ 1594647 h 3980066"/>
                <a:gd name="connsiteX8190" fmla="*/ 4311062 w 8387961"/>
                <a:gd name="connsiteY8190" fmla="*/ 1566447 h 3980066"/>
                <a:gd name="connsiteX8191" fmla="*/ 4309375 w 8387961"/>
                <a:gd name="connsiteY8191" fmla="*/ 1538248 h 3980066"/>
                <a:gd name="connsiteX8192" fmla="*/ 4307688 w 8387961"/>
                <a:gd name="connsiteY8192" fmla="*/ 1510048 h 3980066"/>
                <a:gd name="connsiteX8193" fmla="*/ 4304313 w 8387961"/>
                <a:gd name="connsiteY8193" fmla="*/ 1483507 h 3980066"/>
                <a:gd name="connsiteX8194" fmla="*/ 4302626 w 8387961"/>
                <a:gd name="connsiteY8194" fmla="*/ 1453649 h 3980066"/>
                <a:gd name="connsiteX8195" fmla="*/ 4302626 w 8387961"/>
                <a:gd name="connsiteY8195" fmla="*/ 1430426 h 3980066"/>
                <a:gd name="connsiteX8196" fmla="*/ 4300939 w 8387961"/>
                <a:gd name="connsiteY8196" fmla="*/ 1408861 h 3980066"/>
                <a:gd name="connsiteX8197" fmla="*/ 4304313 w 8387961"/>
                <a:gd name="connsiteY8197" fmla="*/ 1388956 h 3980066"/>
                <a:gd name="connsiteX8198" fmla="*/ 4322873 w 8387961"/>
                <a:gd name="connsiteY8198" fmla="*/ 1390615 h 3980066"/>
                <a:gd name="connsiteX8199" fmla="*/ 4361679 w 8387961"/>
                <a:gd name="connsiteY8199" fmla="*/ 1400567 h 3980066"/>
                <a:gd name="connsiteX8200" fmla="*/ 4402173 w 8387961"/>
                <a:gd name="connsiteY8200" fmla="*/ 1413838 h 3980066"/>
                <a:gd name="connsiteX8201" fmla="*/ 4435918 w 8387961"/>
                <a:gd name="connsiteY8201" fmla="*/ 1400567 h 3980066"/>
                <a:gd name="connsiteX8202" fmla="*/ 4454477 w 8387961"/>
                <a:gd name="connsiteY8202" fmla="*/ 1390615 h 3980066"/>
                <a:gd name="connsiteX8203" fmla="*/ 4446041 w 8387961"/>
                <a:gd name="connsiteY8203" fmla="*/ 1397250 h 3980066"/>
                <a:gd name="connsiteX8204" fmla="*/ 4459539 w 8387961"/>
                <a:gd name="connsiteY8204" fmla="*/ 1393932 h 3980066"/>
                <a:gd name="connsiteX8205" fmla="*/ 4481473 w 8387961"/>
                <a:gd name="connsiteY8205" fmla="*/ 1398909 h 3980066"/>
                <a:gd name="connsiteX8206" fmla="*/ 4489909 w 8387961"/>
                <a:gd name="connsiteY8206" fmla="*/ 1405544 h 3980066"/>
                <a:gd name="connsiteX8207" fmla="*/ 4501720 w 8387961"/>
                <a:gd name="connsiteY8207" fmla="*/ 1407203 h 3980066"/>
                <a:gd name="connsiteX8208" fmla="*/ 4537076 w 8387961"/>
                <a:gd name="connsiteY8208" fmla="*/ 1398926 h 3980066"/>
                <a:gd name="connsiteX8209" fmla="*/ 4535946 w 8387961"/>
                <a:gd name="connsiteY8209" fmla="*/ 1396553 h 3980066"/>
                <a:gd name="connsiteX8210" fmla="*/ 4545888 w 8387961"/>
                <a:gd name="connsiteY8210" fmla="*/ 1371991 h 3980066"/>
                <a:gd name="connsiteX8211" fmla="*/ 4554174 w 8387961"/>
                <a:gd name="connsiteY8211" fmla="*/ 1345792 h 3980066"/>
                <a:gd name="connsiteX8212" fmla="*/ 4555636 w 8387961"/>
                <a:gd name="connsiteY8212" fmla="*/ 1344966 h 3980066"/>
                <a:gd name="connsiteX8213" fmla="*/ 4563458 w 8387961"/>
                <a:gd name="connsiteY8213" fmla="*/ 1322723 h 3980066"/>
                <a:gd name="connsiteX8214" fmla="*/ 4571387 w 8387961"/>
                <a:gd name="connsiteY8214" fmla="*/ 1298568 h 3980066"/>
                <a:gd name="connsiteX8215" fmla="*/ 4585659 w 8387961"/>
                <a:gd name="connsiteY8215" fmla="*/ 1306620 h 3980066"/>
                <a:gd name="connsiteX8216" fmla="*/ 4582487 w 8387961"/>
                <a:gd name="connsiteY8216" fmla="*/ 1324333 h 3980066"/>
                <a:gd name="connsiteX8217" fmla="*/ 4566630 w 8387961"/>
                <a:gd name="connsiteY8217" fmla="*/ 1338826 h 3980066"/>
                <a:gd name="connsiteX8218" fmla="*/ 4565788 w 8387961"/>
                <a:gd name="connsiteY8218" fmla="*/ 1339315 h 3980066"/>
                <a:gd name="connsiteX8219" fmla="*/ 4569088 w 8387961"/>
                <a:gd name="connsiteY8219" fmla="*/ 1355616 h 3980066"/>
                <a:gd name="connsiteX8220" fmla="*/ 4568906 w 8387961"/>
                <a:gd name="connsiteY8220" fmla="*/ 1356874 h 3980066"/>
                <a:gd name="connsiteX8221" fmla="*/ 4583484 w 8387961"/>
                <a:gd name="connsiteY8221" fmla="*/ 1362122 h 3980066"/>
                <a:gd name="connsiteX8222" fmla="*/ 4571031 w 8387961"/>
                <a:gd name="connsiteY8222" fmla="*/ 1357355 h 3980066"/>
                <a:gd name="connsiteX8223" fmla="*/ 4567727 w 8387961"/>
                <a:gd name="connsiteY8223" fmla="*/ 1340189 h 3980066"/>
                <a:gd name="connsiteX8224" fmla="*/ 4584249 w 8387961"/>
                <a:gd name="connsiteY8224" fmla="*/ 1324739 h 3980066"/>
                <a:gd name="connsiteX8225" fmla="*/ 4587554 w 8387961"/>
                <a:gd name="connsiteY8225" fmla="*/ 1305855 h 3980066"/>
                <a:gd name="connsiteX8226" fmla="*/ 4572684 w 8387961"/>
                <a:gd name="connsiteY8226" fmla="*/ 1297272 h 3980066"/>
                <a:gd name="connsiteX8227" fmla="*/ 4566789 w 8387961"/>
                <a:gd name="connsiteY8227" fmla="*/ 1262054 h 3980066"/>
                <a:gd name="connsiteX8228" fmla="*/ 4566432 w 8387961"/>
                <a:gd name="connsiteY8228" fmla="*/ 1262414 h 3980066"/>
                <a:gd name="connsiteX8229" fmla="*/ 4564763 w 8387961"/>
                <a:gd name="connsiteY8229" fmla="*/ 1259045 h 3980066"/>
                <a:gd name="connsiteX8230" fmla="*/ 4564763 w 8387961"/>
                <a:gd name="connsiteY8230" fmla="*/ 1255676 h 3980066"/>
                <a:gd name="connsiteX8231" fmla="*/ 4566432 w 8387961"/>
                <a:gd name="connsiteY8231" fmla="*/ 1232093 h 3980066"/>
                <a:gd name="connsiteX8232" fmla="*/ 4554753 w 8387961"/>
                <a:gd name="connsiteY8232" fmla="*/ 1237146 h 3980066"/>
                <a:gd name="connsiteX8233" fmla="*/ 4539737 w 8387961"/>
                <a:gd name="connsiteY8233" fmla="*/ 1237146 h 3980066"/>
                <a:gd name="connsiteX8234" fmla="*/ 4519715 w 8387961"/>
                <a:gd name="connsiteY8234" fmla="*/ 1243884 h 3980066"/>
                <a:gd name="connsiteX8235" fmla="*/ 4493020 w 8387961"/>
                <a:gd name="connsiteY8235" fmla="*/ 1255676 h 3980066"/>
                <a:gd name="connsiteX8236" fmla="*/ 4472999 w 8387961"/>
                <a:gd name="connsiteY8236" fmla="*/ 1248938 h 3980066"/>
                <a:gd name="connsiteX8237" fmla="*/ 4432956 w 8387961"/>
                <a:gd name="connsiteY8237" fmla="*/ 1233777 h 3980066"/>
                <a:gd name="connsiteX8238" fmla="*/ 4429619 w 8387961"/>
                <a:gd name="connsiteY8238" fmla="*/ 1245569 h 3980066"/>
                <a:gd name="connsiteX8239" fmla="*/ 4416272 w 8387961"/>
                <a:gd name="connsiteY8239" fmla="*/ 1252307 h 3980066"/>
                <a:gd name="connsiteX8240" fmla="*/ 4392914 w 8387961"/>
                <a:gd name="connsiteY8240" fmla="*/ 1243884 h 3980066"/>
                <a:gd name="connsiteX8241" fmla="*/ 4381235 w 8387961"/>
                <a:gd name="connsiteY8241" fmla="*/ 1235462 h 3980066"/>
                <a:gd name="connsiteX8242" fmla="*/ 4366219 w 8387961"/>
                <a:gd name="connsiteY8242" fmla="*/ 1237146 h 3980066"/>
                <a:gd name="connsiteX8243" fmla="*/ 4354539 w 8387961"/>
                <a:gd name="connsiteY8243" fmla="*/ 1237146 h 3980066"/>
                <a:gd name="connsiteX8244" fmla="*/ 4369555 w 8387961"/>
                <a:gd name="connsiteY8244" fmla="*/ 1228724 h 3980066"/>
                <a:gd name="connsiteX8245" fmla="*/ 4351203 w 8387961"/>
                <a:gd name="connsiteY8245" fmla="*/ 1227039 h 3980066"/>
                <a:gd name="connsiteX8246" fmla="*/ 4352871 w 8387961"/>
                <a:gd name="connsiteY8246" fmla="*/ 1218617 h 3980066"/>
                <a:gd name="connsiteX8247" fmla="*/ 4341192 w 8387961"/>
                <a:gd name="connsiteY8247" fmla="*/ 1208510 h 3980066"/>
                <a:gd name="connsiteX8248" fmla="*/ 4344529 w 8387961"/>
                <a:gd name="connsiteY8248" fmla="*/ 1203456 h 3980066"/>
                <a:gd name="connsiteX8249" fmla="*/ 4322839 w 8387961"/>
                <a:gd name="connsiteY8249" fmla="*/ 1193349 h 3980066"/>
                <a:gd name="connsiteX8250" fmla="*/ 4321171 w 8387961"/>
                <a:gd name="connsiteY8250" fmla="*/ 1183242 h 3980066"/>
                <a:gd name="connsiteX8251" fmla="*/ 4326176 w 8387961"/>
                <a:gd name="connsiteY8251" fmla="*/ 1183242 h 3980066"/>
                <a:gd name="connsiteX8252" fmla="*/ 4334518 w 8387961"/>
                <a:gd name="connsiteY8252" fmla="*/ 1186611 h 3980066"/>
                <a:gd name="connsiteX8253" fmla="*/ 4331181 w 8387961"/>
                <a:gd name="connsiteY8253" fmla="*/ 1174820 h 3980066"/>
                <a:gd name="connsiteX8254" fmla="*/ 4331181 w 8387961"/>
                <a:gd name="connsiteY8254" fmla="*/ 1171451 h 3980066"/>
                <a:gd name="connsiteX8255" fmla="*/ 4329513 w 8387961"/>
                <a:gd name="connsiteY8255" fmla="*/ 1154606 h 3980066"/>
                <a:gd name="connsiteX8256" fmla="*/ 4314497 w 8387961"/>
                <a:gd name="connsiteY8256" fmla="*/ 1152921 h 3980066"/>
                <a:gd name="connsiteX8257" fmla="*/ 4316165 w 8387961"/>
                <a:gd name="connsiteY8257" fmla="*/ 1132707 h 3980066"/>
                <a:gd name="connsiteX8258" fmla="*/ 4341192 w 8387961"/>
                <a:gd name="connsiteY8258" fmla="*/ 1127654 h 3980066"/>
                <a:gd name="connsiteX8259" fmla="*/ 4349534 w 8387961"/>
                <a:gd name="connsiteY8259" fmla="*/ 1122600 h 3980066"/>
                <a:gd name="connsiteX8260" fmla="*/ 4379566 w 8387961"/>
                <a:gd name="connsiteY8260" fmla="*/ 1124285 h 3980066"/>
                <a:gd name="connsiteX8261" fmla="*/ 4396251 w 8387961"/>
                <a:gd name="connsiteY8261" fmla="*/ 1115862 h 3980066"/>
                <a:gd name="connsiteX8262" fmla="*/ 4389577 w 8387961"/>
                <a:gd name="connsiteY8262" fmla="*/ 1114178 h 3980066"/>
                <a:gd name="connsiteX8263" fmla="*/ 4376229 w 8387961"/>
                <a:gd name="connsiteY8263" fmla="*/ 1104071 h 3980066"/>
                <a:gd name="connsiteX8264" fmla="*/ 4422946 w 8387961"/>
                <a:gd name="connsiteY8264" fmla="*/ 1105755 h 3980066"/>
                <a:gd name="connsiteX8265" fmla="*/ 4456315 w 8387961"/>
                <a:gd name="connsiteY8265" fmla="*/ 1083857 h 3980066"/>
                <a:gd name="connsiteX8266" fmla="*/ 4481341 w 8387961"/>
                <a:gd name="connsiteY8266" fmla="*/ 1082172 h 3980066"/>
                <a:gd name="connsiteX8267" fmla="*/ 4504699 w 8387961"/>
                <a:gd name="connsiteY8267" fmla="*/ 1077119 h 3980066"/>
                <a:gd name="connsiteX8268" fmla="*/ 4519715 w 8387961"/>
                <a:gd name="connsiteY8268" fmla="*/ 1080488 h 3980066"/>
                <a:gd name="connsiteX8269" fmla="*/ 4536400 w 8387961"/>
                <a:gd name="connsiteY8269" fmla="*/ 1087226 h 3980066"/>
                <a:gd name="connsiteX8270" fmla="*/ 4546411 w 8387961"/>
                <a:gd name="connsiteY8270" fmla="*/ 1093964 h 3980066"/>
                <a:gd name="connsiteX8271" fmla="*/ 4579779 w 8387961"/>
                <a:gd name="connsiteY8271" fmla="*/ 1102386 h 3980066"/>
                <a:gd name="connsiteX8272" fmla="*/ 4609811 w 8387961"/>
                <a:gd name="connsiteY8272" fmla="*/ 1107440 h 3980066"/>
                <a:gd name="connsiteX8273" fmla="*/ 4641512 w 8387961"/>
                <a:gd name="connsiteY8273" fmla="*/ 1110809 h 3980066"/>
                <a:gd name="connsiteX8274" fmla="*/ 4674855 w 8387961"/>
                <a:gd name="connsiteY8274" fmla="*/ 1093175 h 3980066"/>
                <a:gd name="connsiteX8275" fmla="*/ 4673210 w 8387961"/>
                <a:gd name="connsiteY8275" fmla="*/ 1071354 h 3980066"/>
                <a:gd name="connsiteX8276" fmla="*/ 4649835 w 8387961"/>
                <a:gd name="connsiteY8276" fmla="*/ 1045810 h 3980066"/>
                <a:gd name="connsiteX8277" fmla="*/ 4610404 w 8387961"/>
                <a:gd name="connsiteY8277" fmla="*/ 1022350 h 3980066"/>
                <a:gd name="connsiteX8278" fmla="*/ 4610371 w 8387961"/>
                <a:gd name="connsiteY8278" fmla="*/ 1022451 h 3980066"/>
                <a:gd name="connsiteX8279" fmla="*/ 4573552 w 8387961"/>
                <a:gd name="connsiteY8279" fmla="*/ 1002386 h 3980066"/>
                <a:gd name="connsiteX8280" fmla="*/ 4538407 w 8387961"/>
                <a:gd name="connsiteY8280" fmla="*/ 983992 h 3980066"/>
                <a:gd name="connsiteX8281" fmla="*/ 4543428 w 8387961"/>
                <a:gd name="connsiteY8281" fmla="*/ 977304 h 3980066"/>
                <a:gd name="connsiteX8282" fmla="*/ 4563511 w 8387961"/>
                <a:gd name="connsiteY8282" fmla="*/ 975632 h 3980066"/>
                <a:gd name="connsiteX8283" fmla="*/ 4565184 w 8387961"/>
                <a:gd name="connsiteY8283" fmla="*/ 957239 h 3980066"/>
                <a:gd name="connsiteX8284" fmla="*/ 4570205 w 8387961"/>
                <a:gd name="connsiteY8284" fmla="*/ 965599 h 3980066"/>
                <a:gd name="connsiteX8285" fmla="*/ 4571879 w 8387961"/>
                <a:gd name="connsiteY8285" fmla="*/ 955566 h 3980066"/>
                <a:gd name="connsiteX8286" fmla="*/ 4580246 w 8387961"/>
                <a:gd name="connsiteY8286" fmla="*/ 957239 h 3980066"/>
                <a:gd name="connsiteX8287" fmla="*/ 4560163 w 8387961"/>
                <a:gd name="connsiteY8287" fmla="*/ 942190 h 3980066"/>
                <a:gd name="connsiteX8288" fmla="*/ 4571879 w 8387961"/>
                <a:gd name="connsiteY8288" fmla="*/ 937173 h 3980066"/>
                <a:gd name="connsiteX8289" fmla="*/ 4590288 w 8387961"/>
                <a:gd name="connsiteY8289" fmla="*/ 927140 h 3980066"/>
                <a:gd name="connsiteX8290" fmla="*/ 4586147 w 8387961"/>
                <a:gd name="connsiteY8290" fmla="*/ 923004 h 3980066"/>
                <a:gd name="connsiteX8291" fmla="*/ 4585942 w 8387961"/>
                <a:gd name="connsiteY8291" fmla="*/ 923417 h 3980066"/>
                <a:gd name="connsiteX8292" fmla="*/ 4572525 w 8387961"/>
                <a:gd name="connsiteY8292" fmla="*/ 925105 h 3980066"/>
                <a:gd name="connsiteX8293" fmla="*/ 4535629 w 8387961"/>
                <a:gd name="connsiteY8293" fmla="*/ 938610 h 3980066"/>
                <a:gd name="connsiteX8294" fmla="*/ 4503763 w 8387961"/>
                <a:gd name="connsiteY8294" fmla="*/ 952115 h 3980066"/>
                <a:gd name="connsiteX8295" fmla="*/ 4497157 w 8387961"/>
                <a:gd name="connsiteY8295" fmla="*/ 956105 h 3980066"/>
                <a:gd name="connsiteX8296" fmla="*/ 4500409 w 8387961"/>
                <a:gd name="connsiteY8296" fmla="*/ 948739 h 3980066"/>
                <a:gd name="connsiteX8297" fmla="*/ 4495378 w 8387961"/>
                <a:gd name="connsiteY8297" fmla="*/ 957179 h 3980066"/>
                <a:gd name="connsiteX8298" fmla="*/ 4497157 w 8387961"/>
                <a:gd name="connsiteY8298" fmla="*/ 956105 h 3980066"/>
                <a:gd name="connsiteX8299" fmla="*/ 4493701 w 8387961"/>
                <a:gd name="connsiteY8299" fmla="*/ 963931 h 3980066"/>
                <a:gd name="connsiteX8300" fmla="*/ 4515503 w 8387961"/>
                <a:gd name="connsiteY8300" fmla="*/ 982500 h 3980066"/>
                <a:gd name="connsiteX8301" fmla="*/ 4535629 w 8387961"/>
                <a:gd name="connsiteY8301" fmla="*/ 982500 h 3980066"/>
                <a:gd name="connsiteX8302" fmla="*/ 4522212 w 8387961"/>
                <a:gd name="connsiteY8302" fmla="*/ 992629 h 3980066"/>
                <a:gd name="connsiteX8303" fmla="*/ 4505441 w 8387961"/>
                <a:gd name="connsiteY8303" fmla="*/ 994317 h 3980066"/>
                <a:gd name="connsiteX8304" fmla="*/ 4471898 w 8387961"/>
                <a:gd name="connsiteY8304" fmla="*/ 1007822 h 3980066"/>
                <a:gd name="connsiteX8305" fmla="*/ 4468544 w 8387961"/>
                <a:gd name="connsiteY8305" fmla="*/ 996005 h 3980066"/>
                <a:gd name="connsiteX8306" fmla="*/ 4458481 w 8387961"/>
                <a:gd name="connsiteY8306" fmla="*/ 985877 h 3980066"/>
                <a:gd name="connsiteX8307" fmla="*/ 4440033 w 8387961"/>
                <a:gd name="connsiteY8307" fmla="*/ 977436 h 3980066"/>
                <a:gd name="connsiteX8308" fmla="*/ 4463513 w 8387961"/>
                <a:gd name="connsiteY8308" fmla="*/ 962243 h 3980066"/>
                <a:gd name="connsiteX8309" fmla="*/ 4443387 w 8387961"/>
                <a:gd name="connsiteY8309" fmla="*/ 957179 h 3980066"/>
                <a:gd name="connsiteX8310" fmla="*/ 4423262 w 8387961"/>
                <a:gd name="connsiteY8310" fmla="*/ 952115 h 3980066"/>
                <a:gd name="connsiteX8311" fmla="*/ 4413199 w 8387961"/>
                <a:gd name="connsiteY8311" fmla="*/ 945362 h 3980066"/>
                <a:gd name="connsiteX8312" fmla="*/ 4438356 w 8387961"/>
                <a:gd name="connsiteY8312" fmla="*/ 943674 h 3980066"/>
                <a:gd name="connsiteX8313" fmla="*/ 4419908 w 8387961"/>
                <a:gd name="connsiteY8313" fmla="*/ 938610 h 3980066"/>
                <a:gd name="connsiteX8314" fmla="*/ 4414876 w 8387961"/>
                <a:gd name="connsiteY8314" fmla="*/ 928482 h 3980066"/>
                <a:gd name="connsiteX8315" fmla="*/ 4418231 w 8387961"/>
                <a:gd name="connsiteY8315" fmla="*/ 943674 h 3980066"/>
                <a:gd name="connsiteX8316" fmla="*/ 4411522 w 8387961"/>
                <a:gd name="connsiteY8316" fmla="*/ 938610 h 3980066"/>
                <a:gd name="connsiteX8317" fmla="*/ 4391397 w 8387961"/>
                <a:gd name="connsiteY8317" fmla="*/ 952115 h 3980066"/>
                <a:gd name="connsiteX8318" fmla="*/ 4389844 w 8387961"/>
                <a:gd name="connsiteY8318" fmla="*/ 950552 h 3980066"/>
                <a:gd name="connsiteX8319" fmla="*/ 4370877 w 8387961"/>
                <a:gd name="connsiteY8319" fmla="*/ 965855 h 3980066"/>
                <a:gd name="connsiteX8320" fmla="*/ 4372581 w 8387961"/>
                <a:gd name="connsiteY8320" fmla="*/ 980705 h 3980066"/>
                <a:gd name="connsiteX8321" fmla="*/ 4358949 w 8387961"/>
                <a:gd name="connsiteY8321" fmla="*/ 975755 h 3980066"/>
                <a:gd name="connsiteX8322" fmla="*/ 4340406 w 8387961"/>
                <a:gd name="connsiteY8322" fmla="*/ 975755 h 3980066"/>
                <a:gd name="connsiteX8323" fmla="*/ 4340803 w 8387961"/>
                <a:gd name="connsiteY8323" fmla="*/ 977127 h 3980066"/>
                <a:gd name="connsiteX8324" fmla="*/ 4361174 w 8387961"/>
                <a:gd name="connsiteY8324" fmla="*/ 977127 h 3980066"/>
                <a:gd name="connsiteX8325" fmla="*/ 4374755 w 8387961"/>
                <a:gd name="connsiteY8325" fmla="*/ 982155 h 3980066"/>
                <a:gd name="connsiteX8326" fmla="*/ 4374755 w 8387961"/>
                <a:gd name="connsiteY8326" fmla="*/ 990534 h 3980066"/>
                <a:gd name="connsiteX8327" fmla="*/ 4364569 w 8387961"/>
                <a:gd name="connsiteY8327" fmla="*/ 995562 h 3980066"/>
                <a:gd name="connsiteX8328" fmla="*/ 4362872 w 8387961"/>
                <a:gd name="connsiteY8328" fmla="*/ 993886 h 3980066"/>
                <a:gd name="connsiteX8329" fmla="*/ 4356081 w 8387961"/>
                <a:gd name="connsiteY8329" fmla="*/ 1003942 h 3980066"/>
                <a:gd name="connsiteX8330" fmla="*/ 4354488 w 8387961"/>
                <a:gd name="connsiteY8330" fmla="*/ 1024389 h 3980066"/>
                <a:gd name="connsiteX8331" fmla="*/ 4355171 w 8387961"/>
                <a:gd name="connsiteY8331" fmla="*/ 1024540 h 3980066"/>
                <a:gd name="connsiteX8332" fmla="*/ 4350021 w 8387961"/>
                <a:gd name="connsiteY8332" fmla="*/ 1034819 h 3980066"/>
                <a:gd name="connsiteX8333" fmla="*/ 4343154 w 8387961"/>
                <a:gd name="connsiteY8333" fmla="*/ 1053665 h 3980066"/>
                <a:gd name="connsiteX8334" fmla="*/ 4339721 w 8387961"/>
                <a:gd name="connsiteY8334" fmla="*/ 1065657 h 3980066"/>
                <a:gd name="connsiteX8335" fmla="*/ 4350021 w 8387961"/>
                <a:gd name="connsiteY8335" fmla="*/ 1077650 h 3980066"/>
                <a:gd name="connsiteX8336" fmla="*/ 4348886 w 8387961"/>
                <a:gd name="connsiteY8336" fmla="*/ 1077753 h 3980066"/>
                <a:gd name="connsiteX8337" fmla="*/ 4363229 w 8387961"/>
                <a:gd name="connsiteY8337" fmla="*/ 1096840 h 3980066"/>
                <a:gd name="connsiteX8338" fmla="*/ 4374755 w 8387961"/>
                <a:gd name="connsiteY8338" fmla="*/ 1105057 h 3980066"/>
                <a:gd name="connsiteX8339" fmla="*/ 4338529 w 8387961"/>
                <a:gd name="connsiteY8339" fmla="*/ 1111631 h 3980066"/>
                <a:gd name="connsiteX8340" fmla="*/ 4312184 w 8387961"/>
                <a:gd name="connsiteY8340" fmla="*/ 1131352 h 3980066"/>
                <a:gd name="connsiteX8341" fmla="*/ 4320417 w 8387961"/>
                <a:gd name="connsiteY8341" fmla="*/ 1116561 h 3980066"/>
                <a:gd name="connsiteX8342" fmla="*/ 4305501 w 8387961"/>
                <a:gd name="connsiteY8342" fmla="*/ 1115072 h 3980066"/>
                <a:gd name="connsiteX8343" fmla="*/ 4304365 w 8387961"/>
                <a:gd name="connsiteY8343" fmla="*/ 1117088 h 3980066"/>
                <a:gd name="connsiteX8344" fmla="*/ 4275660 w 8387961"/>
                <a:gd name="connsiteY8344" fmla="*/ 1112184 h 3980066"/>
                <a:gd name="connsiteX8345" fmla="*/ 4250331 w 8387961"/>
                <a:gd name="connsiteY8345" fmla="*/ 1118723 h 3980066"/>
                <a:gd name="connsiteX8346" fmla="*/ 4262151 w 8387961"/>
                <a:gd name="connsiteY8346" fmla="*/ 1131800 h 3980066"/>
                <a:gd name="connsiteX8347" fmla="*/ 4250331 w 8387961"/>
                <a:gd name="connsiteY8347" fmla="*/ 1133435 h 3980066"/>
                <a:gd name="connsiteX8348" fmla="*/ 4252020 w 8387961"/>
                <a:gd name="connsiteY8348" fmla="*/ 1136704 h 3980066"/>
                <a:gd name="connsiteX8349" fmla="*/ 4241889 w 8387961"/>
                <a:gd name="connsiteY8349" fmla="*/ 1135069 h 3980066"/>
                <a:gd name="connsiteX8350" fmla="*/ 4230069 w 8387961"/>
                <a:gd name="connsiteY8350" fmla="*/ 1123627 h 3980066"/>
                <a:gd name="connsiteX8351" fmla="*/ 4223314 w 8387961"/>
                <a:gd name="connsiteY8351" fmla="*/ 1126896 h 3980066"/>
                <a:gd name="connsiteX8352" fmla="*/ 4233446 w 8387961"/>
                <a:gd name="connsiteY8352" fmla="*/ 1153051 h 3980066"/>
                <a:gd name="connsiteX8353" fmla="*/ 4240200 w 8387961"/>
                <a:gd name="connsiteY8353" fmla="*/ 1164493 h 3980066"/>
                <a:gd name="connsiteX8354" fmla="*/ 4230069 w 8387961"/>
                <a:gd name="connsiteY8354" fmla="*/ 1161224 h 3980066"/>
                <a:gd name="connsiteX8355" fmla="*/ 4233446 w 8387961"/>
                <a:gd name="connsiteY8355" fmla="*/ 1171032 h 3980066"/>
                <a:gd name="connsiteX8356" fmla="*/ 4228380 w 8387961"/>
                <a:gd name="connsiteY8356" fmla="*/ 1172667 h 3980066"/>
                <a:gd name="connsiteX8357" fmla="*/ 4262151 w 8387961"/>
                <a:gd name="connsiteY8357" fmla="*/ 1193917 h 3980066"/>
                <a:gd name="connsiteX8358" fmla="*/ 4260463 w 8387961"/>
                <a:gd name="connsiteY8358" fmla="*/ 1203725 h 3980066"/>
                <a:gd name="connsiteX8359" fmla="*/ 4248643 w 8387961"/>
                <a:gd name="connsiteY8359" fmla="*/ 1197187 h 3980066"/>
                <a:gd name="connsiteX8360" fmla="*/ 4241889 w 8387961"/>
                <a:gd name="connsiteY8360" fmla="*/ 1202091 h 3980066"/>
                <a:gd name="connsiteX8361" fmla="*/ 4248643 w 8387961"/>
                <a:gd name="connsiteY8361" fmla="*/ 1213533 h 3980066"/>
                <a:gd name="connsiteX8362" fmla="*/ 4233446 w 8387961"/>
                <a:gd name="connsiteY8362" fmla="*/ 1213533 h 3980066"/>
                <a:gd name="connsiteX8363" fmla="*/ 4241889 w 8387961"/>
                <a:gd name="connsiteY8363" fmla="*/ 1241323 h 3980066"/>
                <a:gd name="connsiteX8364" fmla="*/ 4230069 w 8387961"/>
                <a:gd name="connsiteY8364" fmla="*/ 1234784 h 3980066"/>
                <a:gd name="connsiteX8365" fmla="*/ 4225003 w 8387961"/>
                <a:gd name="connsiteY8365" fmla="*/ 1241323 h 3980066"/>
                <a:gd name="connsiteX8366" fmla="*/ 4213183 w 8387961"/>
                <a:gd name="connsiteY8366" fmla="*/ 1226611 h 3980066"/>
                <a:gd name="connsiteX8367" fmla="*/ 4209806 w 8387961"/>
                <a:gd name="connsiteY8367" fmla="*/ 1233150 h 3980066"/>
                <a:gd name="connsiteX8368" fmla="*/ 4197986 w 8387961"/>
                <a:gd name="connsiteY8368" fmla="*/ 1206995 h 3980066"/>
                <a:gd name="connsiteX8369" fmla="*/ 4194609 w 8387961"/>
                <a:gd name="connsiteY8369" fmla="*/ 1195552 h 3980066"/>
                <a:gd name="connsiteX8370" fmla="*/ 4214872 w 8387961"/>
                <a:gd name="connsiteY8370" fmla="*/ 1190648 h 3980066"/>
                <a:gd name="connsiteX8371" fmla="*/ 4238512 w 8387961"/>
                <a:gd name="connsiteY8371" fmla="*/ 1195552 h 3980066"/>
                <a:gd name="connsiteX8372" fmla="*/ 4238512 w 8387961"/>
                <a:gd name="connsiteY8372" fmla="*/ 1190648 h 3980066"/>
                <a:gd name="connsiteX8373" fmla="*/ 4223314 w 8387961"/>
                <a:gd name="connsiteY8373" fmla="*/ 1184109 h 3980066"/>
                <a:gd name="connsiteX8374" fmla="*/ 4194609 w 8387961"/>
                <a:gd name="connsiteY8374" fmla="*/ 1182475 h 3980066"/>
                <a:gd name="connsiteX8375" fmla="*/ 4189543 w 8387961"/>
                <a:gd name="connsiteY8375" fmla="*/ 1184109 h 3980066"/>
                <a:gd name="connsiteX8376" fmla="*/ 4182789 w 8387961"/>
                <a:gd name="connsiteY8376" fmla="*/ 1171032 h 3980066"/>
                <a:gd name="connsiteX8377" fmla="*/ 4189543 w 8387961"/>
                <a:gd name="connsiteY8377" fmla="*/ 1167763 h 3980066"/>
                <a:gd name="connsiteX8378" fmla="*/ 4172658 w 8387961"/>
                <a:gd name="connsiteY8378" fmla="*/ 1161224 h 3980066"/>
                <a:gd name="connsiteX8379" fmla="*/ 4160838 w 8387961"/>
                <a:gd name="connsiteY8379" fmla="*/ 1146512 h 3980066"/>
                <a:gd name="connsiteX8380" fmla="*/ 4167592 w 8387961"/>
                <a:gd name="connsiteY8380" fmla="*/ 1138339 h 3980066"/>
                <a:gd name="connsiteX8381" fmla="*/ 4181100 w 8387961"/>
                <a:gd name="connsiteY8381" fmla="*/ 1115453 h 3980066"/>
                <a:gd name="connsiteX8382" fmla="*/ 4181100 w 8387961"/>
                <a:gd name="connsiteY8382" fmla="*/ 1113819 h 3980066"/>
                <a:gd name="connsiteX8383" fmla="*/ 4225003 w 8387961"/>
                <a:gd name="connsiteY8383" fmla="*/ 1099107 h 3980066"/>
                <a:gd name="connsiteX8384" fmla="*/ 4252020 w 8387961"/>
                <a:gd name="connsiteY8384" fmla="*/ 1095837 h 3980066"/>
                <a:gd name="connsiteX8385" fmla="*/ 4294234 w 8387961"/>
                <a:gd name="connsiteY8385" fmla="*/ 1099107 h 3980066"/>
                <a:gd name="connsiteX8386" fmla="*/ 4304365 w 8387961"/>
                <a:gd name="connsiteY8386" fmla="*/ 1092568 h 3980066"/>
                <a:gd name="connsiteX8387" fmla="*/ 4309431 w 8387961"/>
                <a:gd name="connsiteY8387" fmla="*/ 1087664 h 3980066"/>
                <a:gd name="connsiteX8388" fmla="*/ 4313644 w 8387961"/>
                <a:gd name="connsiteY8388" fmla="*/ 1097181 h 3980066"/>
                <a:gd name="connsiteX8389" fmla="*/ 4313830 w 8387961"/>
                <a:gd name="connsiteY8389" fmla="*/ 1096840 h 3980066"/>
                <a:gd name="connsiteX8390" fmla="*/ 4309094 w 8387961"/>
                <a:gd name="connsiteY8390" fmla="*/ 1085808 h 3980066"/>
                <a:gd name="connsiteX8391" fmla="*/ 4308821 w 8387961"/>
                <a:gd name="connsiteY8391" fmla="*/ 1086216 h 3980066"/>
                <a:gd name="connsiteX8392" fmla="*/ 4303671 w 8387961"/>
                <a:gd name="connsiteY8392" fmla="*/ 1091356 h 3980066"/>
                <a:gd name="connsiteX8393" fmla="*/ 4293371 w 8387961"/>
                <a:gd name="connsiteY8393" fmla="*/ 1098209 h 3980066"/>
                <a:gd name="connsiteX8394" fmla="*/ 4250454 w 8387961"/>
                <a:gd name="connsiteY8394" fmla="*/ 1094782 h 3980066"/>
                <a:gd name="connsiteX8395" fmla="*/ 4222988 w 8387961"/>
                <a:gd name="connsiteY8395" fmla="*/ 1098209 h 3980066"/>
                <a:gd name="connsiteX8396" fmla="*/ 4222896 w 8387961"/>
                <a:gd name="connsiteY8396" fmla="*/ 1097611 h 3980066"/>
                <a:gd name="connsiteX8397" fmla="*/ 4180589 w 8387961"/>
                <a:gd name="connsiteY8397" fmla="*/ 1111767 h 3980066"/>
                <a:gd name="connsiteX8398" fmla="*/ 4163851 w 8387961"/>
                <a:gd name="connsiteY8398" fmla="*/ 1082642 h 3980066"/>
                <a:gd name="connsiteX8399" fmla="*/ 4168872 w 8387961"/>
                <a:gd name="connsiteY8399" fmla="*/ 1081024 h 3980066"/>
                <a:gd name="connsiteX8400" fmla="*/ 4168872 w 8387961"/>
                <a:gd name="connsiteY8400" fmla="*/ 1080175 h 3980066"/>
                <a:gd name="connsiteX8401" fmla="*/ 4164487 w 8387961"/>
                <a:gd name="connsiteY8401" fmla="*/ 1081638 h 3980066"/>
                <a:gd name="connsiteX8402" fmla="*/ 4157990 w 8387961"/>
                <a:gd name="connsiteY8402" fmla="*/ 1065384 h 3980066"/>
                <a:gd name="connsiteX8403" fmla="*/ 4156348 w 8387961"/>
                <a:gd name="connsiteY8403" fmla="*/ 1065019 h 3980066"/>
                <a:gd name="connsiteX8404" fmla="*/ 4162947 w 8387961"/>
                <a:gd name="connsiteY8404" fmla="*/ 1081517 h 3980066"/>
                <a:gd name="connsiteX8405" fmla="*/ 4180422 w 8387961"/>
                <a:gd name="connsiteY8405" fmla="*/ 1112972 h 3980066"/>
                <a:gd name="connsiteX8406" fmla="*/ 4180422 w 8387961"/>
                <a:gd name="connsiteY8406" fmla="*/ 1114719 h 3980066"/>
                <a:gd name="connsiteX8407" fmla="*/ 4166442 w 8387961"/>
                <a:gd name="connsiteY8407" fmla="*/ 1139184 h 3980066"/>
                <a:gd name="connsiteX8408" fmla="*/ 4159452 w 8387961"/>
                <a:gd name="connsiteY8408" fmla="*/ 1147922 h 3980066"/>
                <a:gd name="connsiteX8409" fmla="*/ 4140230 w 8387961"/>
                <a:gd name="connsiteY8409" fmla="*/ 1123457 h 3980066"/>
                <a:gd name="connsiteX8410" fmla="*/ 4136735 w 8387961"/>
                <a:gd name="connsiteY8410" fmla="*/ 1081517 h 3980066"/>
                <a:gd name="connsiteX8411" fmla="*/ 4137131 w 8387961"/>
                <a:gd name="connsiteY8411" fmla="*/ 1079141 h 3980066"/>
                <a:gd name="connsiteX8412" fmla="*/ 4130379 w 8387961"/>
                <a:gd name="connsiteY8412" fmla="*/ 1073511 h 3980066"/>
                <a:gd name="connsiteX8413" fmla="*/ 4114138 w 8387961"/>
                <a:gd name="connsiteY8413" fmla="*/ 1065384 h 3980066"/>
                <a:gd name="connsiteX8414" fmla="*/ 4114138 w 8387961"/>
                <a:gd name="connsiteY8414" fmla="*/ 1062133 h 3980066"/>
                <a:gd name="connsiteX8415" fmla="*/ 4114138 w 8387961"/>
                <a:gd name="connsiteY8415" fmla="*/ 1060508 h 3980066"/>
                <a:gd name="connsiteX8416" fmla="*/ 4120634 w 8387961"/>
                <a:gd name="connsiteY8416" fmla="*/ 1057257 h 3980066"/>
                <a:gd name="connsiteX8417" fmla="*/ 4114138 w 8387961"/>
                <a:gd name="connsiteY8417" fmla="*/ 1050755 h 3980066"/>
                <a:gd name="connsiteX8418" fmla="*/ 4119010 w 8387961"/>
                <a:gd name="connsiteY8418" fmla="*/ 1047505 h 3980066"/>
                <a:gd name="connsiteX8419" fmla="*/ 4123657 w 8387961"/>
                <a:gd name="connsiteY8419" fmla="*/ 1041305 h 3980066"/>
                <a:gd name="connsiteX8420" fmla="*/ 4120348 w 8387961"/>
                <a:gd name="connsiteY8420" fmla="*/ 1040162 h 3980066"/>
                <a:gd name="connsiteX8421" fmla="*/ 4115432 w 8387961"/>
                <a:gd name="connsiteY8421" fmla="*/ 1046957 h 3980066"/>
                <a:gd name="connsiteX8422" fmla="*/ 4110516 w 8387961"/>
                <a:gd name="connsiteY8422" fmla="*/ 1050354 h 3980066"/>
                <a:gd name="connsiteX8423" fmla="*/ 4117071 w 8387961"/>
                <a:gd name="connsiteY8423" fmla="*/ 1057149 h 3980066"/>
                <a:gd name="connsiteX8424" fmla="*/ 4111622 w 8387961"/>
                <a:gd name="connsiteY8424" fmla="*/ 1059974 h 3980066"/>
                <a:gd name="connsiteX8425" fmla="*/ 4114137 w 8387961"/>
                <a:gd name="connsiteY8425" fmla="*/ 1062556 h 3980066"/>
                <a:gd name="connsiteX8426" fmla="*/ 4114137 w 8387961"/>
                <a:gd name="connsiteY8426" fmla="*/ 1064397 h 3980066"/>
                <a:gd name="connsiteX8427" fmla="*/ 4114137 w 8387961"/>
                <a:gd name="connsiteY8427" fmla="*/ 1068080 h 3980066"/>
                <a:gd name="connsiteX8428" fmla="*/ 4076476 w 8387961"/>
                <a:gd name="connsiteY8428" fmla="*/ 1051509 h 3980066"/>
                <a:gd name="connsiteX8429" fmla="*/ 4092616 w 8387961"/>
                <a:gd name="connsiteY8429" fmla="*/ 1053350 h 3980066"/>
                <a:gd name="connsiteX8430" fmla="*/ 4094410 w 8387961"/>
                <a:gd name="connsiteY8430" fmla="*/ 1051509 h 3980066"/>
                <a:gd name="connsiteX8431" fmla="*/ 4101583 w 8387961"/>
                <a:gd name="connsiteY8431" fmla="*/ 1055191 h 3980066"/>
                <a:gd name="connsiteX8432" fmla="*/ 4107822 w 8387961"/>
                <a:gd name="connsiteY8432" fmla="*/ 1057754 h 3980066"/>
                <a:gd name="connsiteX8433" fmla="*/ 4107239 w 8387961"/>
                <a:gd name="connsiteY8433" fmla="*/ 1057149 h 3980066"/>
                <a:gd name="connsiteX8434" fmla="*/ 4099046 w 8387961"/>
                <a:gd name="connsiteY8434" fmla="*/ 1053752 h 3980066"/>
                <a:gd name="connsiteX8435" fmla="*/ 4093929 w 8387961"/>
                <a:gd name="connsiteY8435" fmla="*/ 1051100 h 3980066"/>
                <a:gd name="connsiteX8436" fmla="*/ 4093929 w 8387961"/>
                <a:gd name="connsiteY8436" fmla="*/ 1051509 h 3980066"/>
                <a:gd name="connsiteX8437" fmla="*/ 4092257 w 8387961"/>
                <a:gd name="connsiteY8437" fmla="*/ 1051509 h 3980066"/>
                <a:gd name="connsiteX8438" fmla="*/ 4088914 w 8387961"/>
                <a:gd name="connsiteY8438" fmla="*/ 1051509 h 3980066"/>
                <a:gd name="connsiteX8439" fmla="*/ 4058821 w 8387961"/>
                <a:gd name="connsiteY8439" fmla="*/ 1034358 h 3980066"/>
                <a:gd name="connsiteX8440" fmla="*/ 4037088 w 8387961"/>
                <a:gd name="connsiteY8440" fmla="*/ 1020638 h 3980066"/>
                <a:gd name="connsiteX8441" fmla="*/ 4028729 w 8387961"/>
                <a:gd name="connsiteY8441" fmla="*/ 1012063 h 3980066"/>
                <a:gd name="connsiteX8442" fmla="*/ 4010339 w 8387961"/>
                <a:gd name="connsiteY8442" fmla="*/ 982907 h 3980066"/>
                <a:gd name="connsiteX8443" fmla="*/ 4003652 w 8387961"/>
                <a:gd name="connsiteY8443" fmla="*/ 989767 h 3980066"/>
                <a:gd name="connsiteX8444" fmla="*/ 3998636 w 8387961"/>
                <a:gd name="connsiteY8444" fmla="*/ 981192 h 3980066"/>
                <a:gd name="connsiteX8445" fmla="*/ 3996606 w 8387961"/>
                <a:gd name="connsiteY8445" fmla="*/ 977027 h 3980066"/>
                <a:gd name="connsiteX8446" fmla="*/ 3991146 w 8387961"/>
                <a:gd name="connsiteY8446" fmla="*/ 974197 h 3980066"/>
                <a:gd name="connsiteX8447" fmla="*/ 3990126 w 8387961"/>
                <a:gd name="connsiteY8447" fmla="*/ 970317 h 3980066"/>
                <a:gd name="connsiteX8448" fmla="*/ 3979756 w 8387961"/>
                <a:gd name="connsiteY8448" fmla="*/ 966361 h 3980066"/>
                <a:gd name="connsiteX8449" fmla="*/ 3959892 w 8387961"/>
                <a:gd name="connsiteY8449" fmla="*/ 981519 h 3980066"/>
                <a:gd name="connsiteX8450" fmla="*/ 3963203 w 8387961"/>
                <a:gd name="connsiteY8450" fmla="*/ 994993 h 3980066"/>
                <a:gd name="connsiteX8451" fmla="*/ 3969749 w 8387961"/>
                <a:gd name="connsiteY8451" fmla="*/ 1014974 h 3980066"/>
                <a:gd name="connsiteX8452" fmla="*/ 3971480 w 8387961"/>
                <a:gd name="connsiteY8452" fmla="*/ 1020257 h 3980066"/>
                <a:gd name="connsiteX8453" fmla="*/ 3996310 w 8387961"/>
                <a:gd name="connsiteY8453" fmla="*/ 1033731 h 3980066"/>
                <a:gd name="connsiteX8454" fmla="*/ 4007897 w 8387961"/>
                <a:gd name="connsiteY8454" fmla="*/ 1052257 h 3980066"/>
                <a:gd name="connsiteX8455" fmla="*/ 4019485 w 8387961"/>
                <a:gd name="connsiteY8455" fmla="*/ 1072468 h 3980066"/>
                <a:gd name="connsiteX8456" fmla="*/ 4050937 w 8387961"/>
                <a:gd name="connsiteY8456" fmla="*/ 1080889 h 3980066"/>
                <a:gd name="connsiteX8457" fmla="*/ 4059213 w 8387961"/>
                <a:gd name="connsiteY8457" fmla="*/ 1084258 h 3980066"/>
                <a:gd name="connsiteX8458" fmla="*/ 4055903 w 8387961"/>
                <a:gd name="connsiteY8458" fmla="*/ 1094363 h 3980066"/>
                <a:gd name="connsiteX8459" fmla="*/ 4087354 w 8387961"/>
                <a:gd name="connsiteY8459" fmla="*/ 1112890 h 3980066"/>
                <a:gd name="connsiteX8460" fmla="*/ 4117151 w 8387961"/>
                <a:gd name="connsiteY8460" fmla="*/ 1128048 h 3980066"/>
                <a:gd name="connsiteX8461" fmla="*/ 4112185 w 8387961"/>
                <a:gd name="connsiteY8461" fmla="*/ 1143206 h 3980066"/>
                <a:gd name="connsiteX8462" fmla="*/ 4095631 w 8387961"/>
                <a:gd name="connsiteY8462" fmla="*/ 1128048 h 3980066"/>
                <a:gd name="connsiteX8463" fmla="*/ 4080733 w 8387961"/>
                <a:gd name="connsiteY8463" fmla="*/ 1124680 h 3980066"/>
                <a:gd name="connsiteX8464" fmla="*/ 4075767 w 8387961"/>
                <a:gd name="connsiteY8464" fmla="*/ 1148259 h 3980066"/>
                <a:gd name="connsiteX8465" fmla="*/ 4089010 w 8387961"/>
                <a:gd name="connsiteY8465" fmla="*/ 1163417 h 3980066"/>
                <a:gd name="connsiteX8466" fmla="*/ 4085699 w 8387961"/>
                <a:gd name="connsiteY8466" fmla="*/ 1168470 h 3980066"/>
                <a:gd name="connsiteX8467" fmla="*/ 4075767 w 8387961"/>
                <a:gd name="connsiteY8467" fmla="*/ 1181944 h 3980066"/>
                <a:gd name="connsiteX8468" fmla="*/ 4065835 w 8387961"/>
                <a:gd name="connsiteY8468" fmla="*/ 1202155 h 3980066"/>
                <a:gd name="connsiteX8469" fmla="*/ 4052592 w 8387961"/>
                <a:gd name="connsiteY8469" fmla="*/ 1193734 h 3980066"/>
                <a:gd name="connsiteX8470" fmla="*/ 4062524 w 8387961"/>
                <a:gd name="connsiteY8470" fmla="*/ 1166786 h 3980066"/>
                <a:gd name="connsiteX8471" fmla="*/ 4047626 w 8387961"/>
                <a:gd name="connsiteY8471" fmla="*/ 1136469 h 3980066"/>
                <a:gd name="connsiteX8472" fmla="*/ 4036038 w 8387961"/>
                <a:gd name="connsiteY8472" fmla="*/ 1126364 h 3980066"/>
                <a:gd name="connsiteX8473" fmla="*/ 4021140 w 8387961"/>
                <a:gd name="connsiteY8473" fmla="*/ 1117943 h 3980066"/>
                <a:gd name="connsiteX8474" fmla="*/ 3991344 w 8387961"/>
                <a:gd name="connsiteY8474" fmla="*/ 1097732 h 3980066"/>
                <a:gd name="connsiteX8475" fmla="*/ 3973135 w 8387961"/>
                <a:gd name="connsiteY8475" fmla="*/ 1090995 h 3980066"/>
                <a:gd name="connsiteX8476" fmla="*/ 3971480 w 8387961"/>
                <a:gd name="connsiteY8476" fmla="*/ 1090995 h 3980066"/>
                <a:gd name="connsiteX8477" fmla="*/ 3966513 w 8387961"/>
                <a:gd name="connsiteY8477" fmla="*/ 1085942 h 3980066"/>
                <a:gd name="connsiteX8478" fmla="*/ 3943339 w 8387961"/>
                <a:gd name="connsiteY8478" fmla="*/ 1065731 h 3980066"/>
                <a:gd name="connsiteX8479" fmla="*/ 3921819 w 8387961"/>
                <a:gd name="connsiteY8479" fmla="*/ 1045520 h 3980066"/>
                <a:gd name="connsiteX8480" fmla="*/ 3903610 w 8387961"/>
                <a:gd name="connsiteY8480" fmla="*/ 1015204 h 3980066"/>
                <a:gd name="connsiteX8481" fmla="*/ 3872158 w 8387961"/>
                <a:gd name="connsiteY8481" fmla="*/ 1010151 h 3980066"/>
                <a:gd name="connsiteX8482" fmla="*/ 3850639 w 8387961"/>
                <a:gd name="connsiteY8482" fmla="*/ 1025309 h 3980066"/>
                <a:gd name="connsiteX8483" fmla="*/ 3850639 w 8387961"/>
                <a:gd name="connsiteY8483" fmla="*/ 1013520 h 3980066"/>
                <a:gd name="connsiteX8484" fmla="*/ 3834085 w 8387961"/>
                <a:gd name="connsiteY8484" fmla="*/ 1003414 h 3980066"/>
                <a:gd name="connsiteX8485" fmla="*/ 3832430 w 8387961"/>
                <a:gd name="connsiteY8485" fmla="*/ 993309 h 3980066"/>
                <a:gd name="connsiteX8486" fmla="*/ 3832430 w 8387961"/>
                <a:gd name="connsiteY8486" fmla="*/ 984888 h 3980066"/>
                <a:gd name="connsiteX8487" fmla="*/ 3837396 w 8387961"/>
                <a:gd name="connsiteY8487" fmla="*/ 973098 h 3980066"/>
                <a:gd name="connsiteX8488" fmla="*/ 3837396 w 8387961"/>
                <a:gd name="connsiteY8488" fmla="*/ 961308 h 3980066"/>
                <a:gd name="connsiteX8489" fmla="*/ 3850639 w 8387961"/>
                <a:gd name="connsiteY8489" fmla="*/ 959624 h 3980066"/>
                <a:gd name="connsiteX8490" fmla="*/ 3863760 w 8387961"/>
                <a:gd name="connsiteY8490" fmla="*/ 949611 h 3980066"/>
                <a:gd name="connsiteX8491" fmla="*/ 3863142 w 8387961"/>
                <a:gd name="connsiteY8491" fmla="*/ 949171 h 3980066"/>
                <a:gd name="connsiteX8492" fmla="*/ 3849730 w 8387961"/>
                <a:gd name="connsiteY8492" fmla="*/ 959415 h 3980066"/>
                <a:gd name="connsiteX8493" fmla="*/ 3836317 w 8387961"/>
                <a:gd name="connsiteY8493" fmla="*/ 961122 h 3980066"/>
                <a:gd name="connsiteX8494" fmla="*/ 3821228 w 8387961"/>
                <a:gd name="connsiteY8494" fmla="*/ 944049 h 3980066"/>
                <a:gd name="connsiteX8495" fmla="*/ 3812846 w 8387961"/>
                <a:gd name="connsiteY8495" fmla="*/ 950878 h 3980066"/>
                <a:gd name="connsiteX8496" fmla="*/ 3832282 w 8387961"/>
                <a:gd name="connsiteY8496" fmla="*/ 921189 h 3980066"/>
                <a:gd name="connsiteX8497" fmla="*/ 3831537 w 8387961"/>
                <a:gd name="connsiteY8497" fmla="*/ 921753 h 3980066"/>
                <a:gd name="connsiteX8498" fmla="*/ 3811541 w 8387961"/>
                <a:gd name="connsiteY8498" fmla="*/ 952102 h 3980066"/>
                <a:gd name="connsiteX8499" fmla="*/ 3819873 w 8387961"/>
                <a:gd name="connsiteY8499" fmla="*/ 945358 h 3980066"/>
                <a:gd name="connsiteX8500" fmla="*/ 3834870 w 8387961"/>
                <a:gd name="connsiteY8500" fmla="*/ 962218 h 3980066"/>
                <a:gd name="connsiteX8501" fmla="*/ 3834870 w 8387961"/>
                <a:gd name="connsiteY8501" fmla="*/ 974021 h 3980066"/>
                <a:gd name="connsiteX8502" fmla="*/ 3829871 w 8387961"/>
                <a:gd name="connsiteY8502" fmla="*/ 985823 h 3980066"/>
                <a:gd name="connsiteX8503" fmla="*/ 3829871 w 8387961"/>
                <a:gd name="connsiteY8503" fmla="*/ 994253 h 3980066"/>
                <a:gd name="connsiteX8504" fmla="*/ 3831537 w 8387961"/>
                <a:gd name="connsiteY8504" fmla="*/ 1004369 h 3980066"/>
                <a:gd name="connsiteX8505" fmla="*/ 3848201 w 8387961"/>
                <a:gd name="connsiteY8505" fmla="*/ 1014486 h 3980066"/>
                <a:gd name="connsiteX8506" fmla="*/ 3848201 w 8387961"/>
                <a:gd name="connsiteY8506" fmla="*/ 1026288 h 3980066"/>
                <a:gd name="connsiteX8507" fmla="*/ 3846535 w 8387961"/>
                <a:gd name="connsiteY8507" fmla="*/ 1026288 h 3980066"/>
                <a:gd name="connsiteX8508" fmla="*/ 3844868 w 8387961"/>
                <a:gd name="connsiteY8508" fmla="*/ 1026288 h 3980066"/>
                <a:gd name="connsiteX8509" fmla="*/ 3819873 w 8387961"/>
                <a:gd name="connsiteY8509" fmla="*/ 1046520 h 3980066"/>
                <a:gd name="connsiteX8510" fmla="*/ 3789878 w 8387961"/>
                <a:gd name="connsiteY8510" fmla="*/ 1036404 h 3980066"/>
                <a:gd name="connsiteX8511" fmla="*/ 3781546 w 8387961"/>
                <a:gd name="connsiteY8511" fmla="*/ 1034718 h 3980066"/>
                <a:gd name="connsiteX8512" fmla="*/ 3778214 w 8387961"/>
                <a:gd name="connsiteY8512" fmla="*/ 1036404 h 3980066"/>
                <a:gd name="connsiteX8513" fmla="*/ 3758217 w 8387961"/>
                <a:gd name="connsiteY8513" fmla="*/ 1036404 h 3980066"/>
                <a:gd name="connsiteX8514" fmla="*/ 3744886 w 8387961"/>
                <a:gd name="connsiteY8514" fmla="*/ 1046520 h 3980066"/>
                <a:gd name="connsiteX8515" fmla="*/ 3746553 w 8387961"/>
                <a:gd name="connsiteY8515" fmla="*/ 1065067 h 3980066"/>
                <a:gd name="connsiteX8516" fmla="*/ 3709893 w 8387961"/>
                <a:gd name="connsiteY8516" fmla="*/ 1065067 h 3980066"/>
                <a:gd name="connsiteX8517" fmla="*/ 3709995 w 8387961"/>
                <a:gd name="connsiteY8517" fmla="*/ 1064860 h 3980066"/>
                <a:gd name="connsiteX8518" fmla="*/ 3705887 w 8387961"/>
                <a:gd name="connsiteY8518" fmla="*/ 1062806 h 3980066"/>
                <a:gd name="connsiteX8519" fmla="*/ 3705887 w 8387961"/>
                <a:gd name="connsiteY8519" fmla="*/ 1061695 h 3980066"/>
                <a:gd name="connsiteX8520" fmla="*/ 3704894 w 8387961"/>
                <a:gd name="connsiteY8520" fmla="*/ 1061695 h 3980066"/>
                <a:gd name="connsiteX8521" fmla="*/ 3638239 w 8387961"/>
                <a:gd name="connsiteY8521" fmla="*/ 1046520 h 3980066"/>
                <a:gd name="connsiteX8522" fmla="*/ 3626575 w 8387961"/>
                <a:gd name="connsiteY8522" fmla="*/ 1036404 h 3980066"/>
                <a:gd name="connsiteX8523" fmla="*/ 3636573 w 8387961"/>
                <a:gd name="connsiteY8523" fmla="*/ 1022916 h 3980066"/>
                <a:gd name="connsiteX8524" fmla="*/ 3638239 w 8387961"/>
                <a:gd name="connsiteY8524" fmla="*/ 997625 h 3980066"/>
                <a:gd name="connsiteX8525" fmla="*/ 3641572 w 8387961"/>
                <a:gd name="connsiteY8525" fmla="*/ 975707 h 3980066"/>
                <a:gd name="connsiteX8526" fmla="*/ 3651570 w 8387961"/>
                <a:gd name="connsiteY8526" fmla="*/ 987509 h 3980066"/>
                <a:gd name="connsiteX8527" fmla="*/ 3641572 w 8387961"/>
                <a:gd name="connsiteY8527" fmla="*/ 965591 h 3980066"/>
                <a:gd name="connsiteX8528" fmla="*/ 3641572 w 8387961"/>
                <a:gd name="connsiteY8528" fmla="*/ 957160 h 3980066"/>
                <a:gd name="connsiteX8529" fmla="*/ 3629907 w 8387961"/>
                <a:gd name="connsiteY8529" fmla="*/ 947044 h 3980066"/>
                <a:gd name="connsiteX8530" fmla="*/ 3619909 w 8387961"/>
                <a:gd name="connsiteY8530" fmla="*/ 926812 h 3980066"/>
                <a:gd name="connsiteX8531" fmla="*/ 3621576 w 8387961"/>
                <a:gd name="connsiteY8531" fmla="*/ 921753 h 3980066"/>
                <a:gd name="connsiteX8532" fmla="*/ 3609911 w 8387961"/>
                <a:gd name="connsiteY8532" fmla="*/ 916695 h 3980066"/>
                <a:gd name="connsiteX8533" fmla="*/ 3596580 w 8387961"/>
                <a:gd name="connsiteY8533" fmla="*/ 913323 h 3980066"/>
                <a:gd name="connsiteX8534" fmla="*/ 3576584 w 8387961"/>
                <a:gd name="connsiteY8534" fmla="*/ 904893 h 3980066"/>
                <a:gd name="connsiteX8535" fmla="*/ 3561586 w 8387961"/>
                <a:gd name="connsiteY8535" fmla="*/ 901521 h 3980066"/>
                <a:gd name="connsiteX8536" fmla="*/ 3566586 w 8387961"/>
                <a:gd name="connsiteY8536" fmla="*/ 893091 h 3980066"/>
                <a:gd name="connsiteX8537" fmla="*/ 3568252 w 8387961"/>
                <a:gd name="connsiteY8537" fmla="*/ 891405 h 3980066"/>
                <a:gd name="connsiteX8538" fmla="*/ 3558254 w 8387961"/>
                <a:gd name="connsiteY8538" fmla="*/ 889719 h 3980066"/>
                <a:gd name="connsiteX8539" fmla="*/ 3586582 w 8387961"/>
                <a:gd name="connsiteY8539" fmla="*/ 879603 h 3980066"/>
                <a:gd name="connsiteX8540" fmla="*/ 3604912 w 8387961"/>
                <a:gd name="connsiteY8540" fmla="*/ 881289 h 3980066"/>
                <a:gd name="connsiteX8541" fmla="*/ 3631574 w 8387961"/>
                <a:gd name="connsiteY8541" fmla="*/ 882975 h 3980066"/>
                <a:gd name="connsiteX8542" fmla="*/ 3626575 w 8387961"/>
                <a:gd name="connsiteY8542" fmla="*/ 854312 h 3980066"/>
                <a:gd name="connsiteX8543" fmla="*/ 3634906 w 8387961"/>
                <a:gd name="connsiteY8543" fmla="*/ 850940 h 3980066"/>
                <a:gd name="connsiteX8544" fmla="*/ 3641572 w 8387961"/>
                <a:gd name="connsiteY8544" fmla="*/ 859370 h 3980066"/>
                <a:gd name="connsiteX8545" fmla="*/ 3678232 w 8387961"/>
                <a:gd name="connsiteY8545" fmla="*/ 859370 h 3980066"/>
                <a:gd name="connsiteX8546" fmla="*/ 3669900 w 8387961"/>
                <a:gd name="connsiteY8546" fmla="*/ 855998 h 3980066"/>
                <a:gd name="connsiteX8547" fmla="*/ 3701561 w 8387961"/>
                <a:gd name="connsiteY8547" fmla="*/ 839138 h 3980066"/>
                <a:gd name="connsiteX8548" fmla="*/ 3704894 w 8387961"/>
                <a:gd name="connsiteY8548" fmla="*/ 818905 h 3980066"/>
                <a:gd name="connsiteX8549" fmla="*/ 3726556 w 8387961"/>
                <a:gd name="connsiteY8549" fmla="*/ 810475 h 3980066"/>
                <a:gd name="connsiteX8550" fmla="*/ 3727048 w 8387961"/>
                <a:gd name="connsiteY8550" fmla="*/ 810972 h 3980066"/>
                <a:gd name="connsiteX8551" fmla="*/ 3744693 w 8387961"/>
                <a:gd name="connsiteY8551" fmla="*/ 802943 h 3980066"/>
                <a:gd name="connsiteX8552" fmla="*/ 3765663 w 8387961"/>
                <a:gd name="connsiteY8552" fmla="*/ 802943 h 3980066"/>
                <a:gd name="connsiteX8553" fmla="*/ 3796771 w 8387961"/>
                <a:gd name="connsiteY8553" fmla="*/ 804673 h 3980066"/>
                <a:gd name="connsiteX8554" fmla="*/ 3796452 w 8387961"/>
                <a:gd name="connsiteY8554" fmla="*/ 803794 h 3980066"/>
                <a:gd name="connsiteX8555" fmla="*/ 3765614 w 8387961"/>
                <a:gd name="connsiteY8555" fmla="*/ 802222 h 3980066"/>
                <a:gd name="connsiteX8556" fmla="*/ 3745055 w 8387961"/>
                <a:gd name="connsiteY8556" fmla="*/ 802222 h 3980066"/>
                <a:gd name="connsiteX8557" fmla="*/ 3751908 w 8387961"/>
                <a:gd name="connsiteY8557" fmla="*/ 792791 h 3980066"/>
                <a:gd name="connsiteX8558" fmla="*/ 3772467 w 8387961"/>
                <a:gd name="connsiteY8558" fmla="*/ 764495 h 3980066"/>
                <a:gd name="connsiteX8559" fmla="*/ 3803305 w 8387961"/>
                <a:gd name="connsiteY8559" fmla="*/ 747204 h 3980066"/>
                <a:gd name="connsiteX8560" fmla="*/ 3827056 w 8387961"/>
                <a:gd name="connsiteY8560" fmla="*/ 751050 h 3980066"/>
                <a:gd name="connsiteX8561" fmla="*/ 3828865 w 8387961"/>
                <a:gd name="connsiteY8561" fmla="*/ 748020 h 3980066"/>
                <a:gd name="connsiteX8562" fmla="*/ 3825500 w 8387961"/>
                <a:gd name="connsiteY8562" fmla="*/ 744640 h 3980066"/>
                <a:gd name="connsiteX8563" fmla="*/ 3828865 w 8387961"/>
                <a:gd name="connsiteY8563" fmla="*/ 734498 h 3980066"/>
                <a:gd name="connsiteX8564" fmla="*/ 3854098 w 8387961"/>
                <a:gd name="connsiteY8564" fmla="*/ 739568 h 3980066"/>
                <a:gd name="connsiteX8565" fmla="*/ 3857462 w 8387961"/>
                <a:gd name="connsiteY8565" fmla="*/ 741259 h 3980066"/>
                <a:gd name="connsiteX8566" fmla="*/ 3857462 w 8387961"/>
                <a:gd name="connsiteY8566" fmla="*/ 734498 h 3980066"/>
                <a:gd name="connsiteX8567" fmla="*/ 3865873 w 8387961"/>
                <a:gd name="connsiteY8567" fmla="*/ 731117 h 3980066"/>
                <a:gd name="connsiteX8568" fmla="*/ 3881013 w 8387961"/>
                <a:gd name="connsiteY8568" fmla="*/ 737879 h 3980066"/>
                <a:gd name="connsiteX8569" fmla="*/ 3874284 w 8387961"/>
                <a:gd name="connsiteY8569" fmla="*/ 729426 h 3980066"/>
                <a:gd name="connsiteX8570" fmla="*/ 3865873 w 8387961"/>
                <a:gd name="connsiteY8570" fmla="*/ 717592 h 3980066"/>
                <a:gd name="connsiteX8571" fmla="*/ 3864191 w 8387961"/>
                <a:gd name="connsiteY8571" fmla="*/ 714212 h 3980066"/>
                <a:gd name="connsiteX8572" fmla="*/ 3859144 w 8387961"/>
                <a:gd name="connsiteY8572" fmla="*/ 698997 h 3980066"/>
                <a:gd name="connsiteX8573" fmla="*/ 3859178 w 8387961"/>
                <a:gd name="connsiteY8573" fmla="*/ 699004 h 3980066"/>
                <a:gd name="connsiteX8574" fmla="*/ 3858623 w 8387961"/>
                <a:gd name="connsiteY8574" fmla="*/ 698161 h 3980066"/>
                <a:gd name="connsiteX8575" fmla="*/ 3852014 w 8387961"/>
                <a:gd name="connsiteY8575" fmla="*/ 684770 h 3980066"/>
                <a:gd name="connsiteX8576" fmla="*/ 3852014 w 8387961"/>
                <a:gd name="connsiteY8576" fmla="*/ 656315 h 3980066"/>
                <a:gd name="connsiteX8577" fmla="*/ 3863580 w 8387961"/>
                <a:gd name="connsiteY8577" fmla="*/ 654641 h 3980066"/>
                <a:gd name="connsiteX8578" fmla="*/ 3868536 w 8387961"/>
                <a:gd name="connsiteY8578" fmla="*/ 656315 h 3980066"/>
                <a:gd name="connsiteX8579" fmla="*/ 3870189 w 8387961"/>
                <a:gd name="connsiteY8579" fmla="*/ 651293 h 3980066"/>
                <a:gd name="connsiteX8580" fmla="*/ 3886711 w 8387961"/>
                <a:gd name="connsiteY8580" fmla="*/ 646272 h 3980066"/>
                <a:gd name="connsiteX8581" fmla="*/ 3891668 w 8387961"/>
                <a:gd name="connsiteY8581" fmla="*/ 656315 h 3980066"/>
                <a:gd name="connsiteX8582" fmla="*/ 3903234 w 8387961"/>
                <a:gd name="connsiteY8582" fmla="*/ 657989 h 3980066"/>
                <a:gd name="connsiteX8583" fmla="*/ 3899929 w 8387961"/>
                <a:gd name="connsiteY8583" fmla="*/ 668031 h 3980066"/>
                <a:gd name="connsiteX8584" fmla="*/ 3883407 w 8387961"/>
                <a:gd name="connsiteY8584" fmla="*/ 681422 h 3980066"/>
                <a:gd name="connsiteX8585" fmla="*/ 3883407 w 8387961"/>
                <a:gd name="connsiteY8585" fmla="*/ 684770 h 3980066"/>
                <a:gd name="connsiteX8586" fmla="*/ 3881754 w 8387961"/>
                <a:gd name="connsiteY8586" fmla="*/ 698161 h 3980066"/>
                <a:gd name="connsiteX8587" fmla="*/ 3880922 w 8387961"/>
                <a:gd name="connsiteY8587" fmla="*/ 702378 h 3980066"/>
                <a:gd name="connsiteX8588" fmla="*/ 3884378 w 8387961"/>
                <a:gd name="connsiteY8588" fmla="*/ 702378 h 3980066"/>
                <a:gd name="connsiteX8589" fmla="*/ 3886060 w 8387961"/>
                <a:gd name="connsiteY8589" fmla="*/ 710831 h 3980066"/>
                <a:gd name="connsiteX8590" fmla="*/ 3909611 w 8387961"/>
                <a:gd name="connsiteY8590" fmla="*/ 714212 h 3980066"/>
                <a:gd name="connsiteX8591" fmla="*/ 3909611 w 8387961"/>
                <a:gd name="connsiteY8591" fmla="*/ 722664 h 3980066"/>
                <a:gd name="connsiteX8592" fmla="*/ 3918022 w 8387961"/>
                <a:gd name="connsiteY8592" fmla="*/ 727735 h 3980066"/>
                <a:gd name="connsiteX8593" fmla="*/ 3948301 w 8387961"/>
                <a:gd name="connsiteY8593" fmla="*/ 712521 h 3980066"/>
                <a:gd name="connsiteX8594" fmla="*/ 3948301 w 8387961"/>
                <a:gd name="connsiteY8594" fmla="*/ 714212 h 3980066"/>
                <a:gd name="connsiteX8595" fmla="*/ 3963563 w 8387961"/>
                <a:gd name="connsiteY8595" fmla="*/ 719963 h 3980066"/>
                <a:gd name="connsiteX8596" fmla="*/ 3969518 w 8387961"/>
                <a:gd name="connsiteY8596" fmla="*/ 709542 h 3980066"/>
                <a:gd name="connsiteX8597" fmla="*/ 3977050 w 8387961"/>
                <a:gd name="connsiteY8597" fmla="*/ 720088 h 3980066"/>
                <a:gd name="connsiteX8598" fmla="*/ 3963894 w 8387961"/>
                <a:gd name="connsiteY8598" fmla="*/ 720088 h 3980066"/>
                <a:gd name="connsiteX8599" fmla="*/ 3975217 w 8387961"/>
                <a:gd name="connsiteY8599" fmla="*/ 724355 h 3980066"/>
                <a:gd name="connsiteX8600" fmla="*/ 3985310 w 8387961"/>
                <a:gd name="connsiteY8600" fmla="*/ 722664 h 3980066"/>
                <a:gd name="connsiteX8601" fmla="*/ 3987391 w 8387961"/>
                <a:gd name="connsiteY8601" fmla="*/ 724755 h 3980066"/>
                <a:gd name="connsiteX8602" fmla="*/ 4017800 w 8387961"/>
                <a:gd name="connsiteY8602" fmla="*/ 719935 h 3980066"/>
                <a:gd name="connsiteX8603" fmla="*/ 4047843 w 8387961"/>
                <a:gd name="connsiteY8603" fmla="*/ 709882 h 3980066"/>
                <a:gd name="connsiteX8604" fmla="*/ 4077885 w 8387961"/>
                <a:gd name="connsiteY8604" fmla="*/ 706530 h 3980066"/>
                <a:gd name="connsiteX8605" fmla="*/ 4081223 w 8387961"/>
                <a:gd name="connsiteY8605" fmla="*/ 714908 h 3980066"/>
                <a:gd name="connsiteX8606" fmla="*/ 4106259 w 8387961"/>
                <a:gd name="connsiteY8606" fmla="*/ 714908 h 3980066"/>
                <a:gd name="connsiteX8607" fmla="*/ 4127535 w 8387961"/>
                <a:gd name="connsiteY8607" fmla="*/ 715799 h 3980066"/>
                <a:gd name="connsiteX8608" fmla="*/ 4120164 w 8387961"/>
                <a:gd name="connsiteY8608" fmla="*/ 714335 h 3980066"/>
                <a:gd name="connsiteX8609" fmla="*/ 4120164 w 8387961"/>
                <a:gd name="connsiteY8609" fmla="*/ 710501 h 3980066"/>
                <a:gd name="connsiteX8610" fmla="*/ 4123384 w 8387961"/>
                <a:gd name="connsiteY8610" fmla="*/ 708584 h 3980066"/>
                <a:gd name="connsiteX8611" fmla="*/ 4121774 w 8387961"/>
                <a:gd name="connsiteY8611" fmla="*/ 708584 h 3980066"/>
                <a:gd name="connsiteX8612" fmla="*/ 4120164 w 8387961"/>
                <a:gd name="connsiteY8612" fmla="*/ 704749 h 3980066"/>
                <a:gd name="connsiteX8613" fmla="*/ 4120164 w 8387961"/>
                <a:gd name="connsiteY8613" fmla="*/ 702832 h 3980066"/>
                <a:gd name="connsiteX8614" fmla="*/ 4131436 w 8387961"/>
                <a:gd name="connsiteY8614" fmla="*/ 704749 h 3980066"/>
                <a:gd name="connsiteX8615" fmla="*/ 4132728 w 8387961"/>
                <a:gd name="connsiteY8615" fmla="*/ 700136 h 3980066"/>
                <a:gd name="connsiteX8616" fmla="*/ 4127979 w 8387961"/>
                <a:gd name="connsiteY8616" fmla="*/ 665913 h 3980066"/>
                <a:gd name="connsiteX8617" fmla="*/ 4127696 w 8387961"/>
                <a:gd name="connsiteY8617" fmla="*/ 665972 h 3980066"/>
                <a:gd name="connsiteX8618" fmla="*/ 4127893 w 8387961"/>
                <a:gd name="connsiteY8618" fmla="*/ 665295 h 3980066"/>
                <a:gd name="connsiteX8619" fmla="*/ 4127696 w 8387961"/>
                <a:gd name="connsiteY8619" fmla="*/ 663871 h 3980066"/>
                <a:gd name="connsiteX8620" fmla="*/ 4128345 w 8387961"/>
                <a:gd name="connsiteY8620" fmla="*/ 663744 h 3980066"/>
                <a:gd name="connsiteX8621" fmla="*/ 4139339 w 8387961"/>
                <a:gd name="connsiteY8621" fmla="*/ 625993 h 3980066"/>
                <a:gd name="connsiteX8622" fmla="*/ 4157637 w 8387961"/>
                <a:gd name="connsiteY8622" fmla="*/ 625993 h 3980066"/>
                <a:gd name="connsiteX8623" fmla="*/ 4185914 w 8387961"/>
                <a:gd name="connsiteY8623" fmla="*/ 645114 h 3980066"/>
                <a:gd name="connsiteX8624" fmla="*/ 4197558 w 8387961"/>
                <a:gd name="connsiteY8624" fmla="*/ 632946 h 3980066"/>
                <a:gd name="connsiteX8625" fmla="*/ 4195932 w 8387961"/>
                <a:gd name="connsiteY8625" fmla="*/ 609149 h 3980066"/>
                <a:gd name="connsiteX8626" fmla="*/ 4188133 w 8387961"/>
                <a:gd name="connsiteY8626" fmla="*/ 609149 h 3980066"/>
                <a:gd name="connsiteX8627" fmla="*/ 4173196 w 8387961"/>
                <a:gd name="connsiteY8627" fmla="*/ 592470 h 3980066"/>
                <a:gd name="connsiteX8628" fmla="*/ 4169877 w 8387961"/>
                <a:gd name="connsiteY8628" fmla="*/ 582463 h 3980066"/>
                <a:gd name="connsiteX8629" fmla="*/ 4209709 w 8387961"/>
                <a:gd name="connsiteY8629" fmla="*/ 572455 h 3980066"/>
                <a:gd name="connsiteX8630" fmla="*/ 4261158 w 8387961"/>
                <a:gd name="connsiteY8630" fmla="*/ 575792 h 3980066"/>
                <a:gd name="connsiteX8631" fmla="*/ 4267797 w 8387961"/>
                <a:gd name="connsiteY8631" fmla="*/ 600809 h 3980066"/>
                <a:gd name="connsiteX8632" fmla="*/ 4257839 w 8387961"/>
                <a:gd name="connsiteY8632" fmla="*/ 619156 h 3980066"/>
                <a:gd name="connsiteX8633" fmla="*/ 4257463 w 8387961"/>
                <a:gd name="connsiteY8633" fmla="*/ 619076 h 3980066"/>
                <a:gd name="connsiteX8634" fmla="*/ 4270747 w 8387961"/>
                <a:gd name="connsiteY8634" fmla="*/ 639899 h 3980066"/>
                <a:gd name="connsiteX8635" fmla="*/ 4285544 w 8387961"/>
                <a:gd name="connsiteY8635" fmla="*/ 669277 h 3980066"/>
                <a:gd name="connsiteX8636" fmla="*/ 4287849 w 8387961"/>
                <a:gd name="connsiteY8636" fmla="*/ 669037 h 3980066"/>
                <a:gd name="connsiteX8637" fmla="*/ 4272308 w 8387961"/>
                <a:gd name="connsiteY8637" fmla="*/ 639537 h 3980066"/>
                <a:gd name="connsiteX8638" fmla="*/ 4258920 w 8387961"/>
                <a:gd name="connsiteY8638" fmla="*/ 619471 h 3980066"/>
                <a:gd name="connsiteX8639" fmla="*/ 4268961 w 8387961"/>
                <a:gd name="connsiteY8639" fmla="*/ 601078 h 3980066"/>
                <a:gd name="connsiteX8640" fmla="*/ 4262267 w 8387961"/>
                <a:gd name="connsiteY8640" fmla="*/ 575996 h 3980066"/>
                <a:gd name="connsiteX8641" fmla="*/ 4268961 w 8387961"/>
                <a:gd name="connsiteY8641" fmla="*/ 569307 h 3980066"/>
                <a:gd name="connsiteX8642" fmla="*/ 4287371 w 8387961"/>
                <a:gd name="connsiteY8642" fmla="*/ 559275 h 3980066"/>
                <a:gd name="connsiteX8643" fmla="*/ 4310801 w 8387961"/>
                <a:gd name="connsiteY8643" fmla="*/ 560947 h 3980066"/>
                <a:gd name="connsiteX8644" fmla="*/ 4272308 w 8387961"/>
                <a:gd name="connsiteY8644" fmla="*/ 549243 h 3980066"/>
                <a:gd name="connsiteX8645" fmla="*/ 4268961 w 8387961"/>
                <a:gd name="connsiteY8645" fmla="*/ 544226 h 3980066"/>
                <a:gd name="connsiteX8646" fmla="*/ 4257246 w 8387961"/>
                <a:gd name="connsiteY8646" fmla="*/ 544226 h 3980066"/>
                <a:gd name="connsiteX8647" fmla="*/ 4272308 w 8387961"/>
                <a:gd name="connsiteY8647" fmla="*/ 529177 h 3980066"/>
                <a:gd name="connsiteX8648" fmla="*/ 4289044 w 8387961"/>
                <a:gd name="connsiteY8648" fmla="*/ 512455 h 3980066"/>
                <a:gd name="connsiteX8649" fmla="*/ 4302433 w 8387961"/>
                <a:gd name="connsiteY8649" fmla="*/ 495734 h 3980066"/>
                <a:gd name="connsiteX8650" fmla="*/ 4319168 w 8387961"/>
                <a:gd name="connsiteY8650" fmla="*/ 480686 h 3980066"/>
                <a:gd name="connsiteX8651" fmla="*/ 4280676 w 8387961"/>
                <a:gd name="connsiteY8651" fmla="*/ 458948 h 3980066"/>
                <a:gd name="connsiteX8652" fmla="*/ 4290718 w 8387961"/>
                <a:gd name="connsiteY8652" fmla="*/ 450588 h 3980066"/>
                <a:gd name="connsiteX8653" fmla="*/ 4279003 w 8387961"/>
                <a:gd name="connsiteY8653" fmla="*/ 438883 h 3980066"/>
                <a:gd name="connsiteX8654" fmla="*/ 4270635 w 8387961"/>
                <a:gd name="connsiteY8654" fmla="*/ 430522 h 3980066"/>
                <a:gd name="connsiteX8655" fmla="*/ 4268961 w 8387961"/>
                <a:gd name="connsiteY8655" fmla="*/ 405441 h 3980066"/>
                <a:gd name="connsiteX8656" fmla="*/ 4243858 w 8387961"/>
                <a:gd name="connsiteY8656" fmla="*/ 378686 h 3980066"/>
                <a:gd name="connsiteX8657" fmla="*/ 4257246 w 8387961"/>
                <a:gd name="connsiteY8657" fmla="*/ 358620 h 3980066"/>
                <a:gd name="connsiteX8658" fmla="*/ 4227122 w 8387961"/>
                <a:gd name="connsiteY8658" fmla="*/ 341899 h 3980066"/>
                <a:gd name="connsiteX8659" fmla="*/ 4227122 w 8387961"/>
                <a:gd name="connsiteY8659" fmla="*/ 325179 h 3980066"/>
                <a:gd name="connsiteX8660" fmla="*/ 4227122 w 8387961"/>
                <a:gd name="connsiteY8660" fmla="*/ 320163 h 3980066"/>
                <a:gd name="connsiteX8661" fmla="*/ 4247205 w 8387961"/>
                <a:gd name="connsiteY8661" fmla="*/ 308458 h 3980066"/>
                <a:gd name="connsiteX8662" fmla="*/ 4258920 w 8387961"/>
                <a:gd name="connsiteY8662" fmla="*/ 308458 h 3980066"/>
                <a:gd name="connsiteX8663" fmla="*/ 4258920 w 8387961"/>
                <a:gd name="connsiteY8663" fmla="*/ 300098 h 3980066"/>
                <a:gd name="connsiteX8664" fmla="*/ 4268961 w 8387961"/>
                <a:gd name="connsiteY8664" fmla="*/ 303442 h 3980066"/>
                <a:gd name="connsiteX8665" fmla="*/ 4279003 w 8387961"/>
                <a:gd name="connsiteY8665" fmla="*/ 298425 h 3980066"/>
                <a:gd name="connsiteX8666" fmla="*/ 4302433 w 8387961"/>
                <a:gd name="connsiteY8666" fmla="*/ 301769 h 3980066"/>
                <a:gd name="connsiteX8667" fmla="*/ 4282350 w 8387961"/>
                <a:gd name="connsiteY8667" fmla="*/ 303442 h 3980066"/>
                <a:gd name="connsiteX8668" fmla="*/ 4299086 w 8387961"/>
                <a:gd name="connsiteY8668" fmla="*/ 311802 h 3980066"/>
                <a:gd name="connsiteX8669" fmla="*/ 4312474 w 8387961"/>
                <a:gd name="connsiteY8669" fmla="*/ 310129 h 3980066"/>
                <a:gd name="connsiteX8670" fmla="*/ 4304106 w 8387961"/>
                <a:gd name="connsiteY8670" fmla="*/ 320163 h 3980066"/>
                <a:gd name="connsiteX8671" fmla="*/ 4314148 w 8387961"/>
                <a:gd name="connsiteY8671" fmla="*/ 318490 h 3980066"/>
                <a:gd name="connsiteX8672" fmla="*/ 4347619 w 8387961"/>
                <a:gd name="connsiteY8672" fmla="*/ 315147 h 3980066"/>
                <a:gd name="connsiteX8673" fmla="*/ 4404521 w 8387961"/>
                <a:gd name="connsiteY8673" fmla="*/ 333539 h 3980066"/>
                <a:gd name="connsiteX8674" fmla="*/ 4461422 w 8387961"/>
                <a:gd name="connsiteY8674" fmla="*/ 351933 h 3980066"/>
                <a:gd name="connsiteX8675" fmla="*/ 4481505 w 8387961"/>
                <a:gd name="connsiteY8675" fmla="*/ 365309 h 3980066"/>
                <a:gd name="connsiteX8676" fmla="*/ 4474811 w 8387961"/>
                <a:gd name="connsiteY8676" fmla="*/ 383703 h 3980066"/>
                <a:gd name="connsiteX8677" fmla="*/ 4424604 w 8387961"/>
                <a:gd name="connsiteY8677" fmla="*/ 395408 h 3980066"/>
                <a:gd name="connsiteX8678" fmla="*/ 4371049 w 8387961"/>
                <a:gd name="connsiteY8678" fmla="*/ 383703 h 3980066"/>
                <a:gd name="connsiteX8679" fmla="*/ 4317495 w 8387961"/>
                <a:gd name="connsiteY8679" fmla="*/ 373670 h 3980066"/>
                <a:gd name="connsiteX8680" fmla="*/ 4300759 w 8387961"/>
                <a:gd name="connsiteY8680" fmla="*/ 370326 h 3980066"/>
                <a:gd name="connsiteX8681" fmla="*/ 4327536 w 8387961"/>
                <a:gd name="connsiteY8681" fmla="*/ 383703 h 3980066"/>
                <a:gd name="connsiteX8682" fmla="*/ 4337578 w 8387961"/>
                <a:gd name="connsiteY8682" fmla="*/ 390391 h 3980066"/>
                <a:gd name="connsiteX8683" fmla="*/ 4364355 w 8387961"/>
                <a:gd name="connsiteY8683" fmla="*/ 403769 h 3980066"/>
                <a:gd name="connsiteX8684" fmla="*/ 4361008 w 8387961"/>
                <a:gd name="connsiteY8684" fmla="*/ 403769 h 3980066"/>
                <a:gd name="connsiteX8685" fmla="*/ 4362681 w 8387961"/>
                <a:gd name="connsiteY8685" fmla="*/ 412129 h 3980066"/>
                <a:gd name="connsiteX8686" fmla="*/ 4377744 w 8387961"/>
                <a:gd name="connsiteY8686" fmla="*/ 433867 h 3980066"/>
                <a:gd name="connsiteX8687" fmla="*/ 4417909 w 8387961"/>
                <a:gd name="connsiteY8687" fmla="*/ 453931 h 3980066"/>
                <a:gd name="connsiteX8688" fmla="*/ 4443013 w 8387961"/>
                <a:gd name="connsiteY8688" fmla="*/ 450588 h 3980066"/>
                <a:gd name="connsiteX8689" fmla="*/ 4432972 w 8387961"/>
                <a:gd name="connsiteY8689" fmla="*/ 442227 h 3980066"/>
                <a:gd name="connsiteX8690" fmla="*/ 4411215 w 8387961"/>
                <a:gd name="connsiteY8690" fmla="*/ 432195 h 3980066"/>
                <a:gd name="connsiteX8691" fmla="*/ 4409542 w 8387961"/>
                <a:gd name="connsiteY8691" fmla="*/ 420490 h 3980066"/>
                <a:gd name="connsiteX8692" fmla="*/ 4439666 w 8387961"/>
                <a:gd name="connsiteY8692" fmla="*/ 430522 h 3980066"/>
                <a:gd name="connsiteX8693" fmla="*/ 4484853 w 8387961"/>
                <a:gd name="connsiteY8693" fmla="*/ 435539 h 3980066"/>
                <a:gd name="connsiteX8694" fmla="*/ 4464770 w 8387961"/>
                <a:gd name="connsiteY8694" fmla="*/ 413801 h 3980066"/>
                <a:gd name="connsiteX8695" fmla="*/ 4484853 w 8387961"/>
                <a:gd name="connsiteY8695" fmla="*/ 400425 h 3980066"/>
                <a:gd name="connsiteX8696" fmla="*/ 4504935 w 8387961"/>
                <a:gd name="connsiteY8696" fmla="*/ 383703 h 3980066"/>
                <a:gd name="connsiteX8697" fmla="*/ 4528366 w 8387961"/>
                <a:gd name="connsiteY8697" fmla="*/ 388719 h 3980066"/>
                <a:gd name="connsiteX8698" fmla="*/ 4535060 w 8387961"/>
                <a:gd name="connsiteY8698" fmla="*/ 398753 h 3980066"/>
                <a:gd name="connsiteX8699" fmla="*/ 4545101 w 8387961"/>
                <a:gd name="connsiteY8699" fmla="*/ 398753 h 3980066"/>
                <a:gd name="connsiteX8700" fmla="*/ 4548448 w 8387961"/>
                <a:gd name="connsiteY8700" fmla="*/ 385375 h 3980066"/>
                <a:gd name="connsiteX8701" fmla="*/ 4538407 w 8387961"/>
                <a:gd name="connsiteY8701" fmla="*/ 368654 h 3980066"/>
                <a:gd name="connsiteX8702" fmla="*/ 4530039 w 8387961"/>
                <a:gd name="connsiteY8702" fmla="*/ 340228 h 3980066"/>
                <a:gd name="connsiteX8703" fmla="*/ 4504935 w 8387961"/>
                <a:gd name="connsiteY8703" fmla="*/ 330195 h 3980066"/>
                <a:gd name="connsiteX8704" fmla="*/ 4545101 w 8387961"/>
                <a:gd name="connsiteY8704" fmla="*/ 331868 h 3980066"/>
                <a:gd name="connsiteX8705" fmla="*/ 4581920 w 8387961"/>
                <a:gd name="connsiteY8705" fmla="*/ 350261 h 3980066"/>
                <a:gd name="connsiteX8706" fmla="*/ 4551796 w 8387961"/>
                <a:gd name="connsiteY8706" fmla="*/ 360293 h 3980066"/>
                <a:gd name="connsiteX8707" fmla="*/ 4573552 w 8387961"/>
                <a:gd name="connsiteY8707" fmla="*/ 375342 h 3980066"/>
                <a:gd name="connsiteX8708" fmla="*/ 4603676 w 8387961"/>
                <a:gd name="connsiteY8708" fmla="*/ 373670 h 3980066"/>
                <a:gd name="connsiteX8709" fmla="*/ 4605350 w 8387961"/>
                <a:gd name="connsiteY8709" fmla="*/ 358620 h 3980066"/>
                <a:gd name="connsiteX8710" fmla="*/ 4623759 w 8387961"/>
                <a:gd name="connsiteY8710" fmla="*/ 355277 h 3980066"/>
                <a:gd name="connsiteX8711" fmla="*/ 4622086 w 8387961"/>
                <a:gd name="connsiteY8711" fmla="*/ 351933 h 3980066"/>
                <a:gd name="connsiteX8712" fmla="*/ 4643842 w 8387961"/>
                <a:gd name="connsiteY8712" fmla="*/ 343572 h 3980066"/>
                <a:gd name="connsiteX8713" fmla="*/ 4684008 w 8387961"/>
                <a:gd name="connsiteY8713" fmla="*/ 335212 h 3980066"/>
                <a:gd name="connsiteX8714" fmla="*/ 4685682 w 8387961"/>
                <a:gd name="connsiteY8714" fmla="*/ 331868 h 3980066"/>
                <a:gd name="connsiteX8715" fmla="*/ 4706721 w 8387961"/>
                <a:gd name="connsiteY8715" fmla="*/ 326134 h 3980066"/>
                <a:gd name="connsiteX8716" fmla="*/ 4714133 w 8387961"/>
                <a:gd name="connsiteY8716" fmla="*/ 333539 h 3980066"/>
                <a:gd name="connsiteX8717" fmla="*/ 4704091 w 8387961"/>
                <a:gd name="connsiteY8717" fmla="*/ 338555 h 3980066"/>
                <a:gd name="connsiteX8718" fmla="*/ 4735889 w 8387961"/>
                <a:gd name="connsiteY8718" fmla="*/ 340228 h 3980066"/>
                <a:gd name="connsiteX8719" fmla="*/ 4760993 w 8387961"/>
                <a:gd name="connsiteY8719" fmla="*/ 331868 h 3980066"/>
                <a:gd name="connsiteX8720" fmla="*/ 4782749 w 8387961"/>
                <a:gd name="connsiteY8720" fmla="*/ 328523 h 3980066"/>
                <a:gd name="connsiteX8721" fmla="*/ 4811200 w 8387961"/>
                <a:gd name="connsiteY8721" fmla="*/ 323507 h 3980066"/>
                <a:gd name="connsiteX8722" fmla="*/ 4814547 w 8387961"/>
                <a:gd name="connsiteY8722" fmla="*/ 335212 h 3980066"/>
                <a:gd name="connsiteX8723" fmla="*/ 4829609 w 8387961"/>
                <a:gd name="connsiteY8723" fmla="*/ 338555 h 3980066"/>
                <a:gd name="connsiteX8724" fmla="*/ 4829609 w 8387961"/>
                <a:gd name="connsiteY8724" fmla="*/ 331868 h 3980066"/>
                <a:gd name="connsiteX8725" fmla="*/ 4842998 w 8387961"/>
                <a:gd name="connsiteY8725" fmla="*/ 323507 h 3980066"/>
                <a:gd name="connsiteX8726" fmla="*/ 4821241 w 8387961"/>
                <a:gd name="connsiteY8726" fmla="*/ 305113 h 3980066"/>
                <a:gd name="connsiteX8727" fmla="*/ 4829609 w 8387961"/>
                <a:gd name="connsiteY8727" fmla="*/ 300098 h 3980066"/>
                <a:gd name="connsiteX8728" fmla="*/ 4873122 w 8387961"/>
                <a:gd name="connsiteY8728" fmla="*/ 305113 h 3980066"/>
                <a:gd name="connsiteX8729" fmla="*/ 4916635 w 8387961"/>
                <a:gd name="connsiteY8729" fmla="*/ 313474 h 3980066"/>
                <a:gd name="connsiteX8730" fmla="*/ 4965169 w 8387961"/>
                <a:gd name="connsiteY8730" fmla="*/ 325179 h 3980066"/>
                <a:gd name="connsiteX8731" fmla="*/ 4995293 w 8387961"/>
                <a:gd name="connsiteY8731" fmla="*/ 341899 h 3980066"/>
                <a:gd name="connsiteX8732" fmla="*/ 5003661 w 8387961"/>
                <a:gd name="connsiteY8732" fmla="*/ 323507 h 3980066"/>
                <a:gd name="connsiteX8733" fmla="*/ 4993620 w 8387961"/>
                <a:gd name="connsiteY8733" fmla="*/ 323507 h 3980066"/>
                <a:gd name="connsiteX8734" fmla="*/ 4976884 w 8387961"/>
                <a:gd name="connsiteY8734" fmla="*/ 311802 h 3980066"/>
                <a:gd name="connsiteX8735" fmla="*/ 4951780 w 8387961"/>
                <a:gd name="connsiteY8735" fmla="*/ 303442 h 3980066"/>
                <a:gd name="connsiteX8736" fmla="*/ 4945086 w 8387961"/>
                <a:gd name="connsiteY8736" fmla="*/ 293409 h 3980066"/>
                <a:gd name="connsiteX8737" fmla="*/ 4941739 w 8387961"/>
                <a:gd name="connsiteY8737" fmla="*/ 278359 h 3980066"/>
                <a:gd name="connsiteX8738" fmla="*/ 4930024 w 8387961"/>
                <a:gd name="connsiteY8738" fmla="*/ 278359 h 3980066"/>
                <a:gd name="connsiteX8739" fmla="*/ 4923330 w 8387961"/>
                <a:gd name="connsiteY8739" fmla="*/ 271672 h 3980066"/>
                <a:gd name="connsiteX8740" fmla="*/ 4940065 w 8387961"/>
                <a:gd name="connsiteY8740" fmla="*/ 259965 h 3980066"/>
                <a:gd name="connsiteX8741" fmla="*/ 4943412 w 8387961"/>
                <a:gd name="connsiteY8741" fmla="*/ 228196 h 3980066"/>
                <a:gd name="connsiteX8742" fmla="*/ 4983578 w 8387961"/>
                <a:gd name="connsiteY8742" fmla="*/ 224851 h 3980066"/>
                <a:gd name="connsiteX8743" fmla="*/ 5013703 w 8387961"/>
                <a:gd name="connsiteY8743" fmla="*/ 233212 h 3980066"/>
                <a:gd name="connsiteX8744" fmla="*/ 5013703 w 8387961"/>
                <a:gd name="connsiteY8744" fmla="*/ 258294 h 3980066"/>
                <a:gd name="connsiteX8745" fmla="*/ 5033786 w 8387961"/>
                <a:gd name="connsiteY8745" fmla="*/ 268326 h 3980066"/>
                <a:gd name="connsiteX8746" fmla="*/ 5050521 w 8387961"/>
                <a:gd name="connsiteY8746" fmla="*/ 291737 h 3980066"/>
                <a:gd name="connsiteX8747" fmla="*/ 5063910 w 8387961"/>
                <a:gd name="connsiteY8747" fmla="*/ 315147 h 3980066"/>
                <a:gd name="connsiteX8748" fmla="*/ 5097382 w 8387961"/>
                <a:gd name="connsiteY8748" fmla="*/ 335212 h 3980066"/>
                <a:gd name="connsiteX8749" fmla="*/ 5097382 w 8387961"/>
                <a:gd name="connsiteY8749" fmla="*/ 348589 h 3980066"/>
                <a:gd name="connsiteX8750" fmla="*/ 5082319 w 8387961"/>
                <a:gd name="connsiteY8750" fmla="*/ 373670 h 3980066"/>
                <a:gd name="connsiteX8751" fmla="*/ 5085666 w 8387961"/>
                <a:gd name="connsiteY8751" fmla="*/ 380359 h 3980066"/>
                <a:gd name="connsiteX8752" fmla="*/ 5062236 w 8387961"/>
                <a:gd name="connsiteY8752" fmla="*/ 382031 h 3980066"/>
                <a:gd name="connsiteX8753" fmla="*/ 5067257 w 8387961"/>
                <a:gd name="connsiteY8753" fmla="*/ 380359 h 3980066"/>
                <a:gd name="connsiteX8754" fmla="*/ 5032112 w 8387961"/>
                <a:gd name="connsiteY8754" fmla="*/ 378686 h 3980066"/>
                <a:gd name="connsiteX8755" fmla="*/ 5037133 w 8387961"/>
                <a:gd name="connsiteY8755" fmla="*/ 383703 h 3980066"/>
                <a:gd name="connsiteX8756" fmla="*/ 5094034 w 8387961"/>
                <a:gd name="connsiteY8756" fmla="*/ 390391 h 3980066"/>
                <a:gd name="connsiteX8757" fmla="*/ 5105749 w 8387961"/>
                <a:gd name="connsiteY8757" fmla="*/ 385375 h 3980066"/>
                <a:gd name="connsiteX8758" fmla="*/ 5114117 w 8387961"/>
                <a:gd name="connsiteY8758" fmla="*/ 382031 h 3980066"/>
                <a:gd name="connsiteX8759" fmla="*/ 5132527 w 8387961"/>
                <a:gd name="connsiteY8759" fmla="*/ 355277 h 3980066"/>
                <a:gd name="connsiteX8760" fmla="*/ 5110770 w 8387961"/>
                <a:gd name="connsiteY8760" fmla="*/ 328523 h 3980066"/>
                <a:gd name="connsiteX8761" fmla="*/ 5145915 w 8387961"/>
                <a:gd name="connsiteY8761" fmla="*/ 321834 h 3980066"/>
                <a:gd name="connsiteX8762" fmla="*/ 5160977 w 8387961"/>
                <a:gd name="connsiteY8762" fmla="*/ 330195 h 3980066"/>
                <a:gd name="connsiteX8763" fmla="*/ 5176040 w 8387961"/>
                <a:gd name="connsiteY8763" fmla="*/ 351933 h 3980066"/>
                <a:gd name="connsiteX8764" fmla="*/ 5217879 w 8387961"/>
                <a:gd name="connsiteY8764" fmla="*/ 358620 h 3980066"/>
                <a:gd name="connsiteX8765" fmla="*/ 5191102 w 8387961"/>
                <a:gd name="connsiteY8765" fmla="*/ 351933 h 3980066"/>
                <a:gd name="connsiteX8766" fmla="*/ 5182734 w 8387961"/>
                <a:gd name="connsiteY8766" fmla="*/ 341899 h 3980066"/>
                <a:gd name="connsiteX8767" fmla="*/ 5171019 w 8387961"/>
                <a:gd name="connsiteY8767" fmla="*/ 323507 h 3980066"/>
                <a:gd name="connsiteX8768" fmla="*/ 5144242 w 8387961"/>
                <a:gd name="connsiteY8768" fmla="*/ 318490 h 3980066"/>
                <a:gd name="connsiteX8769" fmla="*/ 5094034 w 8387961"/>
                <a:gd name="connsiteY8769" fmla="*/ 320163 h 3980066"/>
                <a:gd name="connsiteX8770" fmla="*/ 5075625 w 8387961"/>
                <a:gd name="connsiteY8770" fmla="*/ 301769 h 3980066"/>
                <a:gd name="connsiteX8771" fmla="*/ 5077299 w 8387961"/>
                <a:gd name="connsiteY8771" fmla="*/ 281704 h 3980066"/>
                <a:gd name="connsiteX8772" fmla="*/ 5050521 w 8387961"/>
                <a:gd name="connsiteY8772" fmla="*/ 264982 h 3980066"/>
                <a:gd name="connsiteX8773" fmla="*/ 5042154 w 8387961"/>
                <a:gd name="connsiteY8773" fmla="*/ 254950 h 3980066"/>
                <a:gd name="connsiteX8774" fmla="*/ 5060563 w 8387961"/>
                <a:gd name="connsiteY8774" fmla="*/ 243245 h 3980066"/>
                <a:gd name="connsiteX8775" fmla="*/ 5043827 w 8387961"/>
                <a:gd name="connsiteY8775" fmla="*/ 228196 h 3980066"/>
                <a:gd name="connsiteX8776" fmla="*/ 5060563 w 8387961"/>
                <a:gd name="connsiteY8776" fmla="*/ 229868 h 3980066"/>
                <a:gd name="connsiteX8777" fmla="*/ 5082319 w 8387961"/>
                <a:gd name="connsiteY8777" fmla="*/ 259965 h 3980066"/>
                <a:gd name="connsiteX8778" fmla="*/ 5150936 w 8387961"/>
                <a:gd name="connsiteY8778" fmla="*/ 271672 h 3980066"/>
                <a:gd name="connsiteX8779" fmla="*/ 5140895 w 8387961"/>
                <a:gd name="connsiteY8779" fmla="*/ 264982 h 3980066"/>
                <a:gd name="connsiteX8780" fmla="*/ 5094034 w 8387961"/>
                <a:gd name="connsiteY8780" fmla="*/ 258294 h 3980066"/>
                <a:gd name="connsiteX8781" fmla="*/ 5083993 w 8387961"/>
                <a:gd name="connsiteY8781" fmla="*/ 249933 h 3980066"/>
                <a:gd name="connsiteX8782" fmla="*/ 5122485 w 8387961"/>
                <a:gd name="connsiteY8782" fmla="*/ 249933 h 3980066"/>
                <a:gd name="connsiteX8783" fmla="*/ 5105749 w 8387961"/>
                <a:gd name="connsiteY8783" fmla="*/ 243245 h 3980066"/>
                <a:gd name="connsiteX8784" fmla="*/ 5140895 w 8387961"/>
                <a:gd name="connsiteY8784" fmla="*/ 238229 h 3980066"/>
                <a:gd name="connsiteX8785" fmla="*/ 5182734 w 8387961"/>
                <a:gd name="connsiteY8785" fmla="*/ 251606 h 3980066"/>
                <a:gd name="connsiteX8786" fmla="*/ 5224573 w 8387961"/>
                <a:gd name="connsiteY8786" fmla="*/ 254950 h 3980066"/>
                <a:gd name="connsiteX8787" fmla="*/ 5212858 w 8387961"/>
                <a:gd name="connsiteY8787" fmla="*/ 264982 h 3980066"/>
                <a:gd name="connsiteX8788" fmla="*/ 5224573 w 8387961"/>
                <a:gd name="connsiteY8788" fmla="*/ 281704 h 3980066"/>
                <a:gd name="connsiteX8789" fmla="*/ 5227920 w 8387961"/>
                <a:gd name="connsiteY8789" fmla="*/ 271672 h 3980066"/>
                <a:gd name="connsiteX8790" fmla="*/ 5244656 w 8387961"/>
                <a:gd name="connsiteY8790" fmla="*/ 288393 h 3980066"/>
                <a:gd name="connsiteX8791" fmla="*/ 5254698 w 8387961"/>
                <a:gd name="connsiteY8791" fmla="*/ 288393 h 3980066"/>
                <a:gd name="connsiteX8792" fmla="*/ 5248003 w 8387961"/>
                <a:gd name="connsiteY8792" fmla="*/ 278359 h 3980066"/>
                <a:gd name="connsiteX8793" fmla="*/ 5232941 w 8387961"/>
                <a:gd name="connsiteY8793" fmla="*/ 254950 h 3980066"/>
                <a:gd name="connsiteX8794" fmla="*/ 5196123 w 8387961"/>
                <a:gd name="connsiteY8794" fmla="*/ 243245 h 3980066"/>
                <a:gd name="connsiteX8795" fmla="*/ 5171019 w 8387961"/>
                <a:gd name="connsiteY8795" fmla="*/ 238229 h 3980066"/>
                <a:gd name="connsiteX8796" fmla="*/ 5147589 w 8387961"/>
                <a:gd name="connsiteY8796" fmla="*/ 221507 h 3980066"/>
                <a:gd name="connsiteX8797" fmla="*/ 5140895 w 8387961"/>
                <a:gd name="connsiteY8797" fmla="*/ 211475 h 3980066"/>
                <a:gd name="connsiteX8798" fmla="*/ 5191102 w 8387961"/>
                <a:gd name="connsiteY8798" fmla="*/ 204786 h 3980066"/>
                <a:gd name="connsiteX8799" fmla="*/ 5242983 w 8387961"/>
                <a:gd name="connsiteY8799" fmla="*/ 201442 h 3980066"/>
                <a:gd name="connsiteX8800" fmla="*/ 5242983 w 8387961"/>
                <a:gd name="connsiteY8800" fmla="*/ 198098 h 3980066"/>
                <a:gd name="connsiteX8801" fmla="*/ 5221226 w 8387961"/>
                <a:gd name="connsiteY8801" fmla="*/ 191410 h 3980066"/>
                <a:gd name="connsiteX8802" fmla="*/ 5236288 w 8387961"/>
                <a:gd name="connsiteY8802" fmla="*/ 189738 h 3980066"/>
                <a:gd name="connsiteX8803" fmla="*/ 5211185 w 8387961"/>
                <a:gd name="connsiteY8803" fmla="*/ 181377 h 3980066"/>
                <a:gd name="connsiteX8804" fmla="*/ 5226247 w 8387961"/>
                <a:gd name="connsiteY8804" fmla="*/ 183049 h 3980066"/>
                <a:gd name="connsiteX8805" fmla="*/ 5226247 w 8387961"/>
                <a:gd name="connsiteY8805" fmla="*/ 173017 h 3980066"/>
                <a:gd name="connsiteX8806" fmla="*/ 5241309 w 8387961"/>
                <a:gd name="connsiteY8806" fmla="*/ 169672 h 3980066"/>
                <a:gd name="connsiteX8807" fmla="*/ 5284822 w 8387961"/>
                <a:gd name="connsiteY8807" fmla="*/ 161312 h 3980066"/>
                <a:gd name="connsiteX8808" fmla="*/ 5326662 w 8387961"/>
                <a:gd name="connsiteY8808" fmla="*/ 152951 h 3980066"/>
                <a:gd name="connsiteX8809" fmla="*/ 5358459 w 8387961"/>
                <a:gd name="connsiteY8809" fmla="*/ 152951 h 3980066"/>
                <a:gd name="connsiteX8810" fmla="*/ 5386910 w 8387961"/>
                <a:gd name="connsiteY8810" fmla="*/ 151279 h 3980066"/>
                <a:gd name="connsiteX8811" fmla="*/ 5417035 w 8387961"/>
                <a:gd name="connsiteY8811" fmla="*/ 149607 h 3980066"/>
                <a:gd name="connsiteX8812" fmla="*/ 5401972 w 8387961"/>
                <a:gd name="connsiteY8812" fmla="*/ 144591 h 3980066"/>
                <a:gd name="connsiteX8813" fmla="*/ 5445485 w 8387961"/>
                <a:gd name="connsiteY8813" fmla="*/ 141247 h 3980066"/>
                <a:gd name="connsiteX8814" fmla="*/ 5428750 w 8387961"/>
                <a:gd name="connsiteY8814" fmla="*/ 139575 h 3980066"/>
                <a:gd name="connsiteX8815" fmla="*/ 5417035 w 8387961"/>
                <a:gd name="connsiteY8815" fmla="*/ 131213 h 3980066"/>
                <a:gd name="connsiteX8816" fmla="*/ 4023750 w 8387961"/>
                <a:gd name="connsiteY8816" fmla="*/ 103947 h 3980066"/>
                <a:gd name="connsiteX8817" fmla="*/ 4066648 w 8387961"/>
                <a:gd name="connsiteY8817" fmla="*/ 103947 h 3980066"/>
                <a:gd name="connsiteX8818" fmla="*/ 4093047 w 8387961"/>
                <a:gd name="connsiteY8818" fmla="*/ 112233 h 3980066"/>
                <a:gd name="connsiteX8819" fmla="*/ 4078197 w 8387961"/>
                <a:gd name="connsiteY8819" fmla="*/ 118861 h 3980066"/>
                <a:gd name="connsiteX8820" fmla="*/ 4053448 w 8387961"/>
                <a:gd name="connsiteY8820" fmla="*/ 120517 h 3980066"/>
                <a:gd name="connsiteX8821" fmla="*/ 4031999 w 8387961"/>
                <a:gd name="connsiteY8821" fmla="*/ 120517 h 3980066"/>
                <a:gd name="connsiteX8822" fmla="*/ 4038599 w 8387961"/>
                <a:gd name="connsiteY8822" fmla="*/ 110575 h 3980066"/>
                <a:gd name="connsiteX8823" fmla="*/ 2011832 w 8387961"/>
                <a:gd name="connsiteY8823" fmla="*/ 90389 h 3980066"/>
                <a:gd name="connsiteX8824" fmla="*/ 2062342 w 8387961"/>
                <a:gd name="connsiteY8824" fmla="*/ 99659 h 3980066"/>
                <a:gd name="connsiteX8825" fmla="*/ 2053924 w 8387961"/>
                <a:gd name="connsiteY8825" fmla="*/ 105221 h 3980066"/>
                <a:gd name="connsiteX8826" fmla="*/ 2011832 w 8387961"/>
                <a:gd name="connsiteY8826" fmla="*/ 114491 h 3980066"/>
                <a:gd name="connsiteX8827" fmla="*/ 2005103 w 8387961"/>
                <a:gd name="connsiteY8827" fmla="*/ 105221 h 3980066"/>
                <a:gd name="connsiteX8828" fmla="*/ 2005103 w 8387961"/>
                <a:gd name="connsiteY8828" fmla="*/ 101513 h 3980066"/>
                <a:gd name="connsiteX8829" fmla="*/ 1900960 w 8387961"/>
                <a:gd name="connsiteY8829" fmla="*/ 79842 h 3980066"/>
                <a:gd name="connsiteX8830" fmla="*/ 1951002 w 8387961"/>
                <a:gd name="connsiteY8830" fmla="*/ 79842 h 3980066"/>
                <a:gd name="connsiteX8831" fmla="*/ 1951002 w 8387961"/>
                <a:gd name="connsiteY8831" fmla="*/ 87137 h 3980066"/>
                <a:gd name="connsiteX8832" fmla="*/ 1952728 w 8387961"/>
                <a:gd name="connsiteY8832" fmla="*/ 83489 h 3980066"/>
                <a:gd name="connsiteX8833" fmla="*/ 1975160 w 8387961"/>
                <a:gd name="connsiteY8833" fmla="*/ 87137 h 3980066"/>
                <a:gd name="connsiteX8834" fmla="*/ 1983789 w 8387961"/>
                <a:gd name="connsiteY8834" fmla="*/ 88961 h 3980066"/>
                <a:gd name="connsiteX8835" fmla="*/ 1980337 w 8387961"/>
                <a:gd name="connsiteY8835" fmla="*/ 98079 h 3980066"/>
                <a:gd name="connsiteX8836" fmla="*/ 1985516 w 8387961"/>
                <a:gd name="connsiteY8836" fmla="*/ 109020 h 3980066"/>
                <a:gd name="connsiteX8837" fmla="*/ 1961359 w 8387961"/>
                <a:gd name="connsiteY8837" fmla="*/ 114491 h 3980066"/>
                <a:gd name="connsiteX8838" fmla="*/ 1935475 w 8387961"/>
                <a:gd name="connsiteY8838" fmla="*/ 101726 h 3980066"/>
                <a:gd name="connsiteX8839" fmla="*/ 1890613 w 8387961"/>
                <a:gd name="connsiteY8839" fmla="*/ 99902 h 3980066"/>
                <a:gd name="connsiteX8840" fmla="*/ 1900960 w 8387961"/>
                <a:gd name="connsiteY8840" fmla="*/ 94432 h 3980066"/>
                <a:gd name="connsiteX8841" fmla="*/ 1923393 w 8387961"/>
                <a:gd name="connsiteY8841" fmla="*/ 92608 h 3980066"/>
                <a:gd name="connsiteX8842" fmla="*/ 1921667 w 8387961"/>
                <a:gd name="connsiteY8842" fmla="*/ 87137 h 3980066"/>
                <a:gd name="connsiteX8843" fmla="*/ 1907864 w 8387961"/>
                <a:gd name="connsiteY8843" fmla="*/ 87137 h 3980066"/>
                <a:gd name="connsiteX8844" fmla="*/ 5371864 w 8387961"/>
                <a:gd name="connsiteY8844" fmla="*/ 76831 h 3980066"/>
                <a:gd name="connsiteX8845" fmla="*/ 5383581 w 8387961"/>
                <a:gd name="connsiteY8845" fmla="*/ 76831 h 3980066"/>
                <a:gd name="connsiteX8846" fmla="*/ 5391950 w 8387961"/>
                <a:gd name="connsiteY8846" fmla="*/ 87931 h 3980066"/>
                <a:gd name="connsiteX8847" fmla="*/ 5401993 w 8387961"/>
                <a:gd name="connsiteY8847" fmla="*/ 80001 h 3980066"/>
                <a:gd name="connsiteX8848" fmla="*/ 5447187 w 8387961"/>
                <a:gd name="connsiteY8848" fmla="*/ 92688 h 3980066"/>
                <a:gd name="connsiteX8849" fmla="*/ 5448861 w 8387961"/>
                <a:gd name="connsiteY8849" fmla="*/ 95859 h 3980066"/>
                <a:gd name="connsiteX8850" fmla="*/ 5368516 w 8387961"/>
                <a:gd name="connsiteY8850" fmla="*/ 106959 h 3980066"/>
                <a:gd name="connsiteX8851" fmla="*/ 5361820 w 8387961"/>
                <a:gd name="connsiteY8851" fmla="*/ 92688 h 3980066"/>
                <a:gd name="connsiteX8852" fmla="*/ 5373537 w 8387961"/>
                <a:gd name="connsiteY8852" fmla="*/ 89516 h 3980066"/>
                <a:gd name="connsiteX8853" fmla="*/ 5363494 w 8387961"/>
                <a:gd name="connsiteY8853" fmla="*/ 83172 h 3980066"/>
                <a:gd name="connsiteX8854" fmla="*/ 5358473 w 8387961"/>
                <a:gd name="connsiteY8854" fmla="*/ 80001 h 3980066"/>
                <a:gd name="connsiteX8855" fmla="*/ 5376885 w 8387961"/>
                <a:gd name="connsiteY8855" fmla="*/ 80001 h 3980066"/>
                <a:gd name="connsiteX8856" fmla="*/ 3942401 w 8387961"/>
                <a:gd name="connsiteY8856" fmla="*/ 63272 h 3980066"/>
                <a:gd name="connsiteX8857" fmla="*/ 3967509 w 8387961"/>
                <a:gd name="connsiteY8857" fmla="*/ 71296 h 3980066"/>
                <a:gd name="connsiteX8858" fmla="*/ 3969183 w 8387961"/>
                <a:gd name="connsiteY8858" fmla="*/ 77715 h 3980066"/>
                <a:gd name="connsiteX8859" fmla="*/ 3980900 w 8387961"/>
                <a:gd name="connsiteY8859" fmla="*/ 72900 h 3980066"/>
                <a:gd name="connsiteX8860" fmla="*/ 3987595 w 8387961"/>
                <a:gd name="connsiteY8860" fmla="*/ 80924 h 3980066"/>
                <a:gd name="connsiteX8861" fmla="*/ 4032789 w 8387961"/>
                <a:gd name="connsiteY8861" fmla="*/ 90552 h 3980066"/>
                <a:gd name="connsiteX8862" fmla="*/ 3992617 w 8387961"/>
                <a:gd name="connsiteY8862" fmla="*/ 98576 h 3980066"/>
                <a:gd name="connsiteX8863" fmla="*/ 3989269 w 8387961"/>
                <a:gd name="connsiteY8863" fmla="*/ 106600 h 3980066"/>
                <a:gd name="connsiteX8864" fmla="*/ 3979226 w 8387961"/>
                <a:gd name="connsiteY8864" fmla="*/ 117833 h 3980066"/>
                <a:gd name="connsiteX8865" fmla="*/ 3964161 w 8387961"/>
                <a:gd name="connsiteY8865" fmla="*/ 132275 h 3980066"/>
                <a:gd name="connsiteX8866" fmla="*/ 3959140 w 8387961"/>
                <a:gd name="connsiteY8866" fmla="*/ 137089 h 3980066"/>
                <a:gd name="connsiteX8867" fmla="*/ 3947423 w 8387961"/>
                <a:gd name="connsiteY8867" fmla="*/ 129065 h 3980066"/>
                <a:gd name="connsiteX8868" fmla="*/ 3910598 w 8387961"/>
                <a:gd name="connsiteY8868" fmla="*/ 117833 h 3980066"/>
                <a:gd name="connsiteX8869" fmla="*/ 3942401 w 8387961"/>
                <a:gd name="connsiteY8869" fmla="*/ 116227 h 3980066"/>
                <a:gd name="connsiteX8870" fmla="*/ 3934032 w 8387961"/>
                <a:gd name="connsiteY8870" fmla="*/ 111413 h 3980066"/>
                <a:gd name="connsiteX8871" fmla="*/ 3954118 w 8387961"/>
                <a:gd name="connsiteY8871" fmla="*/ 109808 h 3980066"/>
                <a:gd name="connsiteX8872" fmla="*/ 3902229 w 8387961"/>
                <a:gd name="connsiteY8872" fmla="*/ 109808 h 3980066"/>
                <a:gd name="connsiteX8873" fmla="*/ 3908924 w 8387961"/>
                <a:gd name="connsiteY8873" fmla="*/ 103390 h 3980066"/>
                <a:gd name="connsiteX8874" fmla="*/ 3950770 w 8387961"/>
                <a:gd name="connsiteY8874" fmla="*/ 96971 h 3980066"/>
                <a:gd name="connsiteX8875" fmla="*/ 3949097 w 8387961"/>
                <a:gd name="connsiteY8875" fmla="*/ 90552 h 3980066"/>
                <a:gd name="connsiteX8876" fmla="*/ 3929011 w 8387961"/>
                <a:gd name="connsiteY8876" fmla="*/ 93761 h 3980066"/>
                <a:gd name="connsiteX8877" fmla="*/ 3927337 w 8387961"/>
                <a:gd name="connsiteY8877" fmla="*/ 90552 h 3980066"/>
                <a:gd name="connsiteX8878" fmla="*/ 3912272 w 8387961"/>
                <a:gd name="connsiteY8878" fmla="*/ 96971 h 3980066"/>
                <a:gd name="connsiteX8879" fmla="*/ 3900555 w 8387961"/>
                <a:gd name="connsiteY8879" fmla="*/ 101785 h 3980066"/>
                <a:gd name="connsiteX8880" fmla="*/ 3882143 w 8387961"/>
                <a:gd name="connsiteY8880" fmla="*/ 96971 h 3980066"/>
                <a:gd name="connsiteX8881" fmla="*/ 3860383 w 8387961"/>
                <a:gd name="connsiteY8881" fmla="*/ 87342 h 3980066"/>
                <a:gd name="connsiteX8882" fmla="*/ 3872100 w 8387961"/>
                <a:gd name="connsiteY8882" fmla="*/ 84133 h 3980066"/>
                <a:gd name="connsiteX8883" fmla="*/ 3870426 w 8387961"/>
                <a:gd name="connsiteY8883" fmla="*/ 79319 h 3980066"/>
                <a:gd name="connsiteX8884" fmla="*/ 3857035 w 8387961"/>
                <a:gd name="connsiteY8884" fmla="*/ 80924 h 3980066"/>
                <a:gd name="connsiteX8885" fmla="*/ 3852014 w 8387961"/>
                <a:gd name="connsiteY8885" fmla="*/ 71296 h 3980066"/>
                <a:gd name="connsiteX8886" fmla="*/ 3872100 w 8387961"/>
                <a:gd name="connsiteY8886" fmla="*/ 69692 h 3980066"/>
                <a:gd name="connsiteX8887" fmla="*/ 3897208 w 8387961"/>
                <a:gd name="connsiteY8887" fmla="*/ 69692 h 3980066"/>
                <a:gd name="connsiteX8888" fmla="*/ 3890512 w 8387961"/>
                <a:gd name="connsiteY8888" fmla="*/ 72900 h 3980066"/>
                <a:gd name="connsiteX8889" fmla="*/ 3903903 w 8387961"/>
                <a:gd name="connsiteY8889" fmla="*/ 77715 h 3980066"/>
                <a:gd name="connsiteX8890" fmla="*/ 3917294 w 8387961"/>
                <a:gd name="connsiteY8890" fmla="*/ 69692 h 3980066"/>
                <a:gd name="connsiteX8891" fmla="*/ 3947423 w 8387961"/>
                <a:gd name="connsiteY8891" fmla="*/ 87342 h 3980066"/>
                <a:gd name="connsiteX8892" fmla="*/ 5271600 w 8387961"/>
                <a:gd name="connsiteY8892" fmla="*/ 60258 h 3980066"/>
                <a:gd name="connsiteX8893" fmla="*/ 5281643 w 8387961"/>
                <a:gd name="connsiteY8893" fmla="*/ 66639 h 3980066"/>
                <a:gd name="connsiteX8894" fmla="*/ 5293360 w 8387961"/>
                <a:gd name="connsiteY8894" fmla="*/ 63449 h 3980066"/>
                <a:gd name="connsiteX8895" fmla="*/ 5323489 w 8387961"/>
                <a:gd name="connsiteY8895" fmla="*/ 68234 h 3980066"/>
                <a:gd name="connsiteX8896" fmla="*/ 5333533 w 8387961"/>
                <a:gd name="connsiteY8896" fmla="*/ 79400 h 3980066"/>
                <a:gd name="connsiteX8897" fmla="*/ 5341902 w 8387961"/>
                <a:gd name="connsiteY8897" fmla="*/ 87376 h 3980066"/>
                <a:gd name="connsiteX8898" fmla="*/ 5261557 w 8387961"/>
                <a:gd name="connsiteY8898" fmla="*/ 82590 h 3980066"/>
                <a:gd name="connsiteX8899" fmla="*/ 5236449 w 8387961"/>
                <a:gd name="connsiteY8899" fmla="*/ 73020 h 3980066"/>
                <a:gd name="connsiteX8900" fmla="*/ 5221385 w 8387961"/>
                <a:gd name="connsiteY8900" fmla="*/ 73020 h 3980066"/>
                <a:gd name="connsiteX8901" fmla="*/ 5226406 w 8387961"/>
                <a:gd name="connsiteY8901" fmla="*/ 63449 h 3980066"/>
                <a:gd name="connsiteX8902" fmla="*/ 4609763 w 8387961"/>
                <a:gd name="connsiteY8902" fmla="*/ 57245 h 3980066"/>
                <a:gd name="connsiteX8903" fmla="*/ 4642905 w 8387961"/>
                <a:gd name="connsiteY8903" fmla="*/ 57245 h 3980066"/>
                <a:gd name="connsiteX8904" fmla="*/ 4624677 w 8387961"/>
                <a:gd name="connsiteY8904" fmla="*/ 60258 h 3980066"/>
                <a:gd name="connsiteX8905" fmla="*/ 4040846 w 8387961"/>
                <a:gd name="connsiteY8905" fmla="*/ 54234 h 3980066"/>
                <a:gd name="connsiteX8906" fmla="*/ 4050799 w 8387961"/>
                <a:gd name="connsiteY8906" fmla="*/ 58753 h 3980066"/>
                <a:gd name="connsiteX8907" fmla="*/ 4057434 w 8387961"/>
                <a:gd name="connsiteY8907" fmla="*/ 58753 h 3980066"/>
                <a:gd name="connsiteX8908" fmla="*/ 4105539 w 8387961"/>
                <a:gd name="connsiteY8908" fmla="*/ 60259 h 3980066"/>
                <a:gd name="connsiteX8909" fmla="*/ 4117151 w 8387961"/>
                <a:gd name="connsiteY8909" fmla="*/ 63272 h 3980066"/>
                <a:gd name="connsiteX8910" fmla="*/ 4097245 w 8387961"/>
                <a:gd name="connsiteY8910" fmla="*/ 75325 h 3980066"/>
                <a:gd name="connsiteX8911" fmla="*/ 4047481 w 8387961"/>
                <a:gd name="connsiteY8911" fmla="*/ 76831 h 3980066"/>
                <a:gd name="connsiteX8912" fmla="*/ 4001035 w 8387961"/>
                <a:gd name="connsiteY8912" fmla="*/ 70806 h 3980066"/>
                <a:gd name="connsiteX8913" fmla="*/ 4029234 w 8387961"/>
                <a:gd name="connsiteY8913" fmla="*/ 67792 h 3980066"/>
                <a:gd name="connsiteX8914" fmla="*/ 3969518 w 8387961"/>
                <a:gd name="connsiteY8914" fmla="*/ 63272 h 3980066"/>
                <a:gd name="connsiteX8915" fmla="*/ 3969518 w 8387961"/>
                <a:gd name="connsiteY8915" fmla="*/ 61767 h 3980066"/>
                <a:gd name="connsiteX8916" fmla="*/ 3986106 w 8387961"/>
                <a:gd name="connsiteY8916" fmla="*/ 58753 h 3980066"/>
                <a:gd name="connsiteX8917" fmla="*/ 3992741 w 8387961"/>
                <a:gd name="connsiteY8917" fmla="*/ 57247 h 3980066"/>
                <a:gd name="connsiteX8918" fmla="*/ 4035870 w 8387961"/>
                <a:gd name="connsiteY8918" fmla="*/ 61767 h 3980066"/>
                <a:gd name="connsiteX8919" fmla="*/ 4037528 w 8387961"/>
                <a:gd name="connsiteY8919" fmla="*/ 58753 h 3980066"/>
                <a:gd name="connsiteX8920" fmla="*/ 4428820 w 8387961"/>
                <a:gd name="connsiteY8920" fmla="*/ 49713 h 3980066"/>
                <a:gd name="connsiteX8921" fmla="*/ 4465142 w 8387961"/>
                <a:gd name="connsiteY8921" fmla="*/ 49713 h 3980066"/>
                <a:gd name="connsiteX8922" fmla="*/ 4418442 w 8387961"/>
                <a:gd name="connsiteY8922" fmla="*/ 54233 h 3980066"/>
                <a:gd name="connsiteX8923" fmla="*/ 4686592 w 8387961"/>
                <a:gd name="connsiteY8923" fmla="*/ 46700 h 3980066"/>
                <a:gd name="connsiteX8924" fmla="*/ 4663631 w 8387961"/>
                <a:gd name="connsiteY8924" fmla="*/ 54233 h 3980066"/>
                <a:gd name="connsiteX8925" fmla="*/ 4635372 w 8387961"/>
                <a:gd name="connsiteY8925" fmla="*/ 49211 h 3980066"/>
                <a:gd name="connsiteX8926" fmla="*/ 4499825 w 8387961"/>
                <a:gd name="connsiteY8926" fmla="*/ 46700 h 3980066"/>
                <a:gd name="connsiteX8927" fmla="*/ 4511842 w 8387961"/>
                <a:gd name="connsiteY8927" fmla="*/ 48638 h 3980066"/>
                <a:gd name="connsiteX8928" fmla="*/ 4467209 w 8387961"/>
                <a:gd name="connsiteY8928" fmla="*/ 56386 h 3980066"/>
                <a:gd name="connsiteX8929" fmla="*/ 4451759 w 8387961"/>
                <a:gd name="connsiteY8929" fmla="*/ 60258 h 3980066"/>
                <a:gd name="connsiteX8930" fmla="*/ 4438026 w 8387961"/>
                <a:gd name="connsiteY8930" fmla="*/ 60258 h 3980066"/>
                <a:gd name="connsiteX8931" fmla="*/ 4451759 w 8387961"/>
                <a:gd name="connsiteY8931" fmla="*/ 56386 h 3980066"/>
                <a:gd name="connsiteX8932" fmla="*/ 4479225 w 8387961"/>
                <a:gd name="connsiteY8932" fmla="*/ 48638 h 3980066"/>
                <a:gd name="connsiteX8933" fmla="*/ 5225043 w 8387961"/>
                <a:gd name="connsiteY8933" fmla="*/ 43688 h 3980066"/>
                <a:gd name="connsiteX8934" fmla="*/ 5268085 w 8387961"/>
                <a:gd name="connsiteY8934" fmla="*/ 51220 h 3980066"/>
                <a:gd name="connsiteX8935" fmla="*/ 5257755 w 8387961"/>
                <a:gd name="connsiteY8935" fmla="*/ 54233 h 3980066"/>
                <a:gd name="connsiteX8936" fmla="*/ 5268085 w 8387961"/>
                <a:gd name="connsiteY8936" fmla="*/ 58753 h 3980066"/>
                <a:gd name="connsiteX8937" fmla="*/ 5192332 w 8387961"/>
                <a:gd name="connsiteY8937" fmla="*/ 60258 h 3980066"/>
                <a:gd name="connsiteX8938" fmla="*/ 5200940 w 8387961"/>
                <a:gd name="connsiteY8938" fmla="*/ 57246 h 3980066"/>
                <a:gd name="connsiteX8939" fmla="*/ 5171672 w 8387961"/>
                <a:gd name="connsiteY8939" fmla="*/ 57246 h 3980066"/>
                <a:gd name="connsiteX8940" fmla="*/ 5185445 w 8387961"/>
                <a:gd name="connsiteY8940" fmla="*/ 54233 h 3980066"/>
                <a:gd name="connsiteX8941" fmla="*/ 5187167 w 8387961"/>
                <a:gd name="connsiteY8941" fmla="*/ 49713 h 3980066"/>
                <a:gd name="connsiteX8942" fmla="*/ 5175115 w 8387961"/>
                <a:gd name="connsiteY8942" fmla="*/ 48207 h 3980066"/>
                <a:gd name="connsiteX8943" fmla="*/ 4724952 w 8387961"/>
                <a:gd name="connsiteY8943" fmla="*/ 43688 h 3980066"/>
                <a:gd name="connsiteX8944" fmla="*/ 4733292 w 8387961"/>
                <a:gd name="connsiteY8944" fmla="*/ 45947 h 3980066"/>
                <a:gd name="connsiteX8945" fmla="*/ 4686592 w 8387961"/>
                <a:gd name="connsiteY8945" fmla="*/ 46700 h 3980066"/>
                <a:gd name="connsiteX8946" fmla="*/ 2158250 w 8387961"/>
                <a:gd name="connsiteY8946" fmla="*/ 43687 h 3980066"/>
                <a:gd name="connsiteX8947" fmla="*/ 2230963 w 8387961"/>
                <a:gd name="connsiteY8947" fmla="*/ 58752 h 3980066"/>
                <a:gd name="connsiteX8948" fmla="*/ 2212789 w 8387961"/>
                <a:gd name="connsiteY8948" fmla="*/ 73816 h 3980066"/>
                <a:gd name="connsiteX8949" fmla="*/ 2249144 w 8387961"/>
                <a:gd name="connsiteY8949" fmla="*/ 80512 h 3980066"/>
                <a:gd name="connsiteX8950" fmla="*/ 2188001 w 8387961"/>
                <a:gd name="connsiteY8950" fmla="*/ 92228 h 3980066"/>
                <a:gd name="connsiteX8951" fmla="*/ 2159905 w 8387961"/>
                <a:gd name="connsiteY8951" fmla="*/ 103946 h 3980066"/>
                <a:gd name="connsiteX8952" fmla="*/ 2149981 w 8387961"/>
                <a:gd name="connsiteY8952" fmla="*/ 95577 h 3980066"/>
                <a:gd name="connsiteX8953" fmla="*/ 2148328 w 8387961"/>
                <a:gd name="connsiteY8953" fmla="*/ 103946 h 3980066"/>
                <a:gd name="connsiteX8954" fmla="*/ 2088837 w 8387961"/>
                <a:gd name="connsiteY8954" fmla="*/ 88881 h 3980066"/>
                <a:gd name="connsiteX8955" fmla="*/ 2158250 w 8387961"/>
                <a:gd name="connsiteY8955" fmla="*/ 80512 h 3980066"/>
                <a:gd name="connsiteX8956" fmla="*/ 2078914 w 8387961"/>
                <a:gd name="connsiteY8956" fmla="*/ 72142 h 3980066"/>
                <a:gd name="connsiteX8957" fmla="*/ 2113624 w 8387961"/>
                <a:gd name="connsiteY8957" fmla="*/ 62100 h 3980066"/>
                <a:gd name="connsiteX8958" fmla="*/ 2100403 w 8387961"/>
                <a:gd name="connsiteY8958" fmla="*/ 53730 h 3980066"/>
                <a:gd name="connsiteX8959" fmla="*/ 2453827 w 8387961"/>
                <a:gd name="connsiteY8959" fmla="*/ 10546 h 3980066"/>
                <a:gd name="connsiteX8960" fmla="*/ 2574273 w 8387961"/>
                <a:gd name="connsiteY8960" fmla="*/ 17189 h 3980066"/>
                <a:gd name="connsiteX8961" fmla="*/ 2698066 w 8387961"/>
                <a:gd name="connsiteY8961" fmla="*/ 22173 h 3980066"/>
                <a:gd name="connsiteX8962" fmla="*/ 2616095 w 8387961"/>
                <a:gd name="connsiteY8962" fmla="*/ 32138 h 3980066"/>
                <a:gd name="connsiteX8963" fmla="*/ 2534125 w 8387961"/>
                <a:gd name="connsiteY8963" fmla="*/ 42105 h 3980066"/>
                <a:gd name="connsiteX8964" fmla="*/ 2631151 w 8387961"/>
                <a:gd name="connsiteY8964" fmla="*/ 37122 h 3980066"/>
                <a:gd name="connsiteX8965" fmla="*/ 2542489 w 8387961"/>
                <a:gd name="connsiteY8965" fmla="*/ 52070 h 3980066"/>
                <a:gd name="connsiteX8966" fmla="*/ 2453827 w 8387961"/>
                <a:gd name="connsiteY8966" fmla="*/ 68680 h 3980066"/>
                <a:gd name="connsiteX8967" fmla="*/ 2371858 w 8387961"/>
                <a:gd name="connsiteY8967" fmla="*/ 76985 h 3980066"/>
                <a:gd name="connsiteX8968" fmla="*/ 2417025 w 8387961"/>
                <a:gd name="connsiteY8968" fmla="*/ 83628 h 3980066"/>
                <a:gd name="connsiteX8969" fmla="*/ 2353456 w 8387961"/>
                <a:gd name="connsiteY8969" fmla="*/ 88611 h 3980066"/>
                <a:gd name="connsiteX8970" fmla="*/ 2405315 w 8387961"/>
                <a:gd name="connsiteY8970" fmla="*/ 91934 h 3980066"/>
                <a:gd name="connsiteX8971" fmla="*/ 2333382 w 8387961"/>
                <a:gd name="connsiteY8971" fmla="*/ 108544 h 3980066"/>
                <a:gd name="connsiteX8972" fmla="*/ 2326691 w 8387961"/>
                <a:gd name="connsiteY8972" fmla="*/ 118509 h 3980066"/>
                <a:gd name="connsiteX8973" fmla="*/ 2266467 w 8387961"/>
                <a:gd name="connsiteY8973" fmla="*/ 121831 h 3980066"/>
                <a:gd name="connsiteX8974" fmla="*/ 2314980 w 8387961"/>
                <a:gd name="connsiteY8974" fmla="*/ 136780 h 3980066"/>
                <a:gd name="connsiteX8975" fmla="*/ 2254757 w 8387961"/>
                <a:gd name="connsiteY8975" fmla="*/ 140102 h 3980066"/>
                <a:gd name="connsiteX8976" fmla="*/ 2189515 w 8387961"/>
                <a:gd name="connsiteY8976" fmla="*/ 140102 h 3980066"/>
                <a:gd name="connsiteX8977" fmla="*/ 2122600 w 8387961"/>
                <a:gd name="connsiteY8977" fmla="*/ 138440 h 3980066"/>
                <a:gd name="connsiteX8978" fmla="*/ 2169441 w 8387961"/>
                <a:gd name="connsiteY8978" fmla="*/ 121831 h 3980066"/>
                <a:gd name="connsiteX8979" fmla="*/ 2159404 w 8387961"/>
                <a:gd name="connsiteY8979" fmla="*/ 111866 h 3980066"/>
                <a:gd name="connsiteX8980" fmla="*/ 2229664 w 8387961"/>
                <a:gd name="connsiteY8980" fmla="*/ 120170 h 3980066"/>
                <a:gd name="connsiteX8981" fmla="*/ 2264794 w 8387961"/>
                <a:gd name="connsiteY8981" fmla="*/ 103560 h 3980066"/>
                <a:gd name="connsiteX8982" fmla="*/ 2229664 w 8387961"/>
                <a:gd name="connsiteY8982" fmla="*/ 118509 h 3980066"/>
                <a:gd name="connsiteX8983" fmla="*/ 2209589 w 8387961"/>
                <a:gd name="connsiteY8983" fmla="*/ 108544 h 3980066"/>
                <a:gd name="connsiteX8984" fmla="*/ 2226318 w 8387961"/>
                <a:gd name="connsiteY8984" fmla="*/ 101899 h 3980066"/>
                <a:gd name="connsiteX8985" fmla="*/ 2192861 w 8387961"/>
                <a:gd name="connsiteY8985" fmla="*/ 96917 h 3980066"/>
                <a:gd name="connsiteX8986" fmla="*/ 2281523 w 8387961"/>
                <a:gd name="connsiteY8986" fmla="*/ 86951 h 3980066"/>
                <a:gd name="connsiteX8987" fmla="*/ 2241374 w 8387961"/>
                <a:gd name="connsiteY8987" fmla="*/ 60375 h 3980066"/>
                <a:gd name="connsiteX8988" fmla="*/ 2294906 w 8387961"/>
                <a:gd name="connsiteY8988" fmla="*/ 58714 h 3980066"/>
                <a:gd name="connsiteX8989" fmla="*/ 2316653 w 8387961"/>
                <a:gd name="connsiteY8989" fmla="*/ 68680 h 3980066"/>
                <a:gd name="connsiteX8990" fmla="*/ 2303270 w 8387961"/>
                <a:gd name="connsiteY8990" fmla="*/ 57053 h 3980066"/>
                <a:gd name="connsiteX8991" fmla="*/ 2385241 w 8387961"/>
                <a:gd name="connsiteY8991" fmla="*/ 47087 h 3980066"/>
                <a:gd name="connsiteX8992" fmla="*/ 2427061 w 8387961"/>
                <a:gd name="connsiteY8992" fmla="*/ 37122 h 3980066"/>
                <a:gd name="connsiteX8993" fmla="*/ 2341746 w 8387961"/>
                <a:gd name="connsiteY8993" fmla="*/ 43766 h 3980066"/>
                <a:gd name="connsiteX8994" fmla="*/ 2262290 w 8387961"/>
                <a:gd name="connsiteY8994" fmla="*/ 49719 h 3980066"/>
                <a:gd name="connsiteX8995" fmla="*/ 2330036 w 8387961"/>
                <a:gd name="connsiteY8995" fmla="*/ 42105 h 3980066"/>
                <a:gd name="connsiteX8996" fmla="*/ 2253084 w 8387961"/>
                <a:gd name="connsiteY8996" fmla="*/ 50409 h 3980066"/>
                <a:gd name="connsiteX8997" fmla="*/ 2262290 w 8387961"/>
                <a:gd name="connsiteY8997" fmla="*/ 49719 h 3980066"/>
                <a:gd name="connsiteX8998" fmla="*/ 2241374 w 8387961"/>
                <a:gd name="connsiteY8998" fmla="*/ 52070 h 3980066"/>
                <a:gd name="connsiteX8999" fmla="*/ 2214608 w 8387961"/>
                <a:gd name="connsiteY8999" fmla="*/ 47087 h 3980066"/>
                <a:gd name="connsiteX9000" fmla="*/ 2296579 w 8387961"/>
                <a:gd name="connsiteY9000" fmla="*/ 40444 h 3980066"/>
                <a:gd name="connsiteX9001" fmla="*/ 2209589 w 8387961"/>
                <a:gd name="connsiteY9001" fmla="*/ 40444 h 3980066"/>
                <a:gd name="connsiteX9002" fmla="*/ 2263121 w 8387961"/>
                <a:gd name="connsiteY9002" fmla="*/ 37122 h 3980066"/>
                <a:gd name="connsiteX9003" fmla="*/ 2194534 w 8387961"/>
                <a:gd name="connsiteY9003" fmla="*/ 32138 h 3980066"/>
                <a:gd name="connsiteX9004" fmla="*/ 2284869 w 8387961"/>
                <a:gd name="connsiteY9004" fmla="*/ 23834 h 3980066"/>
                <a:gd name="connsiteX9005" fmla="*/ 2396951 w 8387961"/>
                <a:gd name="connsiteY9005" fmla="*/ 30477 h 3980066"/>
                <a:gd name="connsiteX9006" fmla="*/ 2383568 w 8387961"/>
                <a:gd name="connsiteY9006" fmla="*/ 12207 h 3980066"/>
                <a:gd name="connsiteX9007" fmla="*/ 2473901 w 8387961"/>
                <a:gd name="connsiteY9007" fmla="*/ 17189 h 3980066"/>
                <a:gd name="connsiteX9008" fmla="*/ 3212815 w 8387961"/>
                <a:gd name="connsiteY9008" fmla="*/ 0 h 3980066"/>
                <a:gd name="connsiteX9009" fmla="*/ 3259675 w 8387961"/>
                <a:gd name="connsiteY9009" fmla="*/ 6694 h 3980066"/>
                <a:gd name="connsiteX9010" fmla="*/ 3151642 w 8387961"/>
                <a:gd name="connsiteY9010" fmla="*/ 9694 h 3980066"/>
                <a:gd name="connsiteX9011" fmla="*/ 3119095 w 8387961"/>
                <a:gd name="connsiteY9011" fmla="*/ 10040 h 3980066"/>
                <a:gd name="connsiteX9012" fmla="*/ 3139178 w 8387961"/>
                <a:gd name="connsiteY9012" fmla="*/ 10040 h 3980066"/>
                <a:gd name="connsiteX9013" fmla="*/ 3151642 w 8387961"/>
                <a:gd name="connsiteY9013" fmla="*/ 9694 h 3980066"/>
                <a:gd name="connsiteX9014" fmla="*/ 3276411 w 8387961"/>
                <a:gd name="connsiteY9014" fmla="*/ 8367 h 3980066"/>
                <a:gd name="connsiteX9015" fmla="*/ 3274737 w 8387961"/>
                <a:gd name="connsiteY9015" fmla="*/ 11714 h 3980066"/>
                <a:gd name="connsiteX9016" fmla="*/ 3328292 w 8387961"/>
                <a:gd name="connsiteY9016" fmla="*/ 18407 h 3980066"/>
                <a:gd name="connsiteX9017" fmla="*/ 3249634 w 8387961"/>
                <a:gd name="connsiteY9017" fmla="*/ 23427 h 3980066"/>
                <a:gd name="connsiteX9018" fmla="*/ 3184364 w 8387961"/>
                <a:gd name="connsiteY9018" fmla="*/ 23427 h 3980066"/>
                <a:gd name="connsiteX9019" fmla="*/ 3149219 w 8387961"/>
                <a:gd name="connsiteY9019" fmla="*/ 31794 h 3980066"/>
                <a:gd name="connsiteX9020" fmla="*/ 3264696 w 8387961"/>
                <a:gd name="connsiteY9020" fmla="*/ 26774 h 3980066"/>
                <a:gd name="connsiteX9021" fmla="*/ 3258002 w 8387961"/>
                <a:gd name="connsiteY9021" fmla="*/ 31794 h 3980066"/>
                <a:gd name="connsiteX9022" fmla="*/ 3234572 w 8387961"/>
                <a:gd name="connsiteY9022" fmla="*/ 38487 h 3980066"/>
                <a:gd name="connsiteX9023" fmla="*/ 3283105 w 8387961"/>
                <a:gd name="connsiteY9023" fmla="*/ 30120 h 3980066"/>
                <a:gd name="connsiteX9024" fmla="*/ 3289800 w 8387961"/>
                <a:gd name="connsiteY9024" fmla="*/ 26774 h 3980066"/>
                <a:gd name="connsiteX9025" fmla="*/ 3316577 w 8387961"/>
                <a:gd name="connsiteY9025" fmla="*/ 28447 h 3980066"/>
                <a:gd name="connsiteX9026" fmla="*/ 3299841 w 8387961"/>
                <a:gd name="connsiteY9026" fmla="*/ 40160 h 3980066"/>
                <a:gd name="connsiteX9027" fmla="*/ 3276411 w 8387961"/>
                <a:gd name="connsiteY9027" fmla="*/ 51874 h 3980066"/>
                <a:gd name="connsiteX9028" fmla="*/ 3343354 w 8387961"/>
                <a:gd name="connsiteY9028" fmla="*/ 33467 h 3980066"/>
                <a:gd name="connsiteX9029" fmla="*/ 3345028 w 8387961"/>
                <a:gd name="connsiteY9029" fmla="*/ 36814 h 3980066"/>
                <a:gd name="connsiteX9030" fmla="*/ 3380173 w 8387961"/>
                <a:gd name="connsiteY9030" fmla="*/ 33467 h 3980066"/>
                <a:gd name="connsiteX9031" fmla="*/ 3413644 w 8387961"/>
                <a:gd name="connsiteY9031" fmla="*/ 28447 h 3980066"/>
                <a:gd name="connsiteX9032" fmla="*/ 3473893 w 8387961"/>
                <a:gd name="connsiteY9032" fmla="*/ 33467 h 3980066"/>
                <a:gd name="connsiteX9033" fmla="*/ 3427033 w 8387961"/>
                <a:gd name="connsiteY9033" fmla="*/ 41834 h 3980066"/>
                <a:gd name="connsiteX9034" fmla="*/ 3430380 w 8387961"/>
                <a:gd name="connsiteY9034" fmla="*/ 46854 h 3980066"/>
                <a:gd name="connsiteX9035" fmla="*/ 3333313 w 8387961"/>
                <a:gd name="connsiteY9035" fmla="*/ 51874 h 3980066"/>
                <a:gd name="connsiteX9036" fmla="*/ 3403603 w 8387961"/>
                <a:gd name="connsiteY9036" fmla="*/ 51874 h 3980066"/>
                <a:gd name="connsiteX9037" fmla="*/ 3365110 w 8387961"/>
                <a:gd name="connsiteY9037" fmla="*/ 58567 h 3980066"/>
                <a:gd name="connsiteX9038" fmla="*/ 3328292 w 8387961"/>
                <a:gd name="connsiteY9038" fmla="*/ 61914 h 3980066"/>
                <a:gd name="connsiteX9039" fmla="*/ 3334986 w 8387961"/>
                <a:gd name="connsiteY9039" fmla="*/ 66934 h 3980066"/>
                <a:gd name="connsiteX9040" fmla="*/ 3373478 w 8387961"/>
                <a:gd name="connsiteY9040" fmla="*/ 60241 h 3980066"/>
                <a:gd name="connsiteX9041" fmla="*/ 3370131 w 8387961"/>
                <a:gd name="connsiteY9041" fmla="*/ 66934 h 3980066"/>
                <a:gd name="connsiteX9042" fmla="*/ 3350048 w 8387961"/>
                <a:gd name="connsiteY9042" fmla="*/ 68608 h 3980066"/>
                <a:gd name="connsiteX9043" fmla="*/ 3336660 w 8387961"/>
                <a:gd name="connsiteY9043" fmla="*/ 80321 h 3980066"/>
                <a:gd name="connsiteX9044" fmla="*/ 3346701 w 8387961"/>
                <a:gd name="connsiteY9044" fmla="*/ 78648 h 3980066"/>
                <a:gd name="connsiteX9045" fmla="*/ 3334986 w 8387961"/>
                <a:gd name="connsiteY9045" fmla="*/ 87015 h 3980066"/>
                <a:gd name="connsiteX9046" fmla="*/ 3308209 w 8387961"/>
                <a:gd name="connsiteY9046" fmla="*/ 92034 h 3980066"/>
                <a:gd name="connsiteX9047" fmla="*/ 3294820 w 8387961"/>
                <a:gd name="connsiteY9047" fmla="*/ 110441 h 3980066"/>
                <a:gd name="connsiteX9048" fmla="*/ 3299841 w 8387961"/>
                <a:gd name="connsiteY9048" fmla="*/ 113787 h 3980066"/>
                <a:gd name="connsiteX9049" fmla="*/ 3308209 w 8387961"/>
                <a:gd name="connsiteY9049" fmla="*/ 108768 h 3980066"/>
                <a:gd name="connsiteX9050" fmla="*/ 3343354 w 8387961"/>
                <a:gd name="connsiteY9050" fmla="*/ 113787 h 3980066"/>
                <a:gd name="connsiteX9051" fmla="*/ 3309883 w 8387961"/>
                <a:gd name="connsiteY9051" fmla="*/ 113787 h 3980066"/>
                <a:gd name="connsiteX9052" fmla="*/ 3323271 w 8387961"/>
                <a:gd name="connsiteY9052" fmla="*/ 120481 h 3980066"/>
                <a:gd name="connsiteX9053" fmla="*/ 3350048 w 8387961"/>
                <a:gd name="connsiteY9053" fmla="*/ 120481 h 3980066"/>
                <a:gd name="connsiteX9054" fmla="*/ 3353395 w 8387961"/>
                <a:gd name="connsiteY9054" fmla="*/ 132195 h 3980066"/>
                <a:gd name="connsiteX9055" fmla="*/ 3303188 w 8387961"/>
                <a:gd name="connsiteY9055" fmla="*/ 132195 h 3980066"/>
                <a:gd name="connsiteX9056" fmla="*/ 3274737 w 8387961"/>
                <a:gd name="connsiteY9056" fmla="*/ 133868 h 3980066"/>
                <a:gd name="connsiteX9057" fmla="*/ 3284779 w 8387961"/>
                <a:gd name="connsiteY9057" fmla="*/ 142235 h 3980066"/>
                <a:gd name="connsiteX9058" fmla="*/ 3289800 w 8387961"/>
                <a:gd name="connsiteY9058" fmla="*/ 142235 h 3980066"/>
                <a:gd name="connsiteX9059" fmla="*/ 3303188 w 8387961"/>
                <a:gd name="connsiteY9059" fmla="*/ 147254 h 3980066"/>
                <a:gd name="connsiteX9060" fmla="*/ 3323271 w 8387961"/>
                <a:gd name="connsiteY9060" fmla="*/ 148928 h 3980066"/>
                <a:gd name="connsiteX9061" fmla="*/ 3286452 w 8387961"/>
                <a:gd name="connsiteY9061" fmla="*/ 152275 h 3980066"/>
                <a:gd name="connsiteX9062" fmla="*/ 3318250 w 8387961"/>
                <a:gd name="connsiteY9062" fmla="*/ 152275 h 3980066"/>
                <a:gd name="connsiteX9063" fmla="*/ 3319924 w 8387961"/>
                <a:gd name="connsiteY9063" fmla="*/ 169008 h 3980066"/>
                <a:gd name="connsiteX9064" fmla="*/ 3278085 w 8387961"/>
                <a:gd name="connsiteY9064" fmla="*/ 158967 h 3980066"/>
                <a:gd name="connsiteX9065" fmla="*/ 3276411 w 8387961"/>
                <a:gd name="connsiteY9065" fmla="*/ 162315 h 3980066"/>
                <a:gd name="connsiteX9066" fmla="*/ 3296494 w 8387961"/>
                <a:gd name="connsiteY9066" fmla="*/ 169008 h 3980066"/>
                <a:gd name="connsiteX9067" fmla="*/ 3276411 w 8387961"/>
                <a:gd name="connsiteY9067" fmla="*/ 172355 h 3980066"/>
                <a:gd name="connsiteX9068" fmla="*/ 3294820 w 8387961"/>
                <a:gd name="connsiteY9068" fmla="*/ 172355 h 3980066"/>
                <a:gd name="connsiteX9069" fmla="*/ 3298168 w 8387961"/>
                <a:gd name="connsiteY9069" fmla="*/ 180721 h 3980066"/>
                <a:gd name="connsiteX9070" fmla="*/ 3318250 w 8387961"/>
                <a:gd name="connsiteY9070" fmla="*/ 180721 h 3980066"/>
                <a:gd name="connsiteX9071" fmla="*/ 3323271 w 8387961"/>
                <a:gd name="connsiteY9071" fmla="*/ 189088 h 3980066"/>
                <a:gd name="connsiteX9072" fmla="*/ 3274737 w 8387961"/>
                <a:gd name="connsiteY9072" fmla="*/ 184068 h 3980066"/>
                <a:gd name="connsiteX9073" fmla="*/ 3264696 w 8387961"/>
                <a:gd name="connsiteY9073" fmla="*/ 192435 h 3980066"/>
                <a:gd name="connsiteX9074" fmla="*/ 3269717 w 8387961"/>
                <a:gd name="connsiteY9074" fmla="*/ 202474 h 3980066"/>
                <a:gd name="connsiteX9075" fmla="*/ 3273064 w 8387961"/>
                <a:gd name="connsiteY9075" fmla="*/ 200801 h 3980066"/>
                <a:gd name="connsiteX9076" fmla="*/ 3298168 w 8387961"/>
                <a:gd name="connsiteY9076" fmla="*/ 200801 h 3980066"/>
                <a:gd name="connsiteX9077" fmla="*/ 3296494 w 8387961"/>
                <a:gd name="connsiteY9077" fmla="*/ 207495 h 3980066"/>
                <a:gd name="connsiteX9078" fmla="*/ 3268043 w 8387961"/>
                <a:gd name="connsiteY9078" fmla="*/ 214189 h 3980066"/>
                <a:gd name="connsiteX9079" fmla="*/ 3232898 w 8387961"/>
                <a:gd name="connsiteY9079" fmla="*/ 207495 h 3980066"/>
                <a:gd name="connsiteX9080" fmla="*/ 3254655 w 8387961"/>
                <a:gd name="connsiteY9080" fmla="*/ 209168 h 3980066"/>
                <a:gd name="connsiteX9081" fmla="*/ 3239592 w 8387961"/>
                <a:gd name="connsiteY9081" fmla="*/ 204148 h 3980066"/>
                <a:gd name="connsiteX9082" fmla="*/ 3222857 w 8387961"/>
                <a:gd name="connsiteY9082" fmla="*/ 207495 h 3980066"/>
                <a:gd name="connsiteX9083" fmla="*/ 3207795 w 8387961"/>
                <a:gd name="connsiteY9083" fmla="*/ 202474 h 3980066"/>
                <a:gd name="connsiteX9084" fmla="*/ 3212815 w 8387961"/>
                <a:gd name="connsiteY9084" fmla="*/ 207495 h 3980066"/>
                <a:gd name="connsiteX9085" fmla="*/ 3202774 w 8387961"/>
                <a:gd name="connsiteY9085" fmla="*/ 212515 h 3980066"/>
                <a:gd name="connsiteX9086" fmla="*/ 3174323 w 8387961"/>
                <a:gd name="connsiteY9086" fmla="*/ 210841 h 3980066"/>
                <a:gd name="connsiteX9087" fmla="*/ 3177670 w 8387961"/>
                <a:gd name="connsiteY9087" fmla="*/ 214189 h 3980066"/>
                <a:gd name="connsiteX9088" fmla="*/ 3165955 w 8387961"/>
                <a:gd name="connsiteY9088" fmla="*/ 219208 h 3980066"/>
                <a:gd name="connsiteX9089" fmla="*/ 3165955 w 8387961"/>
                <a:gd name="connsiteY9089" fmla="*/ 222554 h 3980066"/>
                <a:gd name="connsiteX9090" fmla="*/ 3167629 w 8387961"/>
                <a:gd name="connsiteY9090" fmla="*/ 219208 h 3980066"/>
                <a:gd name="connsiteX9091" fmla="*/ 3207795 w 8387961"/>
                <a:gd name="connsiteY9091" fmla="*/ 220881 h 3980066"/>
                <a:gd name="connsiteX9092" fmla="*/ 3169302 w 8387961"/>
                <a:gd name="connsiteY9092" fmla="*/ 227575 h 3980066"/>
                <a:gd name="connsiteX9093" fmla="*/ 3174323 w 8387961"/>
                <a:gd name="connsiteY9093" fmla="*/ 229248 h 3980066"/>
                <a:gd name="connsiteX9094" fmla="*/ 3186038 w 8387961"/>
                <a:gd name="connsiteY9094" fmla="*/ 229248 h 3980066"/>
                <a:gd name="connsiteX9095" fmla="*/ 3212815 w 8387961"/>
                <a:gd name="connsiteY9095" fmla="*/ 230921 h 3980066"/>
                <a:gd name="connsiteX9096" fmla="*/ 3196080 w 8387961"/>
                <a:gd name="connsiteY9096" fmla="*/ 234268 h 3980066"/>
                <a:gd name="connsiteX9097" fmla="*/ 3196080 w 8387961"/>
                <a:gd name="connsiteY9097" fmla="*/ 240961 h 3980066"/>
                <a:gd name="connsiteX9098" fmla="*/ 3202774 w 8387961"/>
                <a:gd name="connsiteY9098" fmla="*/ 237615 h 3980066"/>
                <a:gd name="connsiteX9099" fmla="*/ 3246287 w 8387961"/>
                <a:gd name="connsiteY9099" fmla="*/ 247655 h 3980066"/>
                <a:gd name="connsiteX9100" fmla="*/ 3239592 w 8387961"/>
                <a:gd name="connsiteY9100" fmla="*/ 252675 h 3980066"/>
                <a:gd name="connsiteX9101" fmla="*/ 3244613 w 8387961"/>
                <a:gd name="connsiteY9101" fmla="*/ 254348 h 3980066"/>
                <a:gd name="connsiteX9102" fmla="*/ 3252981 w 8387961"/>
                <a:gd name="connsiteY9102" fmla="*/ 254348 h 3980066"/>
                <a:gd name="connsiteX9103" fmla="*/ 3246287 w 8387961"/>
                <a:gd name="connsiteY9103" fmla="*/ 261042 h 3980066"/>
                <a:gd name="connsiteX9104" fmla="*/ 3258002 w 8387961"/>
                <a:gd name="connsiteY9104" fmla="*/ 259368 h 3980066"/>
                <a:gd name="connsiteX9105" fmla="*/ 3256328 w 8387961"/>
                <a:gd name="connsiteY9105" fmla="*/ 271082 h 3980066"/>
                <a:gd name="connsiteX9106" fmla="*/ 3256328 w 8387961"/>
                <a:gd name="connsiteY9106" fmla="*/ 281122 h 3980066"/>
                <a:gd name="connsiteX9107" fmla="*/ 3246287 w 8387961"/>
                <a:gd name="connsiteY9107" fmla="*/ 282795 h 3980066"/>
                <a:gd name="connsiteX9108" fmla="*/ 3244613 w 8387961"/>
                <a:gd name="connsiteY9108" fmla="*/ 274428 h 3980066"/>
                <a:gd name="connsiteX9109" fmla="*/ 3239592 w 8387961"/>
                <a:gd name="connsiteY9109" fmla="*/ 281122 h 3980066"/>
                <a:gd name="connsiteX9110" fmla="*/ 3224530 w 8387961"/>
                <a:gd name="connsiteY9110" fmla="*/ 284468 h 3980066"/>
                <a:gd name="connsiteX9111" fmla="*/ 3212815 w 8387961"/>
                <a:gd name="connsiteY9111" fmla="*/ 269409 h 3980066"/>
                <a:gd name="connsiteX9112" fmla="*/ 3186182 w 8387961"/>
                <a:gd name="connsiteY9112" fmla="*/ 260088 h 3980066"/>
                <a:gd name="connsiteX9113" fmla="*/ 3186038 w 8387961"/>
                <a:gd name="connsiteY9113" fmla="*/ 259368 h 3980066"/>
                <a:gd name="connsiteX9114" fmla="*/ 3184364 w 8387961"/>
                <a:gd name="connsiteY9114" fmla="*/ 259368 h 3980066"/>
                <a:gd name="connsiteX9115" fmla="*/ 3184092 w 8387961"/>
                <a:gd name="connsiteY9115" fmla="*/ 259357 h 3980066"/>
                <a:gd name="connsiteX9116" fmla="*/ 3179344 w 8387961"/>
                <a:gd name="connsiteY9116" fmla="*/ 257695 h 3980066"/>
                <a:gd name="connsiteX9117" fmla="*/ 3142525 w 8387961"/>
                <a:gd name="connsiteY9117" fmla="*/ 244308 h 3980066"/>
                <a:gd name="connsiteX9118" fmla="*/ 3157587 w 8387961"/>
                <a:gd name="connsiteY9118" fmla="*/ 252675 h 3980066"/>
                <a:gd name="connsiteX9119" fmla="*/ 3145872 w 8387961"/>
                <a:gd name="connsiteY9119" fmla="*/ 257695 h 3980066"/>
                <a:gd name="connsiteX9120" fmla="*/ 3184092 w 8387961"/>
                <a:gd name="connsiteY9120" fmla="*/ 259357 h 3980066"/>
                <a:gd name="connsiteX9121" fmla="*/ 3186182 w 8387961"/>
                <a:gd name="connsiteY9121" fmla="*/ 260088 h 3980066"/>
                <a:gd name="connsiteX9122" fmla="*/ 3187712 w 8387961"/>
                <a:gd name="connsiteY9122" fmla="*/ 267735 h 3980066"/>
                <a:gd name="connsiteX9123" fmla="*/ 3144199 w 8387961"/>
                <a:gd name="connsiteY9123" fmla="*/ 269409 h 3980066"/>
                <a:gd name="connsiteX9124" fmla="*/ 3142525 w 8387961"/>
                <a:gd name="connsiteY9124" fmla="*/ 271082 h 3980066"/>
                <a:gd name="connsiteX9125" fmla="*/ 3142525 w 8387961"/>
                <a:gd name="connsiteY9125" fmla="*/ 272755 h 3980066"/>
                <a:gd name="connsiteX9126" fmla="*/ 3117422 w 8387961"/>
                <a:gd name="connsiteY9126" fmla="*/ 282795 h 3980066"/>
                <a:gd name="connsiteX9127" fmla="*/ 3165955 w 8387961"/>
                <a:gd name="connsiteY9127" fmla="*/ 282795 h 3980066"/>
                <a:gd name="connsiteX9128" fmla="*/ 3132484 w 8387961"/>
                <a:gd name="connsiteY9128" fmla="*/ 291162 h 3980066"/>
                <a:gd name="connsiteX9129" fmla="*/ 3134157 w 8387961"/>
                <a:gd name="connsiteY9129" fmla="*/ 294508 h 3980066"/>
                <a:gd name="connsiteX9130" fmla="*/ 3182691 w 8387961"/>
                <a:gd name="connsiteY9130" fmla="*/ 287816 h 3980066"/>
                <a:gd name="connsiteX9131" fmla="*/ 3239592 w 8387961"/>
                <a:gd name="connsiteY9131" fmla="*/ 292835 h 3980066"/>
                <a:gd name="connsiteX9132" fmla="*/ 3226204 w 8387961"/>
                <a:gd name="connsiteY9132" fmla="*/ 297855 h 3980066"/>
                <a:gd name="connsiteX9133" fmla="*/ 3214489 w 8387961"/>
                <a:gd name="connsiteY9133" fmla="*/ 302875 h 3980066"/>
                <a:gd name="connsiteX9134" fmla="*/ 3206121 w 8387961"/>
                <a:gd name="connsiteY9134" fmla="*/ 307895 h 3980066"/>
                <a:gd name="connsiteX9135" fmla="*/ 3189385 w 8387961"/>
                <a:gd name="connsiteY9135" fmla="*/ 314588 h 3980066"/>
                <a:gd name="connsiteX9136" fmla="*/ 3175997 w 8387961"/>
                <a:gd name="connsiteY9136" fmla="*/ 321282 h 3980066"/>
                <a:gd name="connsiteX9137" fmla="*/ 3134157 w 8387961"/>
                <a:gd name="connsiteY9137" fmla="*/ 331322 h 3980066"/>
                <a:gd name="connsiteX9138" fmla="*/ 3092318 w 8387961"/>
                <a:gd name="connsiteY9138" fmla="*/ 341362 h 3980066"/>
                <a:gd name="connsiteX9139" fmla="*/ 3085624 w 8387961"/>
                <a:gd name="connsiteY9139" fmla="*/ 339688 h 3980066"/>
                <a:gd name="connsiteX9140" fmla="*/ 3075582 w 8387961"/>
                <a:gd name="connsiteY9140" fmla="*/ 341362 h 3980066"/>
                <a:gd name="connsiteX9141" fmla="*/ 3063867 w 8387961"/>
                <a:gd name="connsiteY9141" fmla="*/ 344709 h 3980066"/>
                <a:gd name="connsiteX9142" fmla="*/ 3042111 w 8387961"/>
                <a:gd name="connsiteY9142" fmla="*/ 332996 h 3980066"/>
                <a:gd name="connsiteX9143" fmla="*/ 3037090 w 8387961"/>
                <a:gd name="connsiteY9143" fmla="*/ 341362 h 3980066"/>
                <a:gd name="connsiteX9144" fmla="*/ 3037090 w 8387961"/>
                <a:gd name="connsiteY9144" fmla="*/ 349728 h 3980066"/>
                <a:gd name="connsiteX9145" fmla="*/ 3006966 w 8387961"/>
                <a:gd name="connsiteY9145" fmla="*/ 363115 h 3980066"/>
                <a:gd name="connsiteX9146" fmla="*/ 2988556 w 8387961"/>
                <a:gd name="connsiteY9146" fmla="*/ 379849 h 3980066"/>
                <a:gd name="connsiteX9147" fmla="*/ 2985209 w 8387961"/>
                <a:gd name="connsiteY9147" fmla="*/ 383195 h 3980066"/>
                <a:gd name="connsiteX9148" fmla="*/ 2966800 w 8387961"/>
                <a:gd name="connsiteY9148" fmla="*/ 389889 h 3980066"/>
                <a:gd name="connsiteX9149" fmla="*/ 2958432 w 8387961"/>
                <a:gd name="connsiteY9149" fmla="*/ 388216 h 3980066"/>
                <a:gd name="connsiteX9150" fmla="*/ 2956758 w 8387961"/>
                <a:gd name="connsiteY9150" fmla="*/ 393235 h 3980066"/>
                <a:gd name="connsiteX9151" fmla="*/ 2926634 w 8387961"/>
                <a:gd name="connsiteY9151" fmla="*/ 401602 h 3980066"/>
                <a:gd name="connsiteX9152" fmla="*/ 2914919 w 8387961"/>
                <a:gd name="connsiteY9152" fmla="*/ 399929 h 3980066"/>
                <a:gd name="connsiteX9153" fmla="*/ 2926634 w 8387961"/>
                <a:gd name="connsiteY9153" fmla="*/ 391562 h 3980066"/>
                <a:gd name="connsiteX9154" fmla="*/ 2916593 w 8387961"/>
                <a:gd name="connsiteY9154" fmla="*/ 389889 h 3980066"/>
                <a:gd name="connsiteX9155" fmla="*/ 2903204 w 8387961"/>
                <a:gd name="connsiteY9155" fmla="*/ 401602 h 3980066"/>
                <a:gd name="connsiteX9156" fmla="*/ 2906551 w 8387961"/>
                <a:gd name="connsiteY9156" fmla="*/ 403275 h 3980066"/>
                <a:gd name="connsiteX9157" fmla="*/ 2884795 w 8387961"/>
                <a:gd name="connsiteY9157" fmla="*/ 408296 h 3980066"/>
                <a:gd name="connsiteX9158" fmla="*/ 2876427 w 8387961"/>
                <a:gd name="connsiteY9158" fmla="*/ 409969 h 3980066"/>
                <a:gd name="connsiteX9159" fmla="*/ 2863038 w 8387961"/>
                <a:gd name="connsiteY9159" fmla="*/ 411642 h 3980066"/>
                <a:gd name="connsiteX9160" fmla="*/ 2864712 w 8387961"/>
                <a:gd name="connsiteY9160" fmla="*/ 420009 h 3980066"/>
                <a:gd name="connsiteX9161" fmla="*/ 2844629 w 8387961"/>
                <a:gd name="connsiteY9161" fmla="*/ 421682 h 3980066"/>
                <a:gd name="connsiteX9162" fmla="*/ 2844629 w 8387961"/>
                <a:gd name="connsiteY9162" fmla="*/ 438416 h 3980066"/>
                <a:gd name="connsiteX9163" fmla="*/ 2824546 w 8387961"/>
                <a:gd name="connsiteY9163" fmla="*/ 441762 h 3980066"/>
                <a:gd name="connsiteX9164" fmla="*/ 2836261 w 8387961"/>
                <a:gd name="connsiteY9164" fmla="*/ 445109 h 3980066"/>
                <a:gd name="connsiteX9165" fmla="*/ 2841282 w 8387961"/>
                <a:gd name="connsiteY9165" fmla="*/ 455149 h 3980066"/>
                <a:gd name="connsiteX9166" fmla="*/ 2824546 w 8387961"/>
                <a:gd name="connsiteY9166" fmla="*/ 455149 h 3980066"/>
                <a:gd name="connsiteX9167" fmla="*/ 2832914 w 8387961"/>
                <a:gd name="connsiteY9167" fmla="*/ 460169 h 3980066"/>
                <a:gd name="connsiteX9168" fmla="*/ 2824546 w 8387961"/>
                <a:gd name="connsiteY9168" fmla="*/ 463516 h 3980066"/>
                <a:gd name="connsiteX9169" fmla="*/ 2817852 w 8387961"/>
                <a:gd name="connsiteY9169" fmla="*/ 465189 h 3980066"/>
                <a:gd name="connsiteX9170" fmla="*/ 2822872 w 8387961"/>
                <a:gd name="connsiteY9170" fmla="*/ 468535 h 3980066"/>
                <a:gd name="connsiteX9171" fmla="*/ 2816178 w 8387961"/>
                <a:gd name="connsiteY9171" fmla="*/ 465189 h 3980066"/>
                <a:gd name="connsiteX9172" fmla="*/ 2814505 w 8387961"/>
                <a:gd name="connsiteY9172" fmla="*/ 471883 h 3980066"/>
                <a:gd name="connsiteX9173" fmla="*/ 2806137 w 8387961"/>
                <a:gd name="connsiteY9173" fmla="*/ 471883 h 3980066"/>
                <a:gd name="connsiteX9174" fmla="*/ 2806137 w 8387961"/>
                <a:gd name="connsiteY9174" fmla="*/ 475229 h 3980066"/>
                <a:gd name="connsiteX9175" fmla="*/ 2811157 w 8387961"/>
                <a:gd name="connsiteY9175" fmla="*/ 478576 h 3980066"/>
                <a:gd name="connsiteX9176" fmla="*/ 2796095 w 8387961"/>
                <a:gd name="connsiteY9176" fmla="*/ 480249 h 3980066"/>
                <a:gd name="connsiteX9177" fmla="*/ 2781033 w 8387961"/>
                <a:gd name="connsiteY9177" fmla="*/ 485269 h 3980066"/>
                <a:gd name="connsiteX9178" fmla="*/ 2787727 w 8387961"/>
                <a:gd name="connsiteY9178" fmla="*/ 493636 h 3980066"/>
                <a:gd name="connsiteX9179" fmla="*/ 2784380 w 8387961"/>
                <a:gd name="connsiteY9179" fmla="*/ 493636 h 3980066"/>
                <a:gd name="connsiteX9180" fmla="*/ 2791075 w 8387961"/>
                <a:gd name="connsiteY9180" fmla="*/ 502002 h 3980066"/>
                <a:gd name="connsiteX9181" fmla="*/ 2787727 w 8387961"/>
                <a:gd name="connsiteY9181" fmla="*/ 503676 h 3980066"/>
                <a:gd name="connsiteX9182" fmla="*/ 2781033 w 8387961"/>
                <a:gd name="connsiteY9182" fmla="*/ 512042 h 3980066"/>
                <a:gd name="connsiteX9183" fmla="*/ 2782707 w 8387961"/>
                <a:gd name="connsiteY9183" fmla="*/ 515389 h 3980066"/>
                <a:gd name="connsiteX9184" fmla="*/ 2772665 w 8387961"/>
                <a:gd name="connsiteY9184" fmla="*/ 518736 h 3980066"/>
                <a:gd name="connsiteX9185" fmla="*/ 2776012 w 8387961"/>
                <a:gd name="connsiteY9185" fmla="*/ 522082 h 3980066"/>
                <a:gd name="connsiteX9186" fmla="*/ 2770992 w 8387961"/>
                <a:gd name="connsiteY9186" fmla="*/ 523756 h 3980066"/>
                <a:gd name="connsiteX9187" fmla="*/ 2770992 w 8387961"/>
                <a:gd name="connsiteY9187" fmla="*/ 525430 h 3980066"/>
                <a:gd name="connsiteX9188" fmla="*/ 2770992 w 8387961"/>
                <a:gd name="connsiteY9188" fmla="*/ 530449 h 3980066"/>
                <a:gd name="connsiteX9189" fmla="*/ 2757603 w 8387961"/>
                <a:gd name="connsiteY9189" fmla="*/ 530449 h 3980066"/>
                <a:gd name="connsiteX9190" fmla="*/ 2770992 w 8387961"/>
                <a:gd name="connsiteY9190" fmla="*/ 533796 h 3980066"/>
                <a:gd name="connsiteX9191" fmla="*/ 2757603 w 8387961"/>
                <a:gd name="connsiteY9191" fmla="*/ 533796 h 3980066"/>
                <a:gd name="connsiteX9192" fmla="*/ 2760950 w 8387961"/>
                <a:gd name="connsiteY9192" fmla="*/ 535470 h 3980066"/>
                <a:gd name="connsiteX9193" fmla="*/ 2757603 w 8387961"/>
                <a:gd name="connsiteY9193" fmla="*/ 538816 h 3980066"/>
                <a:gd name="connsiteX9194" fmla="*/ 2762624 w 8387961"/>
                <a:gd name="connsiteY9194" fmla="*/ 542162 h 3980066"/>
                <a:gd name="connsiteX9195" fmla="*/ 2757603 w 8387961"/>
                <a:gd name="connsiteY9195" fmla="*/ 543836 h 3980066"/>
                <a:gd name="connsiteX9196" fmla="*/ 2735847 w 8387961"/>
                <a:gd name="connsiteY9196" fmla="*/ 542162 h 3980066"/>
                <a:gd name="connsiteX9197" fmla="*/ 2750909 w 8387961"/>
                <a:gd name="connsiteY9197" fmla="*/ 548856 h 3980066"/>
                <a:gd name="connsiteX9198" fmla="*/ 2754256 w 8387961"/>
                <a:gd name="connsiteY9198" fmla="*/ 552203 h 3980066"/>
                <a:gd name="connsiteX9199" fmla="*/ 2752582 w 8387961"/>
                <a:gd name="connsiteY9199" fmla="*/ 555549 h 3980066"/>
                <a:gd name="connsiteX9200" fmla="*/ 2735847 w 8387961"/>
                <a:gd name="connsiteY9200" fmla="*/ 550529 h 3980066"/>
                <a:gd name="connsiteX9201" fmla="*/ 2717437 w 8387961"/>
                <a:gd name="connsiteY9201" fmla="*/ 558896 h 3980066"/>
                <a:gd name="connsiteX9202" fmla="*/ 2714090 w 8387961"/>
                <a:gd name="connsiteY9202" fmla="*/ 553876 h 3980066"/>
                <a:gd name="connsiteX9203" fmla="*/ 2725805 w 8387961"/>
                <a:gd name="connsiteY9203" fmla="*/ 545509 h 3980066"/>
                <a:gd name="connsiteX9204" fmla="*/ 2714090 w 8387961"/>
                <a:gd name="connsiteY9204" fmla="*/ 552203 h 3980066"/>
                <a:gd name="connsiteX9205" fmla="*/ 2722458 w 8387961"/>
                <a:gd name="connsiteY9205" fmla="*/ 542162 h 3980066"/>
                <a:gd name="connsiteX9206" fmla="*/ 2714090 w 8387961"/>
                <a:gd name="connsiteY9206" fmla="*/ 543836 h 3980066"/>
                <a:gd name="connsiteX9207" fmla="*/ 2715764 w 8387961"/>
                <a:gd name="connsiteY9207" fmla="*/ 540489 h 3980066"/>
                <a:gd name="connsiteX9208" fmla="*/ 2704049 w 8387961"/>
                <a:gd name="connsiteY9208" fmla="*/ 542162 h 3980066"/>
                <a:gd name="connsiteX9209" fmla="*/ 2712417 w 8387961"/>
                <a:gd name="connsiteY9209" fmla="*/ 533796 h 3980066"/>
                <a:gd name="connsiteX9210" fmla="*/ 2702375 w 8387961"/>
                <a:gd name="connsiteY9210" fmla="*/ 535470 h 3980066"/>
                <a:gd name="connsiteX9211" fmla="*/ 2715764 w 8387961"/>
                <a:gd name="connsiteY9211" fmla="*/ 525430 h 3980066"/>
                <a:gd name="connsiteX9212" fmla="*/ 2705722 w 8387961"/>
                <a:gd name="connsiteY9212" fmla="*/ 530449 h 3980066"/>
                <a:gd name="connsiteX9213" fmla="*/ 2705722 w 8387961"/>
                <a:gd name="connsiteY9213" fmla="*/ 525430 h 3980066"/>
                <a:gd name="connsiteX9214" fmla="*/ 2682292 w 8387961"/>
                <a:gd name="connsiteY9214" fmla="*/ 533796 h 3980066"/>
                <a:gd name="connsiteX9215" fmla="*/ 2667230 w 8387961"/>
                <a:gd name="connsiteY9215" fmla="*/ 535470 h 3980066"/>
                <a:gd name="connsiteX9216" fmla="*/ 2660536 w 8387961"/>
                <a:gd name="connsiteY9216" fmla="*/ 533796 h 3980066"/>
                <a:gd name="connsiteX9217" fmla="*/ 2660536 w 8387961"/>
                <a:gd name="connsiteY9217" fmla="*/ 532122 h 3980066"/>
                <a:gd name="connsiteX9218" fmla="*/ 2657189 w 8387961"/>
                <a:gd name="connsiteY9218" fmla="*/ 532122 h 3980066"/>
                <a:gd name="connsiteX9219" fmla="*/ 2662209 w 8387961"/>
                <a:gd name="connsiteY9219" fmla="*/ 530449 h 3980066"/>
                <a:gd name="connsiteX9220" fmla="*/ 2660536 w 8387961"/>
                <a:gd name="connsiteY9220" fmla="*/ 523756 h 3980066"/>
                <a:gd name="connsiteX9221" fmla="*/ 2650494 w 8387961"/>
                <a:gd name="connsiteY9221" fmla="*/ 525430 h 3980066"/>
                <a:gd name="connsiteX9222" fmla="*/ 2652168 w 8387961"/>
                <a:gd name="connsiteY9222" fmla="*/ 520409 h 3980066"/>
                <a:gd name="connsiteX9223" fmla="*/ 2650494 w 8387961"/>
                <a:gd name="connsiteY9223" fmla="*/ 520409 h 3980066"/>
                <a:gd name="connsiteX9224" fmla="*/ 2653842 w 8387961"/>
                <a:gd name="connsiteY9224" fmla="*/ 515389 h 3980066"/>
                <a:gd name="connsiteX9225" fmla="*/ 2643800 w 8387961"/>
                <a:gd name="connsiteY9225" fmla="*/ 515389 h 3980066"/>
                <a:gd name="connsiteX9226" fmla="*/ 2652168 w 8387961"/>
                <a:gd name="connsiteY9226" fmla="*/ 513716 h 3980066"/>
                <a:gd name="connsiteX9227" fmla="*/ 2647147 w 8387961"/>
                <a:gd name="connsiteY9227" fmla="*/ 512042 h 3980066"/>
                <a:gd name="connsiteX9228" fmla="*/ 2650494 w 8387961"/>
                <a:gd name="connsiteY9228" fmla="*/ 505349 h 3980066"/>
                <a:gd name="connsiteX9229" fmla="*/ 2643800 w 8387961"/>
                <a:gd name="connsiteY9229" fmla="*/ 508696 h 3980066"/>
                <a:gd name="connsiteX9230" fmla="*/ 2647147 w 8387961"/>
                <a:gd name="connsiteY9230" fmla="*/ 502002 h 3980066"/>
                <a:gd name="connsiteX9231" fmla="*/ 2637106 w 8387961"/>
                <a:gd name="connsiteY9231" fmla="*/ 502002 h 3980066"/>
                <a:gd name="connsiteX9232" fmla="*/ 2640453 w 8387961"/>
                <a:gd name="connsiteY9232" fmla="*/ 498656 h 3980066"/>
                <a:gd name="connsiteX9233" fmla="*/ 2630411 w 8387961"/>
                <a:gd name="connsiteY9233" fmla="*/ 488616 h 3980066"/>
                <a:gd name="connsiteX9234" fmla="*/ 2633759 w 8387961"/>
                <a:gd name="connsiteY9234" fmla="*/ 483596 h 3980066"/>
                <a:gd name="connsiteX9235" fmla="*/ 2640453 w 8387961"/>
                <a:gd name="connsiteY9235" fmla="*/ 478576 h 3980066"/>
                <a:gd name="connsiteX9236" fmla="*/ 2632085 w 8387961"/>
                <a:gd name="connsiteY9236" fmla="*/ 480249 h 3980066"/>
                <a:gd name="connsiteX9237" fmla="*/ 2633759 w 8387961"/>
                <a:gd name="connsiteY9237" fmla="*/ 473556 h 3980066"/>
                <a:gd name="connsiteX9238" fmla="*/ 2620370 w 8387961"/>
                <a:gd name="connsiteY9238" fmla="*/ 470209 h 3980066"/>
                <a:gd name="connsiteX9239" fmla="*/ 2632085 w 8387961"/>
                <a:gd name="connsiteY9239" fmla="*/ 468535 h 3980066"/>
                <a:gd name="connsiteX9240" fmla="*/ 2620370 w 8387961"/>
                <a:gd name="connsiteY9240" fmla="*/ 465189 h 3980066"/>
                <a:gd name="connsiteX9241" fmla="*/ 2622044 w 8387961"/>
                <a:gd name="connsiteY9241" fmla="*/ 463516 h 3980066"/>
                <a:gd name="connsiteX9242" fmla="*/ 2627064 w 8387961"/>
                <a:gd name="connsiteY9242" fmla="*/ 460169 h 3980066"/>
                <a:gd name="connsiteX9243" fmla="*/ 2617023 w 8387961"/>
                <a:gd name="connsiteY9243" fmla="*/ 461843 h 3980066"/>
                <a:gd name="connsiteX9244" fmla="*/ 2625391 w 8387961"/>
                <a:gd name="connsiteY9244" fmla="*/ 453476 h 3980066"/>
                <a:gd name="connsiteX9245" fmla="*/ 2615349 w 8387961"/>
                <a:gd name="connsiteY9245" fmla="*/ 450129 h 3980066"/>
                <a:gd name="connsiteX9246" fmla="*/ 2647147 w 8387961"/>
                <a:gd name="connsiteY9246" fmla="*/ 443436 h 3980066"/>
                <a:gd name="connsiteX9247" fmla="*/ 2642127 w 8387961"/>
                <a:gd name="connsiteY9247" fmla="*/ 443436 h 3980066"/>
                <a:gd name="connsiteX9248" fmla="*/ 2622044 w 8387961"/>
                <a:gd name="connsiteY9248" fmla="*/ 445109 h 3980066"/>
                <a:gd name="connsiteX9249" fmla="*/ 2645474 w 8387961"/>
                <a:gd name="connsiteY9249" fmla="*/ 440089 h 3980066"/>
                <a:gd name="connsiteX9250" fmla="*/ 2643800 w 8387961"/>
                <a:gd name="connsiteY9250" fmla="*/ 433395 h 3980066"/>
                <a:gd name="connsiteX9251" fmla="*/ 2657189 w 8387961"/>
                <a:gd name="connsiteY9251" fmla="*/ 440089 h 3980066"/>
                <a:gd name="connsiteX9252" fmla="*/ 2653842 w 8387961"/>
                <a:gd name="connsiteY9252" fmla="*/ 428376 h 3980066"/>
                <a:gd name="connsiteX9253" fmla="*/ 2645474 w 8387961"/>
                <a:gd name="connsiteY9253" fmla="*/ 425029 h 3980066"/>
                <a:gd name="connsiteX9254" fmla="*/ 2642127 w 8387961"/>
                <a:gd name="connsiteY9254" fmla="*/ 418336 h 3980066"/>
                <a:gd name="connsiteX9255" fmla="*/ 2637106 w 8387961"/>
                <a:gd name="connsiteY9255" fmla="*/ 431722 h 3980066"/>
                <a:gd name="connsiteX9256" fmla="*/ 2625391 w 8387961"/>
                <a:gd name="connsiteY9256" fmla="*/ 438416 h 3980066"/>
                <a:gd name="connsiteX9257" fmla="*/ 2610329 w 8387961"/>
                <a:gd name="connsiteY9257" fmla="*/ 441762 h 3980066"/>
                <a:gd name="connsiteX9258" fmla="*/ 2622044 w 8387961"/>
                <a:gd name="connsiteY9258" fmla="*/ 428376 h 3980066"/>
                <a:gd name="connsiteX9259" fmla="*/ 2632085 w 8387961"/>
                <a:gd name="connsiteY9259" fmla="*/ 423355 h 3980066"/>
                <a:gd name="connsiteX9260" fmla="*/ 2613676 w 8387961"/>
                <a:gd name="connsiteY9260" fmla="*/ 425029 h 3980066"/>
                <a:gd name="connsiteX9261" fmla="*/ 2615349 w 8387961"/>
                <a:gd name="connsiteY9261" fmla="*/ 420009 h 3980066"/>
                <a:gd name="connsiteX9262" fmla="*/ 2625391 w 8387961"/>
                <a:gd name="connsiteY9262" fmla="*/ 411642 h 3980066"/>
                <a:gd name="connsiteX9263" fmla="*/ 2652168 w 8387961"/>
                <a:gd name="connsiteY9263" fmla="*/ 404949 h 3980066"/>
                <a:gd name="connsiteX9264" fmla="*/ 2627064 w 8387961"/>
                <a:gd name="connsiteY9264" fmla="*/ 409969 h 3980066"/>
                <a:gd name="connsiteX9265" fmla="*/ 2613676 w 8387961"/>
                <a:gd name="connsiteY9265" fmla="*/ 409969 h 3980066"/>
                <a:gd name="connsiteX9266" fmla="*/ 2610329 w 8387961"/>
                <a:gd name="connsiteY9266" fmla="*/ 408296 h 3980066"/>
                <a:gd name="connsiteX9267" fmla="*/ 2606981 w 8387961"/>
                <a:gd name="connsiteY9267" fmla="*/ 403275 h 3980066"/>
                <a:gd name="connsiteX9268" fmla="*/ 2635432 w 8387961"/>
                <a:gd name="connsiteY9268" fmla="*/ 394908 h 3980066"/>
                <a:gd name="connsiteX9269" fmla="*/ 2603634 w 8387961"/>
                <a:gd name="connsiteY9269" fmla="*/ 399929 h 3980066"/>
                <a:gd name="connsiteX9270" fmla="*/ 2612002 w 8387961"/>
                <a:gd name="connsiteY9270" fmla="*/ 398256 h 3980066"/>
                <a:gd name="connsiteX9271" fmla="*/ 2603634 w 8387961"/>
                <a:gd name="connsiteY9271" fmla="*/ 398256 h 3980066"/>
                <a:gd name="connsiteX9272" fmla="*/ 2665557 w 8387961"/>
                <a:gd name="connsiteY9272" fmla="*/ 374829 h 3980066"/>
                <a:gd name="connsiteX9273" fmla="*/ 2675598 w 8387961"/>
                <a:gd name="connsiteY9273" fmla="*/ 371482 h 3980066"/>
                <a:gd name="connsiteX9274" fmla="*/ 2640453 w 8387961"/>
                <a:gd name="connsiteY9274" fmla="*/ 381522 h 3980066"/>
                <a:gd name="connsiteX9275" fmla="*/ 2603634 w 8387961"/>
                <a:gd name="connsiteY9275" fmla="*/ 391562 h 3980066"/>
                <a:gd name="connsiteX9276" fmla="*/ 2606981 w 8387961"/>
                <a:gd name="connsiteY9276" fmla="*/ 384869 h 3980066"/>
                <a:gd name="connsiteX9277" fmla="*/ 2625391 w 8387961"/>
                <a:gd name="connsiteY9277" fmla="*/ 383195 h 3980066"/>
                <a:gd name="connsiteX9278" fmla="*/ 2613676 w 8387961"/>
                <a:gd name="connsiteY9278" fmla="*/ 379849 h 3980066"/>
                <a:gd name="connsiteX9279" fmla="*/ 2620370 w 8387961"/>
                <a:gd name="connsiteY9279" fmla="*/ 379849 h 3980066"/>
                <a:gd name="connsiteX9280" fmla="*/ 2622044 w 8387961"/>
                <a:gd name="connsiteY9280" fmla="*/ 378175 h 3980066"/>
                <a:gd name="connsiteX9281" fmla="*/ 2632085 w 8387961"/>
                <a:gd name="connsiteY9281" fmla="*/ 373155 h 3980066"/>
                <a:gd name="connsiteX9282" fmla="*/ 2613676 w 8387961"/>
                <a:gd name="connsiteY9282" fmla="*/ 371482 h 3980066"/>
                <a:gd name="connsiteX9283" fmla="*/ 2606981 w 8387961"/>
                <a:gd name="connsiteY9283" fmla="*/ 368135 h 3980066"/>
                <a:gd name="connsiteX9284" fmla="*/ 2655515 w 8387961"/>
                <a:gd name="connsiteY9284" fmla="*/ 364789 h 3980066"/>
                <a:gd name="connsiteX9285" fmla="*/ 2667230 w 8387961"/>
                <a:gd name="connsiteY9285" fmla="*/ 368135 h 3980066"/>
                <a:gd name="connsiteX9286" fmla="*/ 2655515 w 8387961"/>
                <a:gd name="connsiteY9286" fmla="*/ 363115 h 3980066"/>
                <a:gd name="connsiteX9287" fmla="*/ 2610329 w 8387961"/>
                <a:gd name="connsiteY9287" fmla="*/ 363115 h 3980066"/>
                <a:gd name="connsiteX9288" fmla="*/ 2643800 w 8387961"/>
                <a:gd name="connsiteY9288" fmla="*/ 353076 h 3980066"/>
                <a:gd name="connsiteX9289" fmla="*/ 2680619 w 8387961"/>
                <a:gd name="connsiteY9289" fmla="*/ 359768 h 3980066"/>
                <a:gd name="connsiteX9290" fmla="*/ 2675598 w 8387961"/>
                <a:gd name="connsiteY9290" fmla="*/ 354749 h 3980066"/>
                <a:gd name="connsiteX9291" fmla="*/ 2683966 w 8387961"/>
                <a:gd name="connsiteY9291" fmla="*/ 353076 h 3980066"/>
                <a:gd name="connsiteX9292" fmla="*/ 2670577 w 8387961"/>
                <a:gd name="connsiteY9292" fmla="*/ 353076 h 3980066"/>
                <a:gd name="connsiteX9293" fmla="*/ 2680619 w 8387961"/>
                <a:gd name="connsiteY9293" fmla="*/ 349728 h 3980066"/>
                <a:gd name="connsiteX9294" fmla="*/ 2672251 w 8387961"/>
                <a:gd name="connsiteY9294" fmla="*/ 349728 h 3980066"/>
                <a:gd name="connsiteX9295" fmla="*/ 2662209 w 8387961"/>
                <a:gd name="connsiteY9295" fmla="*/ 351403 h 3980066"/>
                <a:gd name="connsiteX9296" fmla="*/ 2652092 w 8387961"/>
                <a:gd name="connsiteY9296" fmla="*/ 349957 h 3980066"/>
                <a:gd name="connsiteX9297" fmla="*/ 2653842 w 8387961"/>
                <a:gd name="connsiteY9297" fmla="*/ 349728 h 3980066"/>
                <a:gd name="connsiteX9298" fmla="*/ 2650494 w 8387961"/>
                <a:gd name="connsiteY9298" fmla="*/ 349728 h 3980066"/>
                <a:gd name="connsiteX9299" fmla="*/ 2652092 w 8387961"/>
                <a:gd name="connsiteY9299" fmla="*/ 349957 h 3980066"/>
                <a:gd name="connsiteX9300" fmla="*/ 2615349 w 8387961"/>
                <a:gd name="connsiteY9300" fmla="*/ 354749 h 3980066"/>
                <a:gd name="connsiteX9301" fmla="*/ 2630411 w 8387961"/>
                <a:gd name="connsiteY9301" fmla="*/ 344709 h 3980066"/>
                <a:gd name="connsiteX9302" fmla="*/ 2650494 w 8387961"/>
                <a:gd name="connsiteY9302" fmla="*/ 348055 h 3980066"/>
                <a:gd name="connsiteX9303" fmla="*/ 2633759 w 8387961"/>
                <a:gd name="connsiteY9303" fmla="*/ 341362 h 3980066"/>
                <a:gd name="connsiteX9304" fmla="*/ 2642127 w 8387961"/>
                <a:gd name="connsiteY9304" fmla="*/ 341362 h 3980066"/>
                <a:gd name="connsiteX9305" fmla="*/ 2682292 w 8387961"/>
                <a:gd name="connsiteY9305" fmla="*/ 348055 h 3980066"/>
                <a:gd name="connsiteX9306" fmla="*/ 2673924 w 8387961"/>
                <a:gd name="connsiteY9306" fmla="*/ 341362 h 3980066"/>
                <a:gd name="connsiteX9307" fmla="*/ 2682292 w 8387961"/>
                <a:gd name="connsiteY9307" fmla="*/ 332996 h 3980066"/>
                <a:gd name="connsiteX9308" fmla="*/ 2672251 w 8387961"/>
                <a:gd name="connsiteY9308" fmla="*/ 338015 h 3980066"/>
                <a:gd name="connsiteX9309" fmla="*/ 2642127 w 8387961"/>
                <a:gd name="connsiteY9309" fmla="*/ 341362 h 3980066"/>
                <a:gd name="connsiteX9310" fmla="*/ 2637106 w 8387961"/>
                <a:gd name="connsiteY9310" fmla="*/ 338015 h 3980066"/>
                <a:gd name="connsiteX9311" fmla="*/ 2687313 w 8387961"/>
                <a:gd name="connsiteY9311" fmla="*/ 324629 h 3980066"/>
                <a:gd name="connsiteX9312" fmla="*/ 2680619 w 8387961"/>
                <a:gd name="connsiteY9312" fmla="*/ 322955 h 3980066"/>
                <a:gd name="connsiteX9313" fmla="*/ 2690660 w 8387961"/>
                <a:gd name="connsiteY9313" fmla="*/ 317935 h 3980066"/>
                <a:gd name="connsiteX9314" fmla="*/ 2700702 w 8387961"/>
                <a:gd name="connsiteY9314" fmla="*/ 321282 h 3980066"/>
                <a:gd name="connsiteX9315" fmla="*/ 2700702 w 8387961"/>
                <a:gd name="connsiteY9315" fmla="*/ 317935 h 3980066"/>
                <a:gd name="connsiteX9316" fmla="*/ 2694007 w 8387961"/>
                <a:gd name="connsiteY9316" fmla="*/ 314588 h 3980066"/>
                <a:gd name="connsiteX9317" fmla="*/ 2690660 w 8387961"/>
                <a:gd name="connsiteY9317" fmla="*/ 311242 h 3980066"/>
                <a:gd name="connsiteX9318" fmla="*/ 2697354 w 8387961"/>
                <a:gd name="connsiteY9318" fmla="*/ 307895 h 3980066"/>
                <a:gd name="connsiteX9319" fmla="*/ 2695681 w 8387961"/>
                <a:gd name="connsiteY9319" fmla="*/ 302875 h 3980066"/>
                <a:gd name="connsiteX9320" fmla="*/ 2705722 w 8387961"/>
                <a:gd name="connsiteY9320" fmla="*/ 297855 h 3980066"/>
                <a:gd name="connsiteX9321" fmla="*/ 2642127 w 8387961"/>
                <a:gd name="connsiteY9321" fmla="*/ 282795 h 3980066"/>
                <a:gd name="connsiteX9322" fmla="*/ 2645474 w 8387961"/>
                <a:gd name="connsiteY9322" fmla="*/ 274428 h 3980066"/>
                <a:gd name="connsiteX9323" fmla="*/ 2705722 w 8387961"/>
                <a:gd name="connsiteY9323" fmla="*/ 284468 h 3980066"/>
                <a:gd name="connsiteX9324" fmla="*/ 2704049 w 8387961"/>
                <a:gd name="connsiteY9324" fmla="*/ 281122 h 3980066"/>
                <a:gd name="connsiteX9325" fmla="*/ 2704049 w 8387961"/>
                <a:gd name="connsiteY9325" fmla="*/ 274428 h 3980066"/>
                <a:gd name="connsiteX9326" fmla="*/ 2705722 w 8387961"/>
                <a:gd name="connsiteY9326" fmla="*/ 274428 h 3980066"/>
                <a:gd name="connsiteX9327" fmla="*/ 2692334 w 8387961"/>
                <a:gd name="connsiteY9327" fmla="*/ 269409 h 3980066"/>
                <a:gd name="connsiteX9328" fmla="*/ 2704049 w 8387961"/>
                <a:gd name="connsiteY9328" fmla="*/ 271082 h 3980066"/>
                <a:gd name="connsiteX9329" fmla="*/ 2690660 w 8387961"/>
                <a:gd name="connsiteY9329" fmla="*/ 264388 h 3980066"/>
                <a:gd name="connsiteX9330" fmla="*/ 2695681 w 8387961"/>
                <a:gd name="connsiteY9330" fmla="*/ 262715 h 3980066"/>
                <a:gd name="connsiteX9331" fmla="*/ 2685639 w 8387961"/>
                <a:gd name="connsiteY9331" fmla="*/ 264388 h 3980066"/>
                <a:gd name="connsiteX9332" fmla="*/ 2700702 w 8387961"/>
                <a:gd name="connsiteY9332" fmla="*/ 259368 h 3980066"/>
                <a:gd name="connsiteX9333" fmla="*/ 2682292 w 8387961"/>
                <a:gd name="connsiteY9333" fmla="*/ 259368 h 3980066"/>
                <a:gd name="connsiteX9334" fmla="*/ 2700702 w 8387961"/>
                <a:gd name="connsiteY9334" fmla="*/ 254348 h 3980066"/>
                <a:gd name="connsiteX9335" fmla="*/ 2682292 w 8387961"/>
                <a:gd name="connsiteY9335" fmla="*/ 251002 h 3980066"/>
                <a:gd name="connsiteX9336" fmla="*/ 2685639 w 8387961"/>
                <a:gd name="connsiteY9336" fmla="*/ 247655 h 3980066"/>
                <a:gd name="connsiteX9337" fmla="*/ 2673924 w 8387961"/>
                <a:gd name="connsiteY9337" fmla="*/ 251002 h 3980066"/>
                <a:gd name="connsiteX9338" fmla="*/ 2672251 w 8387961"/>
                <a:gd name="connsiteY9338" fmla="*/ 237615 h 3980066"/>
                <a:gd name="connsiteX9339" fmla="*/ 2660536 w 8387961"/>
                <a:gd name="connsiteY9339" fmla="*/ 254348 h 3980066"/>
                <a:gd name="connsiteX9340" fmla="*/ 2637106 w 8387961"/>
                <a:gd name="connsiteY9340" fmla="*/ 261042 h 3980066"/>
                <a:gd name="connsiteX9341" fmla="*/ 2627064 w 8387961"/>
                <a:gd name="connsiteY9341" fmla="*/ 252675 h 3980066"/>
                <a:gd name="connsiteX9342" fmla="*/ 2652168 w 8387961"/>
                <a:gd name="connsiteY9342" fmla="*/ 244308 h 3980066"/>
                <a:gd name="connsiteX9343" fmla="*/ 2640453 w 8387961"/>
                <a:gd name="connsiteY9343" fmla="*/ 244308 h 3980066"/>
                <a:gd name="connsiteX9344" fmla="*/ 2645474 w 8387961"/>
                <a:gd name="connsiteY9344" fmla="*/ 237615 h 3980066"/>
                <a:gd name="connsiteX9345" fmla="*/ 2655515 w 8387961"/>
                <a:gd name="connsiteY9345" fmla="*/ 232594 h 3980066"/>
                <a:gd name="connsiteX9346" fmla="*/ 2660536 w 8387961"/>
                <a:gd name="connsiteY9346" fmla="*/ 220881 h 3980066"/>
                <a:gd name="connsiteX9347" fmla="*/ 2653842 w 8387961"/>
                <a:gd name="connsiteY9347" fmla="*/ 217535 h 3980066"/>
                <a:gd name="connsiteX9348" fmla="*/ 2655515 w 8387961"/>
                <a:gd name="connsiteY9348" fmla="*/ 210841 h 3980066"/>
                <a:gd name="connsiteX9349" fmla="*/ 2653842 w 8387961"/>
                <a:gd name="connsiteY9349" fmla="*/ 202474 h 3980066"/>
                <a:gd name="connsiteX9350" fmla="*/ 2653842 w 8387961"/>
                <a:gd name="connsiteY9350" fmla="*/ 192435 h 3980066"/>
                <a:gd name="connsiteX9351" fmla="*/ 2640453 w 8387961"/>
                <a:gd name="connsiteY9351" fmla="*/ 192435 h 3980066"/>
                <a:gd name="connsiteX9352" fmla="*/ 2647147 w 8387961"/>
                <a:gd name="connsiteY9352" fmla="*/ 189088 h 3980066"/>
                <a:gd name="connsiteX9353" fmla="*/ 2653842 w 8387961"/>
                <a:gd name="connsiteY9353" fmla="*/ 182395 h 3980066"/>
                <a:gd name="connsiteX9354" fmla="*/ 2647147 w 8387961"/>
                <a:gd name="connsiteY9354" fmla="*/ 177374 h 3980066"/>
                <a:gd name="connsiteX9355" fmla="*/ 2630411 w 8387961"/>
                <a:gd name="connsiteY9355" fmla="*/ 167334 h 3980066"/>
                <a:gd name="connsiteX9356" fmla="*/ 2635432 w 8387961"/>
                <a:gd name="connsiteY9356" fmla="*/ 158967 h 3980066"/>
                <a:gd name="connsiteX9357" fmla="*/ 2556774 w 8387961"/>
                <a:gd name="connsiteY9357" fmla="*/ 143908 h 3980066"/>
                <a:gd name="connsiteX9358" fmla="*/ 2543386 w 8387961"/>
                <a:gd name="connsiteY9358" fmla="*/ 143908 h 3980066"/>
                <a:gd name="connsiteX9359" fmla="*/ 2513261 w 8387961"/>
                <a:gd name="connsiteY9359" fmla="*/ 148928 h 3980066"/>
                <a:gd name="connsiteX9360" fmla="*/ 2503220 w 8387961"/>
                <a:gd name="connsiteY9360" fmla="*/ 148928 h 3980066"/>
                <a:gd name="connsiteX9361" fmla="*/ 2491505 w 8387961"/>
                <a:gd name="connsiteY9361" fmla="*/ 148928 h 3980066"/>
                <a:gd name="connsiteX9362" fmla="*/ 2496526 w 8387961"/>
                <a:gd name="connsiteY9362" fmla="*/ 152275 h 3980066"/>
                <a:gd name="connsiteX9363" fmla="*/ 2453013 w 8387961"/>
                <a:gd name="connsiteY9363" fmla="*/ 142235 h 3980066"/>
                <a:gd name="connsiteX9364" fmla="*/ 2473096 w 8387961"/>
                <a:gd name="connsiteY9364" fmla="*/ 137214 h 3980066"/>
                <a:gd name="connsiteX9365" fmla="*/ 2454686 w 8387961"/>
                <a:gd name="connsiteY9365" fmla="*/ 130521 h 3980066"/>
                <a:gd name="connsiteX9366" fmla="*/ 2432930 w 8387961"/>
                <a:gd name="connsiteY9366" fmla="*/ 128848 h 3980066"/>
                <a:gd name="connsiteX9367" fmla="*/ 2491136 w 8387961"/>
                <a:gd name="connsiteY9367" fmla="*/ 124253 h 3980066"/>
                <a:gd name="connsiteX9368" fmla="*/ 2511588 w 8387961"/>
                <a:gd name="connsiteY9368" fmla="*/ 127174 h 3980066"/>
                <a:gd name="connsiteX9369" fmla="*/ 2496526 w 8387961"/>
                <a:gd name="connsiteY9369" fmla="*/ 123828 h 3980066"/>
                <a:gd name="connsiteX9370" fmla="*/ 2491136 w 8387961"/>
                <a:gd name="connsiteY9370" fmla="*/ 124253 h 3980066"/>
                <a:gd name="connsiteX9371" fmla="*/ 2476443 w 8387961"/>
                <a:gd name="connsiteY9371" fmla="*/ 122154 h 3980066"/>
                <a:gd name="connsiteX9372" fmla="*/ 2521629 w 8387961"/>
                <a:gd name="connsiteY9372" fmla="*/ 122154 h 3980066"/>
                <a:gd name="connsiteX9373" fmla="*/ 2526650 w 8387961"/>
                <a:gd name="connsiteY9373" fmla="*/ 113787 h 3980066"/>
                <a:gd name="connsiteX9374" fmla="*/ 2489831 w 8387961"/>
                <a:gd name="connsiteY9374" fmla="*/ 118808 h 3980066"/>
                <a:gd name="connsiteX9375" fmla="*/ 2463054 w 8387961"/>
                <a:gd name="connsiteY9375" fmla="*/ 117134 h 3980066"/>
                <a:gd name="connsiteX9376" fmla="*/ 2464728 w 8387961"/>
                <a:gd name="connsiteY9376" fmla="*/ 113787 h 3980066"/>
                <a:gd name="connsiteX9377" fmla="*/ 2471422 w 8387961"/>
                <a:gd name="connsiteY9377" fmla="*/ 110441 h 3980066"/>
                <a:gd name="connsiteX9378" fmla="*/ 2434603 w 8387961"/>
                <a:gd name="connsiteY9378" fmla="*/ 107094 h 3980066"/>
                <a:gd name="connsiteX9379" fmla="*/ 2434603 w 8387961"/>
                <a:gd name="connsiteY9379" fmla="*/ 100401 h 3980066"/>
                <a:gd name="connsiteX9380" fmla="*/ 2441298 w 8387961"/>
                <a:gd name="connsiteY9380" fmla="*/ 97054 h 3980066"/>
                <a:gd name="connsiteX9381" fmla="*/ 2509914 w 8387961"/>
                <a:gd name="connsiteY9381" fmla="*/ 87015 h 3980066"/>
                <a:gd name="connsiteX9382" fmla="*/ 2573510 w 8387961"/>
                <a:gd name="connsiteY9382" fmla="*/ 78648 h 3980066"/>
                <a:gd name="connsiteX9383" fmla="*/ 2591919 w 8387961"/>
                <a:gd name="connsiteY9383" fmla="*/ 68608 h 3980066"/>
                <a:gd name="connsiteX9384" fmla="*/ 2595266 w 8387961"/>
                <a:gd name="connsiteY9384" fmla="*/ 61914 h 3980066"/>
                <a:gd name="connsiteX9385" fmla="*/ 2610329 w 8387961"/>
                <a:gd name="connsiteY9385" fmla="*/ 60241 h 3980066"/>
                <a:gd name="connsiteX9386" fmla="*/ 2556774 w 8387961"/>
                <a:gd name="connsiteY9386" fmla="*/ 58567 h 3980066"/>
                <a:gd name="connsiteX9387" fmla="*/ 2640453 w 8387961"/>
                <a:gd name="connsiteY9387" fmla="*/ 41834 h 3980066"/>
                <a:gd name="connsiteX9388" fmla="*/ 2643800 w 8387961"/>
                <a:gd name="connsiteY9388" fmla="*/ 46854 h 3980066"/>
                <a:gd name="connsiteX9389" fmla="*/ 2647147 w 8387961"/>
                <a:gd name="connsiteY9389" fmla="*/ 40160 h 3980066"/>
                <a:gd name="connsiteX9390" fmla="*/ 2680619 w 8387961"/>
                <a:gd name="connsiteY9390" fmla="*/ 40160 h 3980066"/>
                <a:gd name="connsiteX9391" fmla="*/ 2685639 w 8387961"/>
                <a:gd name="connsiteY9391" fmla="*/ 33467 h 3980066"/>
                <a:gd name="connsiteX9392" fmla="*/ 2685639 w 8387961"/>
                <a:gd name="connsiteY9392" fmla="*/ 30120 h 3980066"/>
                <a:gd name="connsiteX9393" fmla="*/ 2725805 w 8387961"/>
                <a:gd name="connsiteY9393" fmla="*/ 31794 h 3980066"/>
                <a:gd name="connsiteX9394" fmla="*/ 2747562 w 8387961"/>
                <a:gd name="connsiteY9394" fmla="*/ 36814 h 3980066"/>
                <a:gd name="connsiteX9395" fmla="*/ 2722458 w 8387961"/>
                <a:gd name="connsiteY9395" fmla="*/ 26774 h 3980066"/>
                <a:gd name="connsiteX9396" fmla="*/ 2807810 w 8387961"/>
                <a:gd name="connsiteY9396" fmla="*/ 21754 h 3980066"/>
                <a:gd name="connsiteX9397" fmla="*/ 2802790 w 8387961"/>
                <a:gd name="connsiteY9397" fmla="*/ 33467 h 3980066"/>
                <a:gd name="connsiteX9398" fmla="*/ 2807810 w 8387961"/>
                <a:gd name="connsiteY9398" fmla="*/ 33467 h 3980066"/>
                <a:gd name="connsiteX9399" fmla="*/ 2826220 w 8387961"/>
                <a:gd name="connsiteY9399" fmla="*/ 26774 h 3980066"/>
                <a:gd name="connsiteX9400" fmla="*/ 2864712 w 8387961"/>
                <a:gd name="connsiteY9400" fmla="*/ 31794 h 3980066"/>
                <a:gd name="connsiteX9401" fmla="*/ 2864712 w 8387961"/>
                <a:gd name="connsiteY9401" fmla="*/ 28447 h 3980066"/>
                <a:gd name="connsiteX9402" fmla="*/ 2871406 w 8387961"/>
                <a:gd name="connsiteY9402" fmla="*/ 18407 h 3980066"/>
                <a:gd name="connsiteX9403" fmla="*/ 2958432 w 8387961"/>
                <a:gd name="connsiteY9403" fmla="*/ 30120 h 3980066"/>
                <a:gd name="connsiteX9404" fmla="*/ 2958432 w 8387961"/>
                <a:gd name="connsiteY9404" fmla="*/ 26774 h 3980066"/>
                <a:gd name="connsiteX9405" fmla="*/ 2963453 w 8387961"/>
                <a:gd name="connsiteY9405" fmla="*/ 21754 h 3980066"/>
                <a:gd name="connsiteX9406" fmla="*/ 2978515 w 8387961"/>
                <a:gd name="connsiteY9406" fmla="*/ 21754 h 3980066"/>
                <a:gd name="connsiteX9407" fmla="*/ 2958432 w 8387961"/>
                <a:gd name="connsiteY9407" fmla="*/ 13388 h 3980066"/>
                <a:gd name="connsiteX9408" fmla="*/ 3006966 w 8387961"/>
                <a:gd name="connsiteY9408" fmla="*/ 16734 h 3980066"/>
                <a:gd name="connsiteX9409" fmla="*/ 3006966 w 8387961"/>
                <a:gd name="connsiteY9409" fmla="*/ 13388 h 3980066"/>
                <a:gd name="connsiteX9410" fmla="*/ 3037090 w 8387961"/>
                <a:gd name="connsiteY9410" fmla="*/ 18407 h 3980066"/>
                <a:gd name="connsiteX9411" fmla="*/ 3005292 w 8387961"/>
                <a:gd name="connsiteY9411" fmla="*/ 11714 h 3980066"/>
                <a:gd name="connsiteX9412" fmla="*/ 2936676 w 8387961"/>
                <a:gd name="connsiteY9412" fmla="*/ 8367 h 3980066"/>
                <a:gd name="connsiteX9413" fmla="*/ 2975168 w 8387961"/>
                <a:gd name="connsiteY9413" fmla="*/ 10040 h 3980066"/>
                <a:gd name="connsiteX9414" fmla="*/ 2966800 w 8387961"/>
                <a:gd name="connsiteY9414" fmla="*/ 6694 h 3980066"/>
                <a:gd name="connsiteX9415" fmla="*/ 3018681 w 8387961"/>
                <a:gd name="connsiteY9415" fmla="*/ 8367 h 3980066"/>
                <a:gd name="connsiteX9416" fmla="*/ 3057173 w 8387961"/>
                <a:gd name="connsiteY9416" fmla="*/ 10040 h 3980066"/>
                <a:gd name="connsiteX9417" fmla="*/ 3062194 w 8387961"/>
                <a:gd name="connsiteY9417" fmla="*/ 8367 h 3980066"/>
                <a:gd name="connsiteX9418" fmla="*/ 3073909 w 8387961"/>
                <a:gd name="connsiteY9418" fmla="*/ 6694 h 3980066"/>
                <a:gd name="connsiteX9419" fmla="*/ 3063867 w 8387961"/>
                <a:gd name="connsiteY9419" fmla="*/ 1674 h 398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Lst>
              <a:rect l="l" t="t" r="r" b="b"/>
              <a:pathLst>
                <a:path w="8387961" h="3980066">
                  <a:moveTo>
                    <a:pt x="2095096" y="3909262"/>
                  </a:moveTo>
                  <a:lnTo>
                    <a:pt x="2120153" y="3912652"/>
                  </a:lnTo>
                  <a:lnTo>
                    <a:pt x="2123933" y="3923080"/>
                  </a:lnTo>
                  <a:lnTo>
                    <a:pt x="2126637" y="3927379"/>
                  </a:lnTo>
                  <a:lnTo>
                    <a:pt x="2162567" y="3954572"/>
                  </a:lnTo>
                  <a:lnTo>
                    <a:pt x="2215595" y="3971568"/>
                  </a:lnTo>
                  <a:lnTo>
                    <a:pt x="2219017" y="3980066"/>
                  </a:lnTo>
                  <a:lnTo>
                    <a:pt x="2181383" y="3978367"/>
                  </a:lnTo>
                  <a:lnTo>
                    <a:pt x="2143753" y="3978367"/>
                  </a:lnTo>
                  <a:lnTo>
                    <a:pt x="2142946" y="3976481"/>
                  </a:lnTo>
                  <a:lnTo>
                    <a:pt x="2138518" y="3975358"/>
                  </a:lnTo>
                  <a:lnTo>
                    <a:pt x="2125156" y="3977053"/>
                  </a:lnTo>
                  <a:lnTo>
                    <a:pt x="2100104" y="3973664"/>
                  </a:lnTo>
                  <a:lnTo>
                    <a:pt x="2090083" y="3973664"/>
                  </a:lnTo>
                  <a:lnTo>
                    <a:pt x="2068370" y="3970274"/>
                  </a:lnTo>
                  <a:lnTo>
                    <a:pt x="2073386" y="3966885"/>
                  </a:lnTo>
                  <a:lnTo>
                    <a:pt x="2088413" y="3963495"/>
                  </a:lnTo>
                  <a:lnTo>
                    <a:pt x="2095096" y="3966885"/>
                  </a:lnTo>
                  <a:lnTo>
                    <a:pt x="2101775" y="3966885"/>
                  </a:lnTo>
                  <a:lnTo>
                    <a:pt x="2090083" y="3960105"/>
                  </a:lnTo>
                  <a:lnTo>
                    <a:pt x="2105115" y="3963495"/>
                  </a:lnTo>
                  <a:lnTo>
                    <a:pt x="2113465" y="3965190"/>
                  </a:lnTo>
                  <a:lnTo>
                    <a:pt x="2125156" y="3966885"/>
                  </a:lnTo>
                  <a:lnTo>
                    <a:pt x="2130172" y="3968579"/>
                  </a:lnTo>
                  <a:lnTo>
                    <a:pt x="2100104" y="3949937"/>
                  </a:lnTo>
                  <a:lnTo>
                    <a:pt x="2111795" y="3936379"/>
                  </a:lnTo>
                  <a:lnTo>
                    <a:pt x="2093424" y="3936379"/>
                  </a:lnTo>
                  <a:lnTo>
                    <a:pt x="2085078" y="3914347"/>
                  </a:lnTo>
                  <a:close/>
                  <a:moveTo>
                    <a:pt x="2319948" y="3876120"/>
                  </a:moveTo>
                  <a:lnTo>
                    <a:pt x="2304885" y="3894661"/>
                  </a:lnTo>
                  <a:lnTo>
                    <a:pt x="2289819" y="3900223"/>
                  </a:lnTo>
                  <a:lnTo>
                    <a:pt x="2296521" y="3890953"/>
                  </a:lnTo>
                  <a:lnTo>
                    <a:pt x="2293175" y="3887245"/>
                  </a:lnTo>
                  <a:lnTo>
                    <a:pt x="2296521" y="3887245"/>
                  </a:lnTo>
                  <a:lnTo>
                    <a:pt x="2291493" y="3877974"/>
                  </a:lnTo>
                  <a:close/>
                  <a:moveTo>
                    <a:pt x="2325450" y="3873107"/>
                  </a:moveTo>
                  <a:lnTo>
                    <a:pt x="2335668" y="3876652"/>
                  </a:lnTo>
                  <a:lnTo>
                    <a:pt x="2340777" y="3878424"/>
                  </a:lnTo>
                  <a:lnTo>
                    <a:pt x="2347588" y="3878424"/>
                  </a:lnTo>
                  <a:lnTo>
                    <a:pt x="2356104" y="3885513"/>
                  </a:lnTo>
                  <a:lnTo>
                    <a:pt x="2333971" y="3892602"/>
                  </a:lnTo>
                  <a:lnTo>
                    <a:pt x="2333971" y="3896147"/>
                  </a:lnTo>
                  <a:lnTo>
                    <a:pt x="2330559" y="3897919"/>
                  </a:lnTo>
                  <a:lnTo>
                    <a:pt x="2325450" y="3903236"/>
                  </a:lnTo>
                  <a:lnTo>
                    <a:pt x="2316936" y="3894375"/>
                  </a:lnTo>
                  <a:lnTo>
                    <a:pt x="2325450" y="3883741"/>
                  </a:lnTo>
                  <a:close/>
                  <a:moveTo>
                    <a:pt x="1935801" y="3802304"/>
                  </a:moveTo>
                  <a:lnTo>
                    <a:pt x="1947853" y="3827412"/>
                  </a:lnTo>
                  <a:lnTo>
                    <a:pt x="1944847" y="3839965"/>
                  </a:lnTo>
                  <a:lnTo>
                    <a:pt x="1938821" y="3834585"/>
                  </a:lnTo>
                  <a:lnTo>
                    <a:pt x="1925258" y="3816651"/>
                  </a:lnTo>
                  <a:close/>
                  <a:moveTo>
                    <a:pt x="7613641" y="3742045"/>
                  </a:moveTo>
                  <a:lnTo>
                    <a:pt x="7621173" y="3743803"/>
                  </a:lnTo>
                  <a:lnTo>
                    <a:pt x="7621173" y="3747318"/>
                  </a:lnTo>
                  <a:lnTo>
                    <a:pt x="7604602" y="3752590"/>
                  </a:lnTo>
                  <a:close/>
                  <a:moveTo>
                    <a:pt x="7198217" y="3564283"/>
                  </a:moveTo>
                  <a:lnTo>
                    <a:pt x="7221316" y="3572719"/>
                  </a:lnTo>
                  <a:lnTo>
                    <a:pt x="7242765" y="3582843"/>
                  </a:lnTo>
                  <a:lnTo>
                    <a:pt x="7247715" y="3571032"/>
                  </a:lnTo>
                  <a:lnTo>
                    <a:pt x="7280714" y="3567658"/>
                  </a:lnTo>
                  <a:lnTo>
                    <a:pt x="7255965" y="3606464"/>
                  </a:lnTo>
                  <a:lnTo>
                    <a:pt x="7252665" y="3604777"/>
                  </a:lnTo>
                  <a:lnTo>
                    <a:pt x="7222966" y="3636835"/>
                  </a:lnTo>
                  <a:lnTo>
                    <a:pt x="7226266" y="3631773"/>
                  </a:lnTo>
                  <a:lnTo>
                    <a:pt x="7221316" y="3631773"/>
                  </a:lnTo>
                  <a:lnTo>
                    <a:pt x="7218016" y="3628398"/>
                  </a:lnTo>
                  <a:lnTo>
                    <a:pt x="7188318" y="3648645"/>
                  </a:lnTo>
                  <a:lnTo>
                    <a:pt x="7176768" y="3641896"/>
                  </a:lnTo>
                  <a:lnTo>
                    <a:pt x="7178418" y="3638522"/>
                  </a:lnTo>
                  <a:lnTo>
                    <a:pt x="7178418" y="3613213"/>
                  </a:lnTo>
                  <a:lnTo>
                    <a:pt x="7183368" y="3608151"/>
                  </a:lnTo>
                  <a:lnTo>
                    <a:pt x="7185018" y="3611526"/>
                  </a:lnTo>
                  <a:lnTo>
                    <a:pt x="7188318" y="3591279"/>
                  </a:lnTo>
                  <a:lnTo>
                    <a:pt x="7191617" y="3567658"/>
                  </a:lnTo>
                  <a:close/>
                  <a:moveTo>
                    <a:pt x="7889230" y="3558257"/>
                  </a:moveTo>
                  <a:lnTo>
                    <a:pt x="7877566" y="3564891"/>
                  </a:lnTo>
                  <a:lnTo>
                    <a:pt x="7875899" y="3578159"/>
                  </a:lnTo>
                  <a:lnTo>
                    <a:pt x="7899229" y="3569867"/>
                  </a:lnTo>
                  <a:lnTo>
                    <a:pt x="7895896" y="3576501"/>
                  </a:lnTo>
                  <a:lnTo>
                    <a:pt x="7899229" y="3578159"/>
                  </a:lnTo>
                  <a:lnTo>
                    <a:pt x="7897562" y="3579818"/>
                  </a:lnTo>
                  <a:lnTo>
                    <a:pt x="7905894" y="3578159"/>
                  </a:lnTo>
                  <a:lnTo>
                    <a:pt x="7892563" y="3593085"/>
                  </a:lnTo>
                  <a:lnTo>
                    <a:pt x="7859236" y="3614646"/>
                  </a:lnTo>
                  <a:lnTo>
                    <a:pt x="7827575" y="3634548"/>
                  </a:lnTo>
                  <a:lnTo>
                    <a:pt x="7814244" y="3639523"/>
                  </a:lnTo>
                  <a:lnTo>
                    <a:pt x="7812578" y="3644499"/>
                  </a:lnTo>
                  <a:lnTo>
                    <a:pt x="7802579" y="3644499"/>
                  </a:lnTo>
                  <a:lnTo>
                    <a:pt x="7812578" y="3649474"/>
                  </a:lnTo>
                  <a:lnTo>
                    <a:pt x="7814244" y="3657766"/>
                  </a:lnTo>
                  <a:lnTo>
                    <a:pt x="7802579" y="3656108"/>
                  </a:lnTo>
                  <a:lnTo>
                    <a:pt x="7792581" y="3637865"/>
                  </a:lnTo>
                  <a:lnTo>
                    <a:pt x="7789249" y="3637865"/>
                  </a:lnTo>
                  <a:lnTo>
                    <a:pt x="7782583" y="3642840"/>
                  </a:lnTo>
                  <a:lnTo>
                    <a:pt x="7792581" y="3657766"/>
                  </a:lnTo>
                  <a:lnTo>
                    <a:pt x="7772585" y="3664400"/>
                  </a:lnTo>
                  <a:lnTo>
                    <a:pt x="7757588" y="3666059"/>
                  </a:lnTo>
                  <a:lnTo>
                    <a:pt x="7754255" y="3677668"/>
                  </a:lnTo>
                  <a:lnTo>
                    <a:pt x="7744257" y="3687619"/>
                  </a:lnTo>
                  <a:lnTo>
                    <a:pt x="7744257" y="3689278"/>
                  </a:lnTo>
                  <a:lnTo>
                    <a:pt x="7709263" y="3715813"/>
                  </a:lnTo>
                  <a:lnTo>
                    <a:pt x="7652607" y="3739032"/>
                  </a:lnTo>
                  <a:lnTo>
                    <a:pt x="7639276" y="3734057"/>
                  </a:lnTo>
                  <a:lnTo>
                    <a:pt x="7617613" y="3727423"/>
                  </a:lnTo>
                  <a:lnTo>
                    <a:pt x="7609281" y="3724106"/>
                  </a:lnTo>
                  <a:lnTo>
                    <a:pt x="7612614" y="3722447"/>
                  </a:lnTo>
                  <a:lnTo>
                    <a:pt x="7607615" y="3719130"/>
                  </a:lnTo>
                  <a:lnTo>
                    <a:pt x="7622612" y="3709179"/>
                  </a:lnTo>
                  <a:lnTo>
                    <a:pt x="7627611" y="3705863"/>
                  </a:lnTo>
                  <a:lnTo>
                    <a:pt x="7635943" y="3699229"/>
                  </a:lnTo>
                  <a:lnTo>
                    <a:pt x="7637610" y="3702546"/>
                  </a:lnTo>
                  <a:lnTo>
                    <a:pt x="7647608" y="3689278"/>
                  </a:lnTo>
                  <a:lnTo>
                    <a:pt x="7657606" y="3685961"/>
                  </a:lnTo>
                  <a:lnTo>
                    <a:pt x="7674270" y="3679327"/>
                  </a:lnTo>
                  <a:lnTo>
                    <a:pt x="7705930" y="3662742"/>
                  </a:lnTo>
                  <a:lnTo>
                    <a:pt x="7719261" y="3657766"/>
                  </a:lnTo>
                  <a:lnTo>
                    <a:pt x="7765919" y="3636206"/>
                  </a:lnTo>
                  <a:lnTo>
                    <a:pt x="7787582" y="3626255"/>
                  </a:lnTo>
                  <a:lnTo>
                    <a:pt x="7815910" y="3609670"/>
                  </a:lnTo>
                  <a:lnTo>
                    <a:pt x="7807579" y="3609670"/>
                  </a:lnTo>
                  <a:lnTo>
                    <a:pt x="7827575" y="3596402"/>
                  </a:lnTo>
                  <a:lnTo>
                    <a:pt x="7877566" y="3563233"/>
                  </a:lnTo>
                  <a:close/>
                  <a:moveTo>
                    <a:pt x="8002839" y="3377482"/>
                  </a:moveTo>
                  <a:lnTo>
                    <a:pt x="8002839" y="3379143"/>
                  </a:lnTo>
                  <a:lnTo>
                    <a:pt x="8007890" y="3389107"/>
                  </a:lnTo>
                  <a:lnTo>
                    <a:pt x="8021360" y="3404053"/>
                  </a:lnTo>
                  <a:lnTo>
                    <a:pt x="8024727" y="3404053"/>
                  </a:lnTo>
                  <a:lnTo>
                    <a:pt x="8017992" y="3415677"/>
                  </a:lnTo>
                  <a:lnTo>
                    <a:pt x="8011257" y="3437266"/>
                  </a:lnTo>
                  <a:lnTo>
                    <a:pt x="8006206" y="3447230"/>
                  </a:lnTo>
                  <a:lnTo>
                    <a:pt x="8021360" y="3455533"/>
                  </a:lnTo>
                  <a:lnTo>
                    <a:pt x="8031462" y="3437266"/>
                  </a:lnTo>
                  <a:lnTo>
                    <a:pt x="8023043" y="3467158"/>
                  </a:lnTo>
                  <a:lnTo>
                    <a:pt x="8051666" y="3482104"/>
                  </a:lnTo>
                  <a:lnTo>
                    <a:pt x="8078605" y="3472140"/>
                  </a:lnTo>
                  <a:lnTo>
                    <a:pt x="8083656" y="3473801"/>
                  </a:lnTo>
                  <a:lnTo>
                    <a:pt x="8048299" y="3503693"/>
                  </a:lnTo>
                  <a:lnTo>
                    <a:pt x="8036513" y="3515317"/>
                  </a:lnTo>
                  <a:lnTo>
                    <a:pt x="8011257" y="3523620"/>
                  </a:lnTo>
                  <a:lnTo>
                    <a:pt x="7992737" y="3545209"/>
                  </a:lnTo>
                  <a:lnTo>
                    <a:pt x="7954012" y="3566798"/>
                  </a:lnTo>
                  <a:lnTo>
                    <a:pt x="7916971" y="3588386"/>
                  </a:lnTo>
                  <a:lnTo>
                    <a:pt x="7911920" y="3581744"/>
                  </a:lnTo>
                  <a:lnTo>
                    <a:pt x="7950645" y="3546870"/>
                  </a:lnTo>
                  <a:lnTo>
                    <a:pt x="7942226" y="3533584"/>
                  </a:lnTo>
                  <a:lnTo>
                    <a:pt x="7932124" y="3518638"/>
                  </a:lnTo>
                  <a:lnTo>
                    <a:pt x="7965798" y="3503693"/>
                  </a:lnTo>
                  <a:lnTo>
                    <a:pt x="7991053" y="3472140"/>
                  </a:lnTo>
                  <a:lnTo>
                    <a:pt x="7997788" y="3457194"/>
                  </a:lnTo>
                  <a:lnTo>
                    <a:pt x="8004523" y="3452212"/>
                  </a:lnTo>
                  <a:lnTo>
                    <a:pt x="7994421" y="3453873"/>
                  </a:lnTo>
                  <a:lnTo>
                    <a:pt x="8001155" y="3438927"/>
                  </a:lnTo>
                  <a:lnTo>
                    <a:pt x="8004523" y="3432284"/>
                  </a:lnTo>
                  <a:lnTo>
                    <a:pt x="8004523" y="3427302"/>
                  </a:lnTo>
                  <a:lnTo>
                    <a:pt x="8001155" y="3422320"/>
                  </a:lnTo>
                  <a:lnTo>
                    <a:pt x="7996104" y="3433945"/>
                  </a:lnTo>
                  <a:lnTo>
                    <a:pt x="8002839" y="3405713"/>
                  </a:lnTo>
                  <a:lnTo>
                    <a:pt x="7997788" y="3397410"/>
                  </a:lnTo>
                  <a:close/>
                  <a:moveTo>
                    <a:pt x="2199486" y="3316552"/>
                  </a:moveTo>
                  <a:lnTo>
                    <a:pt x="2199469" y="3316901"/>
                  </a:lnTo>
                  <a:lnTo>
                    <a:pt x="2200869" y="3324586"/>
                  </a:lnTo>
                  <a:lnTo>
                    <a:pt x="2201097" y="3321389"/>
                  </a:lnTo>
                  <a:close/>
                  <a:moveTo>
                    <a:pt x="2361186" y="3295110"/>
                  </a:moveTo>
                  <a:lnTo>
                    <a:pt x="2354818" y="3303214"/>
                  </a:lnTo>
                  <a:lnTo>
                    <a:pt x="2353145" y="3301542"/>
                  </a:lnTo>
                  <a:close/>
                  <a:moveTo>
                    <a:pt x="2361761" y="3294371"/>
                  </a:moveTo>
                  <a:lnTo>
                    <a:pt x="2361509" y="3294853"/>
                  </a:lnTo>
                  <a:lnTo>
                    <a:pt x="2361186" y="3295110"/>
                  </a:lnTo>
                  <a:close/>
                  <a:moveTo>
                    <a:pt x="4418280" y="3212421"/>
                  </a:moveTo>
                  <a:lnTo>
                    <a:pt x="4413277" y="3232432"/>
                  </a:lnTo>
                  <a:lnTo>
                    <a:pt x="4387452" y="3251370"/>
                  </a:lnTo>
                  <a:lnTo>
                    <a:pt x="4378338" y="3258965"/>
                  </a:lnTo>
                  <a:lnTo>
                    <a:pt x="4378845" y="3259699"/>
                  </a:lnTo>
                  <a:lnTo>
                    <a:pt x="4388920" y="3251333"/>
                  </a:lnTo>
                  <a:lnTo>
                    <a:pt x="4414107" y="3232929"/>
                  </a:lnTo>
                  <a:lnTo>
                    <a:pt x="4419144" y="3212852"/>
                  </a:lnTo>
                  <a:close/>
                  <a:moveTo>
                    <a:pt x="4476344" y="3116512"/>
                  </a:moveTo>
                  <a:lnTo>
                    <a:pt x="4466160" y="3129197"/>
                  </a:lnTo>
                  <a:lnTo>
                    <a:pt x="4464481" y="3150947"/>
                  </a:lnTo>
                  <a:lnTo>
                    <a:pt x="4465198" y="3151170"/>
                  </a:lnTo>
                  <a:lnTo>
                    <a:pt x="4466728" y="3129562"/>
                  </a:lnTo>
                  <a:close/>
                  <a:moveTo>
                    <a:pt x="4493026" y="3055871"/>
                  </a:moveTo>
                  <a:lnTo>
                    <a:pt x="4493026" y="3089042"/>
                  </a:lnTo>
                  <a:lnTo>
                    <a:pt x="4493026" y="3119158"/>
                  </a:lnTo>
                  <a:lnTo>
                    <a:pt x="4480121" y="3112729"/>
                  </a:lnTo>
                  <a:lnTo>
                    <a:pt x="4492100" y="3119232"/>
                  </a:lnTo>
                  <a:lnTo>
                    <a:pt x="4495272" y="3146779"/>
                  </a:lnTo>
                  <a:lnTo>
                    <a:pt x="4490982" y="3159199"/>
                  </a:lnTo>
                  <a:lnTo>
                    <a:pt x="4491347" y="3159313"/>
                  </a:lnTo>
                  <a:lnTo>
                    <a:pt x="4496384" y="3145928"/>
                  </a:lnTo>
                  <a:lnTo>
                    <a:pt x="4496393" y="3145928"/>
                  </a:lnTo>
                  <a:lnTo>
                    <a:pt x="4493221" y="3120185"/>
                  </a:lnTo>
                  <a:lnTo>
                    <a:pt x="4493221" y="3090025"/>
                  </a:lnTo>
                  <a:lnTo>
                    <a:pt x="4493221" y="3056514"/>
                  </a:lnTo>
                  <a:close/>
                  <a:moveTo>
                    <a:pt x="4367320" y="3054804"/>
                  </a:moveTo>
                  <a:lnTo>
                    <a:pt x="4367182" y="3054933"/>
                  </a:lnTo>
                  <a:lnTo>
                    <a:pt x="4355772" y="3075259"/>
                  </a:lnTo>
                  <a:close/>
                  <a:moveTo>
                    <a:pt x="1930277" y="3031587"/>
                  </a:moveTo>
                  <a:lnTo>
                    <a:pt x="1923697" y="3061429"/>
                  </a:lnTo>
                  <a:lnTo>
                    <a:pt x="1902100" y="3073164"/>
                  </a:lnTo>
                  <a:lnTo>
                    <a:pt x="1898781" y="3089928"/>
                  </a:lnTo>
                  <a:lnTo>
                    <a:pt x="1902100" y="3131839"/>
                  </a:lnTo>
                  <a:lnTo>
                    <a:pt x="1912074" y="3146927"/>
                  </a:lnTo>
                  <a:lnTo>
                    <a:pt x="1903763" y="3155309"/>
                  </a:lnTo>
                  <a:lnTo>
                    <a:pt x="1893798" y="3183808"/>
                  </a:lnTo>
                  <a:lnTo>
                    <a:pt x="1883833" y="3210631"/>
                  </a:lnTo>
                  <a:lnTo>
                    <a:pt x="1883833" y="3232425"/>
                  </a:lnTo>
                  <a:lnTo>
                    <a:pt x="1887147" y="3254218"/>
                  </a:lnTo>
                  <a:lnTo>
                    <a:pt x="1882162" y="3272659"/>
                  </a:lnTo>
                  <a:lnTo>
                    <a:pt x="1880505" y="3292776"/>
                  </a:lnTo>
                  <a:lnTo>
                    <a:pt x="1892131" y="3316246"/>
                  </a:lnTo>
                  <a:lnTo>
                    <a:pt x="1903763" y="3341393"/>
                  </a:lnTo>
                  <a:lnTo>
                    <a:pt x="1912074" y="3358157"/>
                  </a:lnTo>
                  <a:lnTo>
                    <a:pt x="1908746" y="3396715"/>
                  </a:lnTo>
                  <a:lnTo>
                    <a:pt x="1913730" y="3416832"/>
                  </a:lnTo>
                  <a:lnTo>
                    <a:pt x="1902100" y="3436949"/>
                  </a:lnTo>
                  <a:lnTo>
                    <a:pt x="1908746" y="3463772"/>
                  </a:lnTo>
                  <a:lnTo>
                    <a:pt x="1917056" y="3487242"/>
                  </a:lnTo>
                  <a:lnTo>
                    <a:pt x="1918713" y="3505683"/>
                  </a:lnTo>
                  <a:lnTo>
                    <a:pt x="1913730" y="3524124"/>
                  </a:lnTo>
                  <a:lnTo>
                    <a:pt x="1917056" y="3555976"/>
                  </a:lnTo>
                  <a:lnTo>
                    <a:pt x="1927021" y="3596210"/>
                  </a:lnTo>
                  <a:lnTo>
                    <a:pt x="1928682" y="3619680"/>
                  </a:lnTo>
                  <a:lnTo>
                    <a:pt x="1940314" y="3636445"/>
                  </a:lnTo>
                  <a:lnTo>
                    <a:pt x="1950281" y="3668297"/>
                  </a:lnTo>
                  <a:lnTo>
                    <a:pt x="1970048" y="3678270"/>
                  </a:lnTo>
                  <a:lnTo>
                    <a:pt x="1971919" y="3677523"/>
                  </a:lnTo>
                  <a:lnTo>
                    <a:pt x="1951844" y="3667505"/>
                  </a:lnTo>
                  <a:lnTo>
                    <a:pt x="1941807" y="3635784"/>
                  </a:lnTo>
                  <a:lnTo>
                    <a:pt x="1930097" y="3619088"/>
                  </a:lnTo>
                  <a:lnTo>
                    <a:pt x="1928424" y="3595715"/>
                  </a:lnTo>
                  <a:lnTo>
                    <a:pt x="1918387" y="3555646"/>
                  </a:lnTo>
                  <a:lnTo>
                    <a:pt x="1915032" y="3523924"/>
                  </a:lnTo>
                  <a:lnTo>
                    <a:pt x="1920060" y="3505559"/>
                  </a:lnTo>
                  <a:lnTo>
                    <a:pt x="1918387" y="3487194"/>
                  </a:lnTo>
                  <a:lnTo>
                    <a:pt x="1910013" y="3463821"/>
                  </a:lnTo>
                  <a:lnTo>
                    <a:pt x="1903320" y="3437108"/>
                  </a:lnTo>
                  <a:lnTo>
                    <a:pt x="1915032" y="3417074"/>
                  </a:lnTo>
                  <a:lnTo>
                    <a:pt x="1910013" y="3397039"/>
                  </a:lnTo>
                  <a:lnTo>
                    <a:pt x="1913359" y="3358639"/>
                  </a:lnTo>
                  <a:lnTo>
                    <a:pt x="1904993" y="3341944"/>
                  </a:lnTo>
                  <a:lnTo>
                    <a:pt x="1893281" y="3316901"/>
                  </a:lnTo>
                  <a:lnTo>
                    <a:pt x="1881569" y="3293527"/>
                  </a:lnTo>
                  <a:lnTo>
                    <a:pt x="1883242" y="3273493"/>
                  </a:lnTo>
                  <a:lnTo>
                    <a:pt x="1888261" y="3255128"/>
                  </a:lnTo>
                  <a:lnTo>
                    <a:pt x="1884915" y="3233424"/>
                  </a:lnTo>
                  <a:lnTo>
                    <a:pt x="1884915" y="3211720"/>
                  </a:lnTo>
                  <a:lnTo>
                    <a:pt x="1894954" y="3185007"/>
                  </a:lnTo>
                  <a:lnTo>
                    <a:pt x="1904993" y="3156625"/>
                  </a:lnTo>
                  <a:lnTo>
                    <a:pt x="1913359" y="3148277"/>
                  </a:lnTo>
                  <a:lnTo>
                    <a:pt x="1903320" y="3133251"/>
                  </a:lnTo>
                  <a:lnTo>
                    <a:pt x="1899974" y="3091512"/>
                  </a:lnTo>
                  <a:lnTo>
                    <a:pt x="1903320" y="3074817"/>
                  </a:lnTo>
                  <a:lnTo>
                    <a:pt x="1925079" y="3063130"/>
                  </a:lnTo>
                  <a:lnTo>
                    <a:pt x="1931770" y="3033078"/>
                  </a:lnTo>
                  <a:close/>
                  <a:moveTo>
                    <a:pt x="2536245" y="3030650"/>
                  </a:moveTo>
                  <a:lnTo>
                    <a:pt x="2538752" y="3030650"/>
                  </a:lnTo>
                  <a:lnTo>
                    <a:pt x="2532064" y="3032323"/>
                  </a:lnTo>
                  <a:close/>
                  <a:moveTo>
                    <a:pt x="2037411" y="3003043"/>
                  </a:moveTo>
                  <a:lnTo>
                    <a:pt x="2035738" y="3003321"/>
                  </a:lnTo>
                  <a:lnTo>
                    <a:pt x="2042195" y="3011374"/>
                  </a:lnTo>
                  <a:lnTo>
                    <a:pt x="2068963" y="3034748"/>
                  </a:lnTo>
                  <a:lnTo>
                    <a:pt x="2094060" y="3058121"/>
                  </a:lnTo>
                  <a:lnTo>
                    <a:pt x="2114145" y="3068139"/>
                  </a:lnTo>
                  <a:lnTo>
                    <a:pt x="2135892" y="3078156"/>
                  </a:lnTo>
                  <a:lnTo>
                    <a:pt x="2160986" y="3093182"/>
                  </a:lnTo>
                  <a:lnTo>
                    <a:pt x="2183793" y="3106182"/>
                  </a:lnTo>
                  <a:lnTo>
                    <a:pt x="2183854" y="3105987"/>
                  </a:lnTo>
                  <a:lnTo>
                    <a:pt x="2160373" y="3092522"/>
                  </a:lnTo>
                  <a:lnTo>
                    <a:pt x="2135209" y="3077374"/>
                  </a:lnTo>
                  <a:lnTo>
                    <a:pt x="2113393" y="3067276"/>
                  </a:lnTo>
                  <a:lnTo>
                    <a:pt x="2093262" y="3057177"/>
                  </a:lnTo>
                  <a:lnTo>
                    <a:pt x="2068097" y="3033614"/>
                  </a:lnTo>
                  <a:lnTo>
                    <a:pt x="2041260" y="3010051"/>
                  </a:lnTo>
                  <a:lnTo>
                    <a:pt x="2041604" y="3008294"/>
                  </a:lnTo>
                  <a:close/>
                  <a:moveTo>
                    <a:pt x="1950369" y="2996348"/>
                  </a:moveTo>
                  <a:lnTo>
                    <a:pt x="1949548" y="2997398"/>
                  </a:lnTo>
                  <a:lnTo>
                    <a:pt x="1953517" y="3001357"/>
                  </a:lnTo>
                  <a:lnTo>
                    <a:pt x="1985305" y="3006366"/>
                  </a:lnTo>
                  <a:lnTo>
                    <a:pt x="1998690" y="3024731"/>
                  </a:lnTo>
                  <a:lnTo>
                    <a:pt x="1999349" y="3023102"/>
                  </a:lnTo>
                  <a:lnTo>
                    <a:pt x="1987189" y="3006391"/>
                  </a:lnTo>
                  <a:lnTo>
                    <a:pt x="1955388" y="3001370"/>
                  </a:lnTo>
                  <a:close/>
                  <a:moveTo>
                    <a:pt x="7949582" y="2945128"/>
                  </a:moveTo>
                  <a:lnTo>
                    <a:pt x="7964302" y="2962175"/>
                  </a:lnTo>
                  <a:lnTo>
                    <a:pt x="7979022" y="2975813"/>
                  </a:lnTo>
                  <a:lnTo>
                    <a:pt x="7993742" y="2992859"/>
                  </a:lnTo>
                  <a:lnTo>
                    <a:pt x="8006827" y="3009906"/>
                  </a:lnTo>
                  <a:lnTo>
                    <a:pt x="7993742" y="3006497"/>
                  </a:lnTo>
                  <a:lnTo>
                    <a:pt x="7970844" y="2986041"/>
                  </a:lnTo>
                  <a:lnTo>
                    <a:pt x="7951218" y="2963880"/>
                  </a:lnTo>
                  <a:close/>
                  <a:moveTo>
                    <a:pt x="2154761" y="2933822"/>
                  </a:moveTo>
                  <a:lnTo>
                    <a:pt x="2154581" y="2934416"/>
                  </a:lnTo>
                  <a:lnTo>
                    <a:pt x="2157207" y="2942311"/>
                  </a:lnTo>
                  <a:lnTo>
                    <a:pt x="2157495" y="2942025"/>
                  </a:lnTo>
                  <a:close/>
                  <a:moveTo>
                    <a:pt x="2132265" y="2927448"/>
                  </a:moveTo>
                  <a:lnTo>
                    <a:pt x="2151979" y="2941045"/>
                  </a:lnTo>
                  <a:lnTo>
                    <a:pt x="2151979" y="2946094"/>
                  </a:lnTo>
                  <a:lnTo>
                    <a:pt x="2158689" y="2961242"/>
                  </a:lnTo>
                  <a:lnTo>
                    <a:pt x="2162046" y="3003319"/>
                  </a:lnTo>
                  <a:lnTo>
                    <a:pt x="2198957" y="3006685"/>
                  </a:lnTo>
                  <a:lnTo>
                    <a:pt x="2219084" y="3011734"/>
                  </a:lnTo>
                  <a:lnTo>
                    <a:pt x="2225794" y="3035297"/>
                  </a:lnTo>
                  <a:lnTo>
                    <a:pt x="2234183" y="3060543"/>
                  </a:lnTo>
                  <a:lnTo>
                    <a:pt x="2249285" y="3060543"/>
                  </a:lnTo>
                  <a:lnTo>
                    <a:pt x="2262704" y="3062227"/>
                  </a:lnTo>
                  <a:lnTo>
                    <a:pt x="2261031" y="3085790"/>
                  </a:lnTo>
                  <a:lnTo>
                    <a:pt x="2261031" y="3111036"/>
                  </a:lnTo>
                  <a:lnTo>
                    <a:pt x="2262704" y="3127866"/>
                  </a:lnTo>
                  <a:lnTo>
                    <a:pt x="2242576" y="3161528"/>
                  </a:lnTo>
                  <a:lnTo>
                    <a:pt x="2224121" y="3166577"/>
                  </a:lnTo>
                  <a:lnTo>
                    <a:pt x="2193920" y="3164894"/>
                  </a:lnTo>
                  <a:lnTo>
                    <a:pt x="2164352" y="3163246"/>
                  </a:lnTo>
                  <a:lnTo>
                    <a:pt x="2164332" y="3163303"/>
                  </a:lnTo>
                  <a:lnTo>
                    <a:pt x="2194449" y="3164972"/>
                  </a:lnTo>
                  <a:lnTo>
                    <a:pt x="2224571" y="3166642"/>
                  </a:lnTo>
                  <a:lnTo>
                    <a:pt x="2242972" y="3161633"/>
                  </a:lnTo>
                  <a:lnTo>
                    <a:pt x="2263049" y="3128242"/>
                  </a:lnTo>
                  <a:lnTo>
                    <a:pt x="2261376" y="3111547"/>
                  </a:lnTo>
                  <a:lnTo>
                    <a:pt x="2276434" y="3111547"/>
                  </a:lnTo>
                  <a:lnTo>
                    <a:pt x="2289613" y="3147692"/>
                  </a:lnTo>
                  <a:lnTo>
                    <a:pt x="2291268" y="3146030"/>
                  </a:lnTo>
                  <a:lnTo>
                    <a:pt x="2277890" y="3109242"/>
                  </a:lnTo>
                  <a:lnTo>
                    <a:pt x="2262848" y="3109242"/>
                  </a:lnTo>
                  <a:lnTo>
                    <a:pt x="2262848" y="3084160"/>
                  </a:lnTo>
                  <a:lnTo>
                    <a:pt x="2264521" y="3060749"/>
                  </a:lnTo>
                  <a:lnTo>
                    <a:pt x="2251138" y="3059077"/>
                  </a:lnTo>
                  <a:lnTo>
                    <a:pt x="2236084" y="3059077"/>
                  </a:lnTo>
                  <a:lnTo>
                    <a:pt x="2227723" y="3033995"/>
                  </a:lnTo>
                  <a:lnTo>
                    <a:pt x="2221034" y="3010584"/>
                  </a:lnTo>
                  <a:lnTo>
                    <a:pt x="2200971" y="3005568"/>
                  </a:lnTo>
                  <a:lnTo>
                    <a:pt x="2164186" y="3002224"/>
                  </a:lnTo>
                  <a:lnTo>
                    <a:pt x="2160841" y="2960419"/>
                  </a:lnTo>
                  <a:lnTo>
                    <a:pt x="2155031" y="2947353"/>
                  </a:lnTo>
                  <a:lnTo>
                    <a:pt x="2154581" y="2947807"/>
                  </a:lnTo>
                  <a:lnTo>
                    <a:pt x="2154581" y="2946332"/>
                  </a:lnTo>
                  <a:lnTo>
                    <a:pt x="2154149" y="2945370"/>
                  </a:lnTo>
                  <a:lnTo>
                    <a:pt x="2154581" y="2944942"/>
                  </a:lnTo>
                  <a:lnTo>
                    <a:pt x="2154581" y="2942785"/>
                  </a:lnTo>
                  <a:close/>
                  <a:moveTo>
                    <a:pt x="8089682" y="2902947"/>
                  </a:moveTo>
                  <a:lnTo>
                    <a:pt x="8089682" y="2904152"/>
                  </a:lnTo>
                  <a:lnTo>
                    <a:pt x="8086669" y="2908973"/>
                  </a:lnTo>
                  <a:close/>
                  <a:moveTo>
                    <a:pt x="1834933" y="2887356"/>
                  </a:moveTo>
                  <a:lnTo>
                    <a:pt x="1832283" y="2890445"/>
                  </a:lnTo>
                  <a:lnTo>
                    <a:pt x="1832320" y="2890433"/>
                  </a:lnTo>
                  <a:close/>
                  <a:moveTo>
                    <a:pt x="4325378" y="2873410"/>
                  </a:moveTo>
                  <a:lnTo>
                    <a:pt x="4308092" y="2880697"/>
                  </a:lnTo>
                  <a:lnTo>
                    <a:pt x="4288130" y="2892480"/>
                  </a:lnTo>
                  <a:lnTo>
                    <a:pt x="4278149" y="2882381"/>
                  </a:lnTo>
                  <a:lnTo>
                    <a:pt x="4248205" y="2884064"/>
                  </a:lnTo>
                  <a:lnTo>
                    <a:pt x="4218262" y="2889114"/>
                  </a:lnTo>
                  <a:lnTo>
                    <a:pt x="4216598" y="2917729"/>
                  </a:lnTo>
                  <a:lnTo>
                    <a:pt x="4216598" y="2944662"/>
                  </a:lnTo>
                  <a:lnTo>
                    <a:pt x="4213271" y="2971594"/>
                  </a:lnTo>
                  <a:lnTo>
                    <a:pt x="4213271" y="3000210"/>
                  </a:lnTo>
                  <a:lnTo>
                    <a:pt x="4188318" y="3000210"/>
                  </a:lnTo>
                  <a:lnTo>
                    <a:pt x="4186655" y="3042292"/>
                  </a:lnTo>
                  <a:lnTo>
                    <a:pt x="4183328" y="3084373"/>
                  </a:lnTo>
                  <a:lnTo>
                    <a:pt x="4181664" y="3112989"/>
                  </a:lnTo>
                  <a:lnTo>
                    <a:pt x="4180001" y="3141605"/>
                  </a:lnTo>
                  <a:lnTo>
                    <a:pt x="4178337" y="3170220"/>
                  </a:lnTo>
                  <a:lnTo>
                    <a:pt x="4173495" y="3196348"/>
                  </a:lnTo>
                  <a:lnTo>
                    <a:pt x="4173990" y="3196121"/>
                  </a:lnTo>
                  <a:lnTo>
                    <a:pt x="4179028" y="3169351"/>
                  </a:lnTo>
                  <a:lnTo>
                    <a:pt x="4180707" y="3140908"/>
                  </a:lnTo>
                  <a:lnTo>
                    <a:pt x="4182386" y="3112466"/>
                  </a:lnTo>
                  <a:lnTo>
                    <a:pt x="4183866" y="3087403"/>
                  </a:lnTo>
                  <a:lnTo>
                    <a:pt x="4183435" y="3086736"/>
                  </a:lnTo>
                  <a:lnTo>
                    <a:pt x="4186776" y="3044890"/>
                  </a:lnTo>
                  <a:lnTo>
                    <a:pt x="4188446" y="3003044"/>
                  </a:lnTo>
                  <a:lnTo>
                    <a:pt x="4213502" y="3003044"/>
                  </a:lnTo>
                  <a:lnTo>
                    <a:pt x="4213502" y="2974588"/>
                  </a:lnTo>
                  <a:lnTo>
                    <a:pt x="4216843" y="2947807"/>
                  </a:lnTo>
                  <a:lnTo>
                    <a:pt x="4216843" y="2921025"/>
                  </a:lnTo>
                  <a:lnTo>
                    <a:pt x="4218514" y="2892570"/>
                  </a:lnTo>
                  <a:lnTo>
                    <a:pt x="4248581" y="2887548"/>
                  </a:lnTo>
                  <a:lnTo>
                    <a:pt x="4278649" y="2885874"/>
                  </a:lnTo>
                  <a:lnTo>
                    <a:pt x="4288672" y="2895917"/>
                  </a:lnTo>
                  <a:lnTo>
                    <a:pt x="4308717" y="2884200"/>
                  </a:lnTo>
                  <a:lnTo>
                    <a:pt x="4328762" y="2875831"/>
                  </a:lnTo>
                  <a:lnTo>
                    <a:pt x="4343796" y="2905960"/>
                  </a:lnTo>
                  <a:lnTo>
                    <a:pt x="4360500" y="2936090"/>
                  </a:lnTo>
                  <a:lnTo>
                    <a:pt x="4378875" y="2951154"/>
                  </a:lnTo>
                  <a:lnTo>
                    <a:pt x="4383886" y="2956176"/>
                  </a:lnTo>
                  <a:lnTo>
                    <a:pt x="4390568" y="2966219"/>
                  </a:lnTo>
                  <a:lnTo>
                    <a:pt x="4398920" y="2991327"/>
                  </a:lnTo>
                  <a:lnTo>
                    <a:pt x="4422306" y="3001370"/>
                  </a:lnTo>
                  <a:lnTo>
                    <a:pt x="4428387" y="3005940"/>
                  </a:lnTo>
                  <a:lnTo>
                    <a:pt x="4428824" y="3005650"/>
                  </a:lnTo>
                  <a:lnTo>
                    <a:pt x="4422177" y="3000596"/>
                  </a:lnTo>
                  <a:lnTo>
                    <a:pt x="4398647" y="2990372"/>
                  </a:lnTo>
                  <a:lnTo>
                    <a:pt x="4390243" y="2964812"/>
                  </a:lnTo>
                  <a:lnTo>
                    <a:pt x="4383520" y="2954587"/>
                  </a:lnTo>
                  <a:lnTo>
                    <a:pt x="4378478" y="2949475"/>
                  </a:lnTo>
                  <a:lnTo>
                    <a:pt x="4359989" y="2934139"/>
                  </a:lnTo>
                  <a:lnTo>
                    <a:pt x="4343182" y="2903467"/>
                  </a:lnTo>
                  <a:lnTo>
                    <a:pt x="4328869" y="2874446"/>
                  </a:lnTo>
                  <a:close/>
                  <a:moveTo>
                    <a:pt x="4271677" y="2869741"/>
                  </a:moveTo>
                  <a:lnTo>
                    <a:pt x="4242202" y="2872180"/>
                  </a:lnTo>
                  <a:lnTo>
                    <a:pt x="4241675" y="2872271"/>
                  </a:lnTo>
                  <a:close/>
                  <a:moveTo>
                    <a:pt x="1846833" y="2869544"/>
                  </a:moveTo>
                  <a:lnTo>
                    <a:pt x="1842178" y="2878828"/>
                  </a:lnTo>
                  <a:lnTo>
                    <a:pt x="1842289" y="2878698"/>
                  </a:lnTo>
                  <a:close/>
                  <a:moveTo>
                    <a:pt x="4153371" y="2867203"/>
                  </a:moveTo>
                  <a:lnTo>
                    <a:pt x="4153384" y="2867231"/>
                  </a:lnTo>
                  <a:lnTo>
                    <a:pt x="4178337" y="2872281"/>
                  </a:lnTo>
                  <a:lnTo>
                    <a:pt x="4203290" y="2879014"/>
                  </a:lnTo>
                  <a:lnTo>
                    <a:pt x="4238253" y="2872862"/>
                  </a:lnTo>
                  <a:lnTo>
                    <a:pt x="4203604" y="2878844"/>
                  </a:lnTo>
                  <a:lnTo>
                    <a:pt x="4178432" y="2872180"/>
                  </a:lnTo>
                  <a:close/>
                  <a:moveTo>
                    <a:pt x="8336383" y="2862273"/>
                  </a:moveTo>
                  <a:lnTo>
                    <a:pt x="8344274" y="2881642"/>
                  </a:lnTo>
                  <a:lnTo>
                    <a:pt x="8344274" y="2883256"/>
                  </a:lnTo>
                  <a:lnTo>
                    <a:pt x="8311132" y="2884870"/>
                  </a:lnTo>
                  <a:lnTo>
                    <a:pt x="8312710" y="2873572"/>
                  </a:lnTo>
                  <a:close/>
                  <a:moveTo>
                    <a:pt x="2144256" y="2860215"/>
                  </a:moveTo>
                  <a:lnTo>
                    <a:pt x="2144530" y="2862441"/>
                  </a:lnTo>
                  <a:lnTo>
                    <a:pt x="2161273" y="2877505"/>
                  </a:lnTo>
                  <a:lnTo>
                    <a:pt x="2165680" y="2889265"/>
                  </a:lnTo>
                  <a:lnTo>
                    <a:pt x="2165859" y="2888516"/>
                  </a:lnTo>
                  <a:lnTo>
                    <a:pt x="2160841" y="2875139"/>
                  </a:lnTo>
                  <a:close/>
                  <a:moveTo>
                    <a:pt x="4531427" y="2841498"/>
                  </a:moveTo>
                  <a:lnTo>
                    <a:pt x="4531427" y="2877906"/>
                  </a:lnTo>
                  <a:lnTo>
                    <a:pt x="4524704" y="2903467"/>
                  </a:lnTo>
                  <a:lnTo>
                    <a:pt x="4529746" y="2932435"/>
                  </a:lnTo>
                  <a:lnTo>
                    <a:pt x="4519661" y="2959699"/>
                  </a:lnTo>
                  <a:lnTo>
                    <a:pt x="4512938" y="2983556"/>
                  </a:lnTo>
                  <a:lnTo>
                    <a:pt x="4497812" y="3000596"/>
                  </a:lnTo>
                  <a:lnTo>
                    <a:pt x="4483010" y="3014102"/>
                  </a:lnTo>
                  <a:lnTo>
                    <a:pt x="4486309" y="3033830"/>
                  </a:lnTo>
                  <a:lnTo>
                    <a:pt x="4488064" y="3039511"/>
                  </a:lnTo>
                  <a:lnTo>
                    <a:pt x="4486614" y="3034732"/>
                  </a:lnTo>
                  <a:lnTo>
                    <a:pt x="4483311" y="3014626"/>
                  </a:lnTo>
                  <a:lnTo>
                    <a:pt x="4499828" y="2999546"/>
                  </a:lnTo>
                  <a:lnTo>
                    <a:pt x="4514692" y="2982790"/>
                  </a:lnTo>
                  <a:lnTo>
                    <a:pt x="4521299" y="2959333"/>
                  </a:lnTo>
                  <a:lnTo>
                    <a:pt x="4531209" y="2932524"/>
                  </a:lnTo>
                  <a:lnTo>
                    <a:pt x="4526254" y="2904039"/>
                  </a:lnTo>
                  <a:lnTo>
                    <a:pt x="4532861" y="2878906"/>
                  </a:lnTo>
                  <a:lnTo>
                    <a:pt x="4532861" y="2842044"/>
                  </a:lnTo>
                  <a:close/>
                  <a:moveTo>
                    <a:pt x="4590739" y="2839332"/>
                  </a:moveTo>
                  <a:lnTo>
                    <a:pt x="4590394" y="2839708"/>
                  </a:lnTo>
                  <a:lnTo>
                    <a:pt x="4591934" y="2853158"/>
                  </a:lnTo>
                  <a:lnTo>
                    <a:pt x="4592320" y="2853773"/>
                  </a:lnTo>
                  <a:close/>
                  <a:moveTo>
                    <a:pt x="1860242" y="2829404"/>
                  </a:moveTo>
                  <a:lnTo>
                    <a:pt x="1848775" y="2853963"/>
                  </a:lnTo>
                  <a:lnTo>
                    <a:pt x="1848775" y="2865623"/>
                  </a:lnTo>
                  <a:lnTo>
                    <a:pt x="1848938" y="2865286"/>
                  </a:lnTo>
                  <a:lnTo>
                    <a:pt x="1857248" y="2880374"/>
                  </a:lnTo>
                  <a:lnTo>
                    <a:pt x="1863887" y="2900491"/>
                  </a:lnTo>
                  <a:lnTo>
                    <a:pt x="1878840" y="2920608"/>
                  </a:lnTo>
                  <a:lnTo>
                    <a:pt x="1877178" y="2942402"/>
                  </a:lnTo>
                  <a:lnTo>
                    <a:pt x="1883833" y="2969225"/>
                  </a:lnTo>
                  <a:lnTo>
                    <a:pt x="1897115" y="2996048"/>
                  </a:lnTo>
                  <a:lnTo>
                    <a:pt x="1907091" y="3022871"/>
                  </a:lnTo>
                  <a:lnTo>
                    <a:pt x="1909561" y="3023121"/>
                  </a:lnTo>
                  <a:lnTo>
                    <a:pt x="1900149" y="2998022"/>
                  </a:lnTo>
                  <a:lnTo>
                    <a:pt x="1886765" y="2971240"/>
                  </a:lnTo>
                  <a:lnTo>
                    <a:pt x="1880063" y="2944459"/>
                  </a:lnTo>
                  <a:lnTo>
                    <a:pt x="1881736" y="2922699"/>
                  </a:lnTo>
                  <a:lnTo>
                    <a:pt x="1866673" y="2902613"/>
                  </a:lnTo>
                  <a:lnTo>
                    <a:pt x="1859982" y="2882527"/>
                  </a:lnTo>
                  <a:lnTo>
                    <a:pt x="1851608" y="2867462"/>
                  </a:lnTo>
                  <a:lnTo>
                    <a:pt x="1851608" y="2855745"/>
                  </a:lnTo>
                  <a:lnTo>
                    <a:pt x="1863328" y="2830638"/>
                  </a:lnTo>
                  <a:close/>
                  <a:moveTo>
                    <a:pt x="8387961" y="2829131"/>
                  </a:moveTo>
                  <a:lnTo>
                    <a:pt x="8378101" y="2842187"/>
                  </a:lnTo>
                  <a:lnTo>
                    <a:pt x="8351806" y="2848715"/>
                  </a:lnTo>
                  <a:lnTo>
                    <a:pt x="8351806" y="2840555"/>
                  </a:lnTo>
                  <a:close/>
                  <a:moveTo>
                    <a:pt x="8083656" y="2824612"/>
                  </a:moveTo>
                  <a:lnTo>
                    <a:pt x="8078007" y="2832144"/>
                  </a:lnTo>
                  <a:lnTo>
                    <a:pt x="8076124" y="2830638"/>
                  </a:lnTo>
                  <a:close/>
                  <a:moveTo>
                    <a:pt x="8059553" y="2815573"/>
                  </a:moveTo>
                  <a:lnTo>
                    <a:pt x="8070098" y="2835157"/>
                  </a:lnTo>
                  <a:lnTo>
                    <a:pt x="8059553" y="2833525"/>
                  </a:lnTo>
                  <a:close/>
                  <a:moveTo>
                    <a:pt x="2077577" y="2795487"/>
                  </a:moveTo>
                  <a:lnTo>
                    <a:pt x="2087619" y="2807204"/>
                  </a:lnTo>
                  <a:lnTo>
                    <a:pt x="2092641" y="2830638"/>
                  </a:lnTo>
                  <a:lnTo>
                    <a:pt x="2116074" y="2833985"/>
                  </a:lnTo>
                  <a:lnTo>
                    <a:pt x="2141058" y="2835651"/>
                  </a:lnTo>
                  <a:lnTo>
                    <a:pt x="2140768" y="2833334"/>
                  </a:lnTo>
                  <a:lnTo>
                    <a:pt x="2115692" y="2831662"/>
                  </a:lnTo>
                  <a:lnTo>
                    <a:pt x="2092273" y="2828318"/>
                  </a:lnTo>
                  <a:lnTo>
                    <a:pt x="2087257" y="2804907"/>
                  </a:lnTo>
                  <a:lnTo>
                    <a:pt x="2079182" y="2795487"/>
                  </a:lnTo>
                  <a:close/>
                  <a:moveTo>
                    <a:pt x="8049385" y="2785444"/>
                  </a:moveTo>
                  <a:lnTo>
                    <a:pt x="8056163" y="2794483"/>
                  </a:lnTo>
                  <a:lnTo>
                    <a:pt x="8059553" y="2792976"/>
                  </a:lnTo>
                  <a:lnTo>
                    <a:pt x="8057858" y="2805028"/>
                  </a:lnTo>
                  <a:lnTo>
                    <a:pt x="8045995" y="2805028"/>
                  </a:lnTo>
                  <a:close/>
                  <a:moveTo>
                    <a:pt x="4540271" y="2762664"/>
                  </a:moveTo>
                  <a:lnTo>
                    <a:pt x="4521837" y="2770413"/>
                  </a:lnTo>
                  <a:lnTo>
                    <a:pt x="4501816" y="2778829"/>
                  </a:lnTo>
                  <a:lnTo>
                    <a:pt x="4483463" y="2785562"/>
                  </a:lnTo>
                  <a:lnTo>
                    <a:pt x="4463442" y="2793978"/>
                  </a:lnTo>
                  <a:lnTo>
                    <a:pt x="4468447" y="2810810"/>
                  </a:lnTo>
                  <a:lnTo>
                    <a:pt x="4467558" y="2810959"/>
                  </a:lnTo>
                  <a:lnTo>
                    <a:pt x="4467558" y="2819969"/>
                  </a:lnTo>
                  <a:lnTo>
                    <a:pt x="4470098" y="2819602"/>
                  </a:lnTo>
                  <a:lnTo>
                    <a:pt x="4470098" y="2810208"/>
                  </a:lnTo>
                  <a:lnTo>
                    <a:pt x="4465143" y="2793453"/>
                  </a:lnTo>
                  <a:lnTo>
                    <a:pt x="4484963" y="2785075"/>
                  </a:lnTo>
                  <a:lnTo>
                    <a:pt x="4503131" y="2778373"/>
                  </a:lnTo>
                  <a:lnTo>
                    <a:pt x="4522951" y="2769995"/>
                  </a:lnTo>
                  <a:lnTo>
                    <a:pt x="4540278" y="2762671"/>
                  </a:lnTo>
                  <a:close/>
                  <a:moveTo>
                    <a:pt x="4453431" y="2704768"/>
                  </a:moveTo>
                  <a:lnTo>
                    <a:pt x="4451761" y="2706790"/>
                  </a:lnTo>
                  <a:lnTo>
                    <a:pt x="4448619" y="2743184"/>
                  </a:lnTo>
                  <a:lnTo>
                    <a:pt x="4450094" y="2743482"/>
                  </a:lnTo>
                  <a:close/>
                  <a:moveTo>
                    <a:pt x="4964988" y="2704095"/>
                  </a:moveTo>
                  <a:lnTo>
                    <a:pt x="4971711" y="2704095"/>
                  </a:lnTo>
                  <a:lnTo>
                    <a:pt x="4978434" y="2725792"/>
                  </a:lnTo>
                  <a:lnTo>
                    <a:pt x="4988519" y="2762510"/>
                  </a:lnTo>
                  <a:lnTo>
                    <a:pt x="4996923" y="2800896"/>
                  </a:lnTo>
                  <a:lnTo>
                    <a:pt x="4991880" y="2815917"/>
                  </a:lnTo>
                  <a:lnTo>
                    <a:pt x="4975073" y="2804234"/>
                  </a:lnTo>
                  <a:lnTo>
                    <a:pt x="4976754" y="2845959"/>
                  </a:lnTo>
                  <a:lnTo>
                    <a:pt x="4964988" y="2865987"/>
                  </a:lnTo>
                  <a:lnTo>
                    <a:pt x="4956585" y="2892690"/>
                  </a:lnTo>
                  <a:lnTo>
                    <a:pt x="4946500" y="2921063"/>
                  </a:lnTo>
                  <a:lnTo>
                    <a:pt x="4936415" y="2949436"/>
                  </a:lnTo>
                  <a:lnTo>
                    <a:pt x="4928012" y="2974471"/>
                  </a:lnTo>
                  <a:lnTo>
                    <a:pt x="4917927" y="3002843"/>
                  </a:lnTo>
                  <a:lnTo>
                    <a:pt x="4907842" y="3029547"/>
                  </a:lnTo>
                  <a:lnTo>
                    <a:pt x="4897758" y="3056251"/>
                  </a:lnTo>
                  <a:lnTo>
                    <a:pt x="4891035" y="3084623"/>
                  </a:lnTo>
                  <a:lnTo>
                    <a:pt x="4865823" y="3096306"/>
                  </a:lnTo>
                  <a:lnTo>
                    <a:pt x="4843974" y="3106320"/>
                  </a:lnTo>
                  <a:lnTo>
                    <a:pt x="4810358" y="3092968"/>
                  </a:lnTo>
                  <a:lnTo>
                    <a:pt x="4800274" y="3054582"/>
                  </a:lnTo>
                  <a:lnTo>
                    <a:pt x="4793551" y="3021202"/>
                  </a:lnTo>
                  <a:lnTo>
                    <a:pt x="4801955" y="2981146"/>
                  </a:lnTo>
                  <a:lnTo>
                    <a:pt x="4815401" y="2961119"/>
                  </a:lnTo>
                  <a:lnTo>
                    <a:pt x="4830527" y="2941091"/>
                  </a:lnTo>
                  <a:lnTo>
                    <a:pt x="4825485" y="2911049"/>
                  </a:lnTo>
                  <a:lnTo>
                    <a:pt x="4822124" y="2881007"/>
                  </a:lnTo>
                  <a:lnTo>
                    <a:pt x="4827166" y="2855973"/>
                  </a:lnTo>
                  <a:lnTo>
                    <a:pt x="4833889" y="2832607"/>
                  </a:lnTo>
                  <a:lnTo>
                    <a:pt x="4857420" y="2820924"/>
                  </a:lnTo>
                  <a:lnTo>
                    <a:pt x="4867504" y="2819255"/>
                  </a:lnTo>
                  <a:lnTo>
                    <a:pt x="4887673" y="2815917"/>
                  </a:lnTo>
                  <a:lnTo>
                    <a:pt x="4897758" y="2800896"/>
                  </a:lnTo>
                  <a:lnTo>
                    <a:pt x="4904481" y="2802565"/>
                  </a:lnTo>
                  <a:lnTo>
                    <a:pt x="4907842" y="2802565"/>
                  </a:lnTo>
                  <a:lnTo>
                    <a:pt x="4916246" y="2782537"/>
                  </a:lnTo>
                  <a:lnTo>
                    <a:pt x="4916246" y="2790882"/>
                  </a:lnTo>
                  <a:lnTo>
                    <a:pt x="4931373" y="2782537"/>
                  </a:lnTo>
                  <a:lnTo>
                    <a:pt x="4926331" y="2779199"/>
                  </a:lnTo>
                  <a:lnTo>
                    <a:pt x="4933054" y="2765848"/>
                  </a:lnTo>
                  <a:lnTo>
                    <a:pt x="4931373" y="2750827"/>
                  </a:lnTo>
                  <a:lnTo>
                    <a:pt x="4938096" y="2754165"/>
                  </a:lnTo>
                  <a:lnTo>
                    <a:pt x="4943138" y="2750827"/>
                  </a:lnTo>
                  <a:lnTo>
                    <a:pt x="4953223" y="2744151"/>
                  </a:lnTo>
                  <a:lnTo>
                    <a:pt x="4958265" y="2714109"/>
                  </a:lnTo>
                  <a:close/>
                  <a:moveTo>
                    <a:pt x="4581999" y="2694277"/>
                  </a:moveTo>
                  <a:lnTo>
                    <a:pt x="4581786" y="2694401"/>
                  </a:lnTo>
                  <a:lnTo>
                    <a:pt x="4574899" y="2716113"/>
                  </a:lnTo>
                  <a:lnTo>
                    <a:pt x="4580064" y="2746177"/>
                  </a:lnTo>
                  <a:lnTo>
                    <a:pt x="4595559" y="2764549"/>
                  </a:lnTo>
                  <a:lnTo>
                    <a:pt x="4612063" y="2780559"/>
                  </a:lnTo>
                  <a:lnTo>
                    <a:pt x="4612140" y="2780048"/>
                  </a:lnTo>
                  <a:lnTo>
                    <a:pt x="4595624" y="2763293"/>
                  </a:lnTo>
                  <a:lnTo>
                    <a:pt x="4580759" y="2744862"/>
                  </a:lnTo>
                  <a:lnTo>
                    <a:pt x="4575804" y="2714702"/>
                  </a:lnTo>
                  <a:close/>
                  <a:moveTo>
                    <a:pt x="4810122" y="2684511"/>
                  </a:moveTo>
                  <a:lnTo>
                    <a:pt x="4816148" y="2695056"/>
                  </a:lnTo>
                  <a:lnTo>
                    <a:pt x="4816148" y="2698069"/>
                  </a:lnTo>
                  <a:close/>
                  <a:moveTo>
                    <a:pt x="4300939" y="2669787"/>
                  </a:moveTo>
                  <a:lnTo>
                    <a:pt x="4300939" y="2697236"/>
                  </a:lnTo>
                  <a:lnTo>
                    <a:pt x="4300939" y="2728893"/>
                  </a:lnTo>
                  <a:lnTo>
                    <a:pt x="4274088" y="2728893"/>
                  </a:lnTo>
                  <a:lnTo>
                    <a:pt x="4248915" y="2730559"/>
                  </a:lnTo>
                  <a:lnTo>
                    <a:pt x="4247237" y="2752218"/>
                  </a:lnTo>
                  <a:lnTo>
                    <a:pt x="4247237" y="2777210"/>
                  </a:lnTo>
                  <a:lnTo>
                    <a:pt x="4247237" y="2800536"/>
                  </a:lnTo>
                  <a:lnTo>
                    <a:pt x="4247237" y="2823862"/>
                  </a:lnTo>
                  <a:lnTo>
                    <a:pt x="4248213" y="2825218"/>
                  </a:lnTo>
                  <a:lnTo>
                    <a:pt x="4248213" y="2802394"/>
                  </a:lnTo>
                  <a:lnTo>
                    <a:pt x="4248213" y="2778829"/>
                  </a:lnTo>
                  <a:lnTo>
                    <a:pt x="4248213" y="2753581"/>
                  </a:lnTo>
                  <a:lnTo>
                    <a:pt x="4249881" y="2731699"/>
                  </a:lnTo>
                  <a:lnTo>
                    <a:pt x="4274908" y="2730016"/>
                  </a:lnTo>
                  <a:lnTo>
                    <a:pt x="4301603" y="2730016"/>
                  </a:lnTo>
                  <a:lnTo>
                    <a:pt x="4301603" y="2698035"/>
                  </a:lnTo>
                  <a:lnTo>
                    <a:pt x="4301603" y="2670679"/>
                  </a:lnTo>
                  <a:close/>
                  <a:moveTo>
                    <a:pt x="7429686" y="2664927"/>
                  </a:moveTo>
                  <a:lnTo>
                    <a:pt x="7431360" y="2673260"/>
                  </a:lnTo>
                  <a:lnTo>
                    <a:pt x="7436381" y="2686593"/>
                  </a:lnTo>
                  <a:lnTo>
                    <a:pt x="7443077" y="2704925"/>
                  </a:lnTo>
                  <a:lnTo>
                    <a:pt x="7444751" y="2731591"/>
                  </a:lnTo>
                  <a:lnTo>
                    <a:pt x="7446425" y="2753257"/>
                  </a:lnTo>
                  <a:lnTo>
                    <a:pt x="7449772" y="2773256"/>
                  </a:lnTo>
                  <a:lnTo>
                    <a:pt x="7466511" y="2771589"/>
                  </a:lnTo>
                  <a:lnTo>
                    <a:pt x="7481575" y="2786589"/>
                  </a:lnTo>
                  <a:lnTo>
                    <a:pt x="7486597" y="2799921"/>
                  </a:lnTo>
                  <a:lnTo>
                    <a:pt x="7483249" y="2826587"/>
                  </a:lnTo>
                  <a:lnTo>
                    <a:pt x="7489945" y="2849919"/>
                  </a:lnTo>
                  <a:lnTo>
                    <a:pt x="7489945" y="2876585"/>
                  </a:lnTo>
                  <a:lnTo>
                    <a:pt x="7489945" y="2904917"/>
                  </a:lnTo>
                  <a:lnTo>
                    <a:pt x="7520074" y="2926583"/>
                  </a:lnTo>
                  <a:lnTo>
                    <a:pt x="7536812" y="2946582"/>
                  </a:lnTo>
                  <a:lnTo>
                    <a:pt x="7545181" y="2954915"/>
                  </a:lnTo>
                  <a:lnTo>
                    <a:pt x="7541834" y="2963248"/>
                  </a:lnTo>
                  <a:lnTo>
                    <a:pt x="7551877" y="2986580"/>
                  </a:lnTo>
                  <a:lnTo>
                    <a:pt x="7551877" y="3011579"/>
                  </a:lnTo>
                  <a:lnTo>
                    <a:pt x="7560246" y="3019912"/>
                  </a:lnTo>
                  <a:lnTo>
                    <a:pt x="7563594" y="3006579"/>
                  </a:lnTo>
                  <a:lnTo>
                    <a:pt x="7575310" y="3019912"/>
                  </a:lnTo>
                  <a:lnTo>
                    <a:pt x="7580332" y="3011579"/>
                  </a:lnTo>
                  <a:lnTo>
                    <a:pt x="7573637" y="3046577"/>
                  </a:lnTo>
                  <a:lnTo>
                    <a:pt x="7590375" y="3064910"/>
                  </a:lnTo>
                  <a:lnTo>
                    <a:pt x="7600418" y="3081576"/>
                  </a:lnTo>
                  <a:lnTo>
                    <a:pt x="7610461" y="3096575"/>
                  </a:lnTo>
                  <a:lnTo>
                    <a:pt x="7612135" y="3114908"/>
                  </a:lnTo>
                  <a:lnTo>
                    <a:pt x="7605440" y="3139907"/>
                  </a:lnTo>
                  <a:lnTo>
                    <a:pt x="7597070" y="3163239"/>
                  </a:lnTo>
                  <a:lnTo>
                    <a:pt x="7597070" y="3183238"/>
                  </a:lnTo>
                  <a:lnTo>
                    <a:pt x="7595397" y="3204904"/>
                  </a:lnTo>
                  <a:lnTo>
                    <a:pt x="7580332" y="3233236"/>
                  </a:lnTo>
                  <a:lnTo>
                    <a:pt x="7560246" y="3261568"/>
                  </a:lnTo>
                  <a:lnTo>
                    <a:pt x="7540160" y="3289900"/>
                  </a:lnTo>
                  <a:lnTo>
                    <a:pt x="7516726" y="3314899"/>
                  </a:lnTo>
                  <a:lnTo>
                    <a:pt x="7506683" y="3323232"/>
                  </a:lnTo>
                  <a:lnTo>
                    <a:pt x="7476554" y="3346564"/>
                  </a:lnTo>
                  <a:lnTo>
                    <a:pt x="7466511" y="3356564"/>
                  </a:lnTo>
                  <a:lnTo>
                    <a:pt x="7443077" y="3389896"/>
                  </a:lnTo>
                  <a:lnTo>
                    <a:pt x="7414622" y="3419895"/>
                  </a:lnTo>
                  <a:lnTo>
                    <a:pt x="7386166" y="3449893"/>
                  </a:lnTo>
                  <a:lnTo>
                    <a:pt x="7374449" y="3464893"/>
                  </a:lnTo>
                  <a:lnTo>
                    <a:pt x="7342646" y="3474892"/>
                  </a:lnTo>
                  <a:lnTo>
                    <a:pt x="7319213" y="3476559"/>
                  </a:lnTo>
                  <a:lnTo>
                    <a:pt x="7270671" y="3501558"/>
                  </a:lnTo>
                  <a:lnTo>
                    <a:pt x="7263976" y="3511557"/>
                  </a:lnTo>
                  <a:lnTo>
                    <a:pt x="7258954" y="3506557"/>
                  </a:lnTo>
                  <a:lnTo>
                    <a:pt x="7253933" y="3493225"/>
                  </a:lnTo>
                  <a:lnTo>
                    <a:pt x="7243890" y="3493225"/>
                  </a:lnTo>
                  <a:lnTo>
                    <a:pt x="7238868" y="3491558"/>
                  </a:lnTo>
                  <a:lnTo>
                    <a:pt x="7248911" y="3479892"/>
                  </a:lnTo>
                  <a:lnTo>
                    <a:pt x="7232173" y="3484892"/>
                  </a:lnTo>
                  <a:lnTo>
                    <a:pt x="7232173" y="3489891"/>
                  </a:lnTo>
                  <a:lnTo>
                    <a:pt x="7195348" y="3503224"/>
                  </a:lnTo>
                  <a:lnTo>
                    <a:pt x="7178610" y="3496558"/>
                  </a:lnTo>
                  <a:lnTo>
                    <a:pt x="7160197" y="3489891"/>
                  </a:lnTo>
                  <a:lnTo>
                    <a:pt x="7135090" y="3479892"/>
                  </a:lnTo>
                  <a:lnTo>
                    <a:pt x="7133416" y="3449893"/>
                  </a:lnTo>
                  <a:lnTo>
                    <a:pt x="7143459" y="3421561"/>
                  </a:lnTo>
                  <a:lnTo>
                    <a:pt x="7138437" y="3409895"/>
                  </a:lnTo>
                  <a:lnTo>
                    <a:pt x="7131742" y="3406562"/>
                  </a:lnTo>
                  <a:lnTo>
                    <a:pt x="7118351" y="3406562"/>
                  </a:lnTo>
                  <a:lnTo>
                    <a:pt x="7138437" y="3383229"/>
                  </a:lnTo>
                  <a:lnTo>
                    <a:pt x="7131742" y="3369897"/>
                  </a:lnTo>
                  <a:lnTo>
                    <a:pt x="7109982" y="3396562"/>
                  </a:lnTo>
                  <a:lnTo>
                    <a:pt x="7091570" y="3396562"/>
                  </a:lnTo>
                  <a:lnTo>
                    <a:pt x="7103287" y="3389896"/>
                  </a:lnTo>
                  <a:lnTo>
                    <a:pt x="7121699" y="3364897"/>
                  </a:lnTo>
                  <a:lnTo>
                    <a:pt x="7140111" y="3341565"/>
                  </a:lnTo>
                  <a:lnTo>
                    <a:pt x="7145133" y="3319899"/>
                  </a:lnTo>
                  <a:lnTo>
                    <a:pt x="7133416" y="3333232"/>
                  </a:lnTo>
                  <a:lnTo>
                    <a:pt x="7103287" y="3356564"/>
                  </a:lnTo>
                  <a:lnTo>
                    <a:pt x="7073158" y="3383229"/>
                  </a:lnTo>
                  <a:lnTo>
                    <a:pt x="7069810" y="3386563"/>
                  </a:lnTo>
                  <a:lnTo>
                    <a:pt x="7058093" y="3374896"/>
                  </a:lnTo>
                  <a:lnTo>
                    <a:pt x="7061441" y="3374896"/>
                  </a:lnTo>
                  <a:lnTo>
                    <a:pt x="7059767" y="3354897"/>
                  </a:lnTo>
                  <a:lnTo>
                    <a:pt x="7058093" y="3334898"/>
                  </a:lnTo>
                  <a:lnTo>
                    <a:pt x="7053071" y="3323232"/>
                  </a:lnTo>
                  <a:lnTo>
                    <a:pt x="7049724" y="3314899"/>
                  </a:lnTo>
                  <a:lnTo>
                    <a:pt x="7043028" y="3306566"/>
                  </a:lnTo>
                  <a:lnTo>
                    <a:pt x="7007878" y="3293233"/>
                  </a:lnTo>
                  <a:lnTo>
                    <a:pt x="6989465" y="3286567"/>
                  </a:lnTo>
                  <a:lnTo>
                    <a:pt x="6957662" y="3293233"/>
                  </a:lnTo>
                  <a:lnTo>
                    <a:pt x="6924186" y="3296567"/>
                  </a:lnTo>
                  <a:lnTo>
                    <a:pt x="6892383" y="3303233"/>
                  </a:lnTo>
                  <a:lnTo>
                    <a:pt x="6860580" y="3309899"/>
                  </a:lnTo>
                  <a:lnTo>
                    <a:pt x="6828777" y="3323232"/>
                  </a:lnTo>
                  <a:lnTo>
                    <a:pt x="6793626" y="3334898"/>
                  </a:lnTo>
                  <a:lnTo>
                    <a:pt x="6770192" y="3359897"/>
                  </a:lnTo>
                  <a:lnTo>
                    <a:pt x="6733367" y="3361564"/>
                  </a:lnTo>
                  <a:lnTo>
                    <a:pt x="6706586" y="3361564"/>
                  </a:lnTo>
                  <a:lnTo>
                    <a:pt x="6678131" y="3361564"/>
                  </a:lnTo>
                  <a:lnTo>
                    <a:pt x="6661392" y="3373230"/>
                  </a:lnTo>
                  <a:lnTo>
                    <a:pt x="6658045" y="3376563"/>
                  </a:lnTo>
                  <a:lnTo>
                    <a:pt x="6626242" y="3389896"/>
                  </a:lnTo>
                  <a:lnTo>
                    <a:pt x="6592765" y="3393229"/>
                  </a:lnTo>
                  <a:lnTo>
                    <a:pt x="6576027" y="3381563"/>
                  </a:lnTo>
                  <a:lnTo>
                    <a:pt x="6557614" y="3371563"/>
                  </a:lnTo>
                  <a:lnTo>
                    <a:pt x="6559288" y="3353231"/>
                  </a:lnTo>
                  <a:lnTo>
                    <a:pt x="6571005" y="3349898"/>
                  </a:lnTo>
                  <a:lnTo>
                    <a:pt x="6589417" y="3319899"/>
                  </a:lnTo>
                  <a:lnTo>
                    <a:pt x="6591091" y="3299900"/>
                  </a:lnTo>
                  <a:lnTo>
                    <a:pt x="6596113" y="3276567"/>
                  </a:lnTo>
                  <a:lnTo>
                    <a:pt x="6597786" y="3254902"/>
                  </a:lnTo>
                  <a:lnTo>
                    <a:pt x="6599460" y="3233236"/>
                  </a:lnTo>
                  <a:lnTo>
                    <a:pt x="6596113" y="3206570"/>
                  </a:lnTo>
                  <a:lnTo>
                    <a:pt x="6592765" y="3181572"/>
                  </a:lnTo>
                  <a:lnTo>
                    <a:pt x="6589417" y="3153239"/>
                  </a:lnTo>
                  <a:lnTo>
                    <a:pt x="6586070" y="3124907"/>
                  </a:lnTo>
                  <a:lnTo>
                    <a:pt x="6587743" y="3126574"/>
                  </a:lnTo>
                  <a:lnTo>
                    <a:pt x="6592765" y="3139907"/>
                  </a:lnTo>
                  <a:lnTo>
                    <a:pt x="6592765" y="3109908"/>
                  </a:lnTo>
                  <a:lnTo>
                    <a:pt x="6601134" y="3123241"/>
                  </a:lnTo>
                  <a:lnTo>
                    <a:pt x="6601134" y="3131574"/>
                  </a:lnTo>
                  <a:lnTo>
                    <a:pt x="6607830" y="3124907"/>
                  </a:lnTo>
                  <a:lnTo>
                    <a:pt x="6606156" y="3104908"/>
                  </a:lnTo>
                  <a:lnTo>
                    <a:pt x="6602808" y="3083242"/>
                  </a:lnTo>
                  <a:lnTo>
                    <a:pt x="6606156" y="3056577"/>
                  </a:lnTo>
                  <a:lnTo>
                    <a:pt x="6619546" y="3024912"/>
                  </a:lnTo>
                  <a:lnTo>
                    <a:pt x="6631263" y="2996580"/>
                  </a:lnTo>
                  <a:lnTo>
                    <a:pt x="6629589" y="3014912"/>
                  </a:lnTo>
                  <a:lnTo>
                    <a:pt x="6641306" y="3004913"/>
                  </a:lnTo>
                  <a:lnTo>
                    <a:pt x="6676457" y="2981580"/>
                  </a:lnTo>
                  <a:lnTo>
                    <a:pt x="6711608" y="2956581"/>
                  </a:lnTo>
                  <a:lnTo>
                    <a:pt x="6719977" y="2961581"/>
                  </a:lnTo>
                  <a:lnTo>
                    <a:pt x="6743411" y="2953248"/>
                  </a:lnTo>
                  <a:lnTo>
                    <a:pt x="6768518" y="2944915"/>
                  </a:lnTo>
                  <a:lnTo>
                    <a:pt x="6798647" y="2939915"/>
                  </a:lnTo>
                  <a:lnTo>
                    <a:pt x="6818733" y="2926583"/>
                  </a:lnTo>
                  <a:lnTo>
                    <a:pt x="6838820" y="2914916"/>
                  </a:lnTo>
                  <a:lnTo>
                    <a:pt x="6863927" y="2886584"/>
                  </a:lnTo>
                  <a:lnTo>
                    <a:pt x="6863927" y="2866585"/>
                  </a:lnTo>
                  <a:lnTo>
                    <a:pt x="6882339" y="2843253"/>
                  </a:lnTo>
                  <a:lnTo>
                    <a:pt x="6890709" y="2834920"/>
                  </a:lnTo>
                  <a:lnTo>
                    <a:pt x="6899078" y="2856586"/>
                  </a:lnTo>
                  <a:lnTo>
                    <a:pt x="6907447" y="2879918"/>
                  </a:lnTo>
                  <a:lnTo>
                    <a:pt x="6907447" y="2854919"/>
                  </a:lnTo>
                  <a:lnTo>
                    <a:pt x="6912469" y="2851586"/>
                  </a:lnTo>
                  <a:lnTo>
                    <a:pt x="6909121" y="2836586"/>
                  </a:lnTo>
                  <a:lnTo>
                    <a:pt x="6912469" y="2831587"/>
                  </a:lnTo>
                  <a:lnTo>
                    <a:pt x="6919164" y="2833253"/>
                  </a:lnTo>
                  <a:lnTo>
                    <a:pt x="6924186" y="2833253"/>
                  </a:lnTo>
                  <a:lnTo>
                    <a:pt x="6939250" y="2833253"/>
                  </a:lnTo>
                  <a:lnTo>
                    <a:pt x="6932555" y="2831587"/>
                  </a:lnTo>
                  <a:lnTo>
                    <a:pt x="6932555" y="2823254"/>
                  </a:lnTo>
                  <a:lnTo>
                    <a:pt x="6940924" y="2816587"/>
                  </a:lnTo>
                  <a:lnTo>
                    <a:pt x="6937576" y="2816587"/>
                  </a:lnTo>
                  <a:lnTo>
                    <a:pt x="6934229" y="2814921"/>
                  </a:lnTo>
                  <a:lnTo>
                    <a:pt x="6942598" y="2803254"/>
                  </a:lnTo>
                  <a:lnTo>
                    <a:pt x="6954315" y="2809921"/>
                  </a:lnTo>
                  <a:lnTo>
                    <a:pt x="6950967" y="2794921"/>
                  </a:lnTo>
                  <a:lnTo>
                    <a:pt x="6961010" y="2796588"/>
                  </a:lnTo>
                  <a:lnTo>
                    <a:pt x="6959336" y="2786589"/>
                  </a:lnTo>
                  <a:lnTo>
                    <a:pt x="6972727" y="2773256"/>
                  </a:lnTo>
                  <a:lnTo>
                    <a:pt x="6977749" y="2781589"/>
                  </a:lnTo>
                  <a:lnTo>
                    <a:pt x="6982770" y="2764923"/>
                  </a:lnTo>
                  <a:lnTo>
                    <a:pt x="6989465" y="2764923"/>
                  </a:lnTo>
                  <a:lnTo>
                    <a:pt x="6992813" y="2761590"/>
                  </a:lnTo>
                  <a:lnTo>
                    <a:pt x="6994487" y="2764923"/>
                  </a:lnTo>
                  <a:lnTo>
                    <a:pt x="7007878" y="2761590"/>
                  </a:lnTo>
                  <a:lnTo>
                    <a:pt x="7009552" y="2754923"/>
                  </a:lnTo>
                  <a:lnTo>
                    <a:pt x="7034659" y="2781589"/>
                  </a:lnTo>
                  <a:lnTo>
                    <a:pt x="7029638" y="2799921"/>
                  </a:lnTo>
                  <a:lnTo>
                    <a:pt x="7029638" y="2806588"/>
                  </a:lnTo>
                  <a:lnTo>
                    <a:pt x="7032985" y="2801588"/>
                  </a:lnTo>
                  <a:lnTo>
                    <a:pt x="7039681" y="2801588"/>
                  </a:lnTo>
                  <a:lnTo>
                    <a:pt x="7043028" y="2786589"/>
                  </a:lnTo>
                  <a:lnTo>
                    <a:pt x="7061441" y="2794921"/>
                  </a:lnTo>
                  <a:lnTo>
                    <a:pt x="7064788" y="2789922"/>
                  </a:lnTo>
                  <a:lnTo>
                    <a:pt x="7084875" y="2804921"/>
                  </a:lnTo>
                  <a:lnTo>
                    <a:pt x="7074831" y="2794921"/>
                  </a:lnTo>
                  <a:lnTo>
                    <a:pt x="7083201" y="2784922"/>
                  </a:lnTo>
                  <a:lnTo>
                    <a:pt x="7079853" y="2781589"/>
                  </a:lnTo>
                  <a:lnTo>
                    <a:pt x="7071484" y="2776589"/>
                  </a:lnTo>
                  <a:lnTo>
                    <a:pt x="7083201" y="2754923"/>
                  </a:lnTo>
                  <a:lnTo>
                    <a:pt x="7093244" y="2744924"/>
                  </a:lnTo>
                  <a:lnTo>
                    <a:pt x="7094918" y="2739924"/>
                  </a:lnTo>
                  <a:lnTo>
                    <a:pt x="7104961" y="2723258"/>
                  </a:lnTo>
                  <a:lnTo>
                    <a:pt x="7109982" y="2716592"/>
                  </a:lnTo>
                  <a:lnTo>
                    <a:pt x="7115004" y="2721591"/>
                  </a:lnTo>
                  <a:lnTo>
                    <a:pt x="7121699" y="2711592"/>
                  </a:lnTo>
                  <a:lnTo>
                    <a:pt x="7131742" y="2706592"/>
                  </a:lnTo>
                  <a:lnTo>
                    <a:pt x="7153502" y="2711592"/>
                  </a:lnTo>
                  <a:lnTo>
                    <a:pt x="7161871" y="2706592"/>
                  </a:lnTo>
                  <a:lnTo>
                    <a:pt x="7168567" y="2694926"/>
                  </a:lnTo>
                  <a:lnTo>
                    <a:pt x="7155176" y="2686593"/>
                  </a:lnTo>
                  <a:lnTo>
                    <a:pt x="7145133" y="2681593"/>
                  </a:lnTo>
                  <a:lnTo>
                    <a:pt x="7153502" y="2684926"/>
                  </a:lnTo>
                  <a:lnTo>
                    <a:pt x="7155176" y="2681593"/>
                  </a:lnTo>
                  <a:lnTo>
                    <a:pt x="7163545" y="2683260"/>
                  </a:lnTo>
                  <a:lnTo>
                    <a:pt x="7175262" y="2684926"/>
                  </a:lnTo>
                  <a:lnTo>
                    <a:pt x="7193674" y="2696592"/>
                  </a:lnTo>
                  <a:lnTo>
                    <a:pt x="7205391" y="2704925"/>
                  </a:lnTo>
                  <a:lnTo>
                    <a:pt x="7223803" y="2709925"/>
                  </a:lnTo>
                  <a:lnTo>
                    <a:pt x="7248911" y="2703259"/>
                  </a:lnTo>
                  <a:lnTo>
                    <a:pt x="7243890" y="2709925"/>
                  </a:lnTo>
                  <a:lnTo>
                    <a:pt x="7252259" y="2709925"/>
                  </a:lnTo>
                  <a:lnTo>
                    <a:pt x="7253933" y="2716592"/>
                  </a:lnTo>
                  <a:lnTo>
                    <a:pt x="7263976" y="2703259"/>
                  </a:lnTo>
                  <a:lnTo>
                    <a:pt x="7275693" y="2713258"/>
                  </a:lnTo>
                  <a:lnTo>
                    <a:pt x="7263976" y="2731591"/>
                  </a:lnTo>
                  <a:lnTo>
                    <a:pt x="7258954" y="2741590"/>
                  </a:lnTo>
                  <a:lnTo>
                    <a:pt x="7253933" y="2736591"/>
                  </a:lnTo>
                  <a:lnTo>
                    <a:pt x="7245563" y="2754923"/>
                  </a:lnTo>
                  <a:lnTo>
                    <a:pt x="7228825" y="2784922"/>
                  </a:lnTo>
                  <a:lnTo>
                    <a:pt x="7243890" y="2801588"/>
                  </a:lnTo>
                  <a:lnTo>
                    <a:pt x="7258954" y="2819920"/>
                  </a:lnTo>
                  <a:lnTo>
                    <a:pt x="7285736" y="2836586"/>
                  </a:lnTo>
                  <a:lnTo>
                    <a:pt x="7312517" y="2854919"/>
                  </a:lnTo>
                  <a:lnTo>
                    <a:pt x="7330929" y="2871585"/>
                  </a:lnTo>
                  <a:lnTo>
                    <a:pt x="7351015" y="2866585"/>
                  </a:lnTo>
                  <a:lnTo>
                    <a:pt x="7369428" y="2833253"/>
                  </a:lnTo>
                  <a:lnTo>
                    <a:pt x="7389514" y="2799921"/>
                  </a:lnTo>
                  <a:lnTo>
                    <a:pt x="7391188" y="2774922"/>
                  </a:lnTo>
                  <a:lnTo>
                    <a:pt x="7392862" y="2749923"/>
                  </a:lnTo>
                  <a:lnTo>
                    <a:pt x="7396209" y="2749923"/>
                  </a:lnTo>
                  <a:lnTo>
                    <a:pt x="7399557" y="2736591"/>
                  </a:lnTo>
                  <a:lnTo>
                    <a:pt x="7406252" y="2724925"/>
                  </a:lnTo>
                  <a:lnTo>
                    <a:pt x="7406252" y="2721591"/>
                  </a:lnTo>
                  <a:lnTo>
                    <a:pt x="7402905" y="2719925"/>
                  </a:lnTo>
                  <a:lnTo>
                    <a:pt x="7409600" y="2703259"/>
                  </a:lnTo>
                  <a:lnTo>
                    <a:pt x="7414622" y="2691593"/>
                  </a:lnTo>
                  <a:close/>
                  <a:moveTo>
                    <a:pt x="1946953" y="2662245"/>
                  </a:moveTo>
                  <a:lnTo>
                    <a:pt x="1947023" y="2663253"/>
                  </a:lnTo>
                  <a:lnTo>
                    <a:pt x="1950369" y="2686687"/>
                  </a:lnTo>
                  <a:lnTo>
                    <a:pt x="1970450" y="2710121"/>
                  </a:lnTo>
                  <a:lnTo>
                    <a:pt x="1990537" y="2716816"/>
                  </a:lnTo>
                  <a:lnTo>
                    <a:pt x="2012300" y="2726859"/>
                  </a:lnTo>
                  <a:lnTo>
                    <a:pt x="2042429" y="2746946"/>
                  </a:lnTo>
                  <a:lnTo>
                    <a:pt x="2072558" y="2753641"/>
                  </a:lnTo>
                  <a:lnTo>
                    <a:pt x="2080799" y="2765183"/>
                  </a:lnTo>
                  <a:lnTo>
                    <a:pt x="2080568" y="2763103"/>
                  </a:lnTo>
                  <a:lnTo>
                    <a:pt x="2072207" y="2751398"/>
                  </a:lnTo>
                  <a:lnTo>
                    <a:pt x="2042107" y="2744709"/>
                  </a:lnTo>
                  <a:lnTo>
                    <a:pt x="2012012" y="2724643"/>
                  </a:lnTo>
                  <a:lnTo>
                    <a:pt x="1990268" y="2714610"/>
                  </a:lnTo>
                  <a:lnTo>
                    <a:pt x="1970209" y="2707922"/>
                  </a:lnTo>
                  <a:lnTo>
                    <a:pt x="1950135" y="2684511"/>
                  </a:lnTo>
                  <a:close/>
                  <a:moveTo>
                    <a:pt x="4557616" y="2654226"/>
                  </a:moveTo>
                  <a:lnTo>
                    <a:pt x="4554616" y="2659521"/>
                  </a:lnTo>
                  <a:lnTo>
                    <a:pt x="4557682" y="2654316"/>
                  </a:lnTo>
                  <a:close/>
                  <a:moveTo>
                    <a:pt x="7933010" y="2648356"/>
                  </a:moveTo>
                  <a:lnTo>
                    <a:pt x="7952594" y="2661613"/>
                  </a:lnTo>
                  <a:lnTo>
                    <a:pt x="7952594" y="2664927"/>
                  </a:lnTo>
                  <a:lnTo>
                    <a:pt x="7934516" y="2653327"/>
                  </a:lnTo>
                  <a:close/>
                  <a:moveTo>
                    <a:pt x="7658835" y="2634798"/>
                  </a:moveTo>
                  <a:lnTo>
                    <a:pt x="7667874" y="2640222"/>
                  </a:lnTo>
                  <a:lnTo>
                    <a:pt x="7663355" y="2643837"/>
                  </a:lnTo>
                  <a:close/>
                  <a:moveTo>
                    <a:pt x="1802979" y="2624313"/>
                  </a:moveTo>
                  <a:lnTo>
                    <a:pt x="1800371" y="2626692"/>
                  </a:lnTo>
                  <a:lnTo>
                    <a:pt x="1801923" y="2650065"/>
                  </a:lnTo>
                  <a:lnTo>
                    <a:pt x="1803595" y="2671791"/>
                  </a:lnTo>
                  <a:lnTo>
                    <a:pt x="1832037" y="2670120"/>
                  </a:lnTo>
                  <a:lnTo>
                    <a:pt x="1843757" y="2691847"/>
                  </a:lnTo>
                  <a:lnTo>
                    <a:pt x="1858812" y="2715245"/>
                  </a:lnTo>
                  <a:lnTo>
                    <a:pt x="1853794" y="2723602"/>
                  </a:lnTo>
                  <a:lnTo>
                    <a:pt x="1853794" y="2760370"/>
                  </a:lnTo>
                  <a:lnTo>
                    <a:pt x="1848775" y="2775412"/>
                  </a:lnTo>
                  <a:lnTo>
                    <a:pt x="1848775" y="2800482"/>
                  </a:lnTo>
                  <a:lnTo>
                    <a:pt x="1852121" y="2825551"/>
                  </a:lnTo>
                  <a:lnTo>
                    <a:pt x="1854873" y="2826652"/>
                  </a:lnTo>
                  <a:lnTo>
                    <a:pt x="1851608" y="2802182"/>
                  </a:lnTo>
                  <a:lnTo>
                    <a:pt x="1851608" y="2777075"/>
                  </a:lnTo>
                  <a:lnTo>
                    <a:pt x="1856636" y="2762010"/>
                  </a:lnTo>
                  <a:lnTo>
                    <a:pt x="1856636" y="2725186"/>
                  </a:lnTo>
                  <a:lnTo>
                    <a:pt x="1861655" y="2716816"/>
                  </a:lnTo>
                  <a:lnTo>
                    <a:pt x="1846586" y="2693383"/>
                  </a:lnTo>
                  <a:lnTo>
                    <a:pt x="1834871" y="2671623"/>
                  </a:lnTo>
                  <a:lnTo>
                    <a:pt x="1866673" y="2671623"/>
                  </a:lnTo>
                  <a:lnTo>
                    <a:pt x="1880063" y="2663253"/>
                  </a:lnTo>
                  <a:lnTo>
                    <a:pt x="1901823" y="2649863"/>
                  </a:lnTo>
                  <a:lnTo>
                    <a:pt x="1923585" y="2634798"/>
                  </a:lnTo>
                  <a:lnTo>
                    <a:pt x="1945251" y="2636465"/>
                  </a:lnTo>
                  <a:lnTo>
                    <a:pt x="1945118" y="2634346"/>
                  </a:lnTo>
                  <a:lnTo>
                    <a:pt x="1923388" y="2632674"/>
                  </a:lnTo>
                  <a:lnTo>
                    <a:pt x="1901641" y="2647723"/>
                  </a:lnTo>
                  <a:lnTo>
                    <a:pt x="1879901" y="2661101"/>
                  </a:lnTo>
                  <a:lnTo>
                    <a:pt x="1866530" y="2669462"/>
                  </a:lnTo>
                  <a:lnTo>
                    <a:pt x="1834752" y="2669462"/>
                  </a:lnTo>
                  <a:lnTo>
                    <a:pt x="1806325" y="2671134"/>
                  </a:lnTo>
                  <a:lnTo>
                    <a:pt x="1804652" y="2649396"/>
                  </a:lnTo>
                  <a:close/>
                  <a:moveTo>
                    <a:pt x="6815218" y="2624252"/>
                  </a:moveTo>
                  <a:lnTo>
                    <a:pt x="6843572" y="2624252"/>
                  </a:lnTo>
                  <a:lnTo>
                    <a:pt x="6861918" y="2643535"/>
                  </a:lnTo>
                  <a:lnTo>
                    <a:pt x="6843572" y="2648355"/>
                  </a:lnTo>
                  <a:lnTo>
                    <a:pt x="6821889" y="2633893"/>
                  </a:lnTo>
                  <a:close/>
                  <a:moveTo>
                    <a:pt x="4540466" y="2623407"/>
                  </a:moveTo>
                  <a:lnTo>
                    <a:pt x="4540773" y="2624646"/>
                  </a:lnTo>
                  <a:lnTo>
                    <a:pt x="4564569" y="2629263"/>
                  </a:lnTo>
                  <a:lnTo>
                    <a:pt x="4574899" y="2634273"/>
                  </a:lnTo>
                  <a:lnTo>
                    <a:pt x="4580282" y="2653072"/>
                  </a:lnTo>
                  <a:lnTo>
                    <a:pt x="4574771" y="2633276"/>
                  </a:lnTo>
                  <a:lnTo>
                    <a:pt x="4564675" y="2628238"/>
                  </a:lnTo>
                  <a:close/>
                  <a:moveTo>
                    <a:pt x="4896994" y="2621240"/>
                  </a:moveTo>
                  <a:lnTo>
                    <a:pt x="4900509" y="2621240"/>
                  </a:lnTo>
                  <a:lnTo>
                    <a:pt x="4889964" y="2624253"/>
                  </a:lnTo>
                  <a:close/>
                  <a:moveTo>
                    <a:pt x="7894345" y="2618227"/>
                  </a:moveTo>
                  <a:lnTo>
                    <a:pt x="7919452" y="2634250"/>
                  </a:lnTo>
                  <a:lnTo>
                    <a:pt x="7917778" y="2637811"/>
                  </a:lnTo>
                  <a:lnTo>
                    <a:pt x="7889323" y="2627129"/>
                  </a:lnTo>
                  <a:close/>
                  <a:moveTo>
                    <a:pt x="4432082" y="2599221"/>
                  </a:moveTo>
                  <a:lnTo>
                    <a:pt x="4431882" y="2599275"/>
                  </a:lnTo>
                  <a:lnTo>
                    <a:pt x="4418601" y="2621015"/>
                  </a:lnTo>
                  <a:lnTo>
                    <a:pt x="4423581" y="2646101"/>
                  </a:lnTo>
                  <a:lnTo>
                    <a:pt x="4421921" y="2672858"/>
                  </a:lnTo>
                  <a:lnTo>
                    <a:pt x="4418601" y="2699616"/>
                  </a:lnTo>
                  <a:lnTo>
                    <a:pt x="4443502" y="2716339"/>
                  </a:lnTo>
                  <a:lnTo>
                    <a:pt x="4444852" y="2714708"/>
                  </a:lnTo>
                  <a:lnTo>
                    <a:pt x="4420062" y="2698035"/>
                  </a:lnTo>
                  <a:lnTo>
                    <a:pt x="4423399" y="2671104"/>
                  </a:lnTo>
                  <a:lnTo>
                    <a:pt x="4425067" y="2644173"/>
                  </a:lnTo>
                  <a:lnTo>
                    <a:pt x="4420062" y="2618925"/>
                  </a:lnTo>
                  <a:close/>
                  <a:moveTo>
                    <a:pt x="7035161" y="2594123"/>
                  </a:moveTo>
                  <a:lnTo>
                    <a:pt x="7002562" y="2613750"/>
                  </a:lnTo>
                  <a:lnTo>
                    <a:pt x="6971594" y="2633377"/>
                  </a:lnTo>
                  <a:lnTo>
                    <a:pt x="6937365" y="2651368"/>
                  </a:lnTo>
                  <a:lnTo>
                    <a:pt x="6935735" y="2644826"/>
                  </a:lnTo>
                  <a:lnTo>
                    <a:pt x="6937365" y="2643190"/>
                  </a:lnTo>
                  <a:lnTo>
                    <a:pt x="6950404" y="2621928"/>
                  </a:lnTo>
                  <a:lnTo>
                    <a:pt x="6973223" y="2608843"/>
                  </a:lnTo>
                  <a:lnTo>
                    <a:pt x="6999302" y="2595759"/>
                  </a:lnTo>
                  <a:close/>
                  <a:moveTo>
                    <a:pt x="7922465" y="2588097"/>
                  </a:moveTo>
                  <a:lnTo>
                    <a:pt x="7933010" y="2627265"/>
                  </a:lnTo>
                  <a:lnTo>
                    <a:pt x="7919452" y="2596612"/>
                  </a:lnTo>
                  <a:close/>
                  <a:moveTo>
                    <a:pt x="6920050" y="2588097"/>
                  </a:moveTo>
                  <a:lnTo>
                    <a:pt x="6925190" y="2588097"/>
                  </a:lnTo>
                  <a:lnTo>
                    <a:pt x="6925190" y="2589754"/>
                  </a:lnTo>
                  <a:lnTo>
                    <a:pt x="6902918" y="2603011"/>
                  </a:lnTo>
                  <a:lnTo>
                    <a:pt x="6875506" y="2604668"/>
                  </a:lnTo>
                  <a:lnTo>
                    <a:pt x="6849808" y="2604668"/>
                  </a:lnTo>
                  <a:lnTo>
                    <a:pt x="6837815" y="2601354"/>
                  </a:lnTo>
                  <a:lnTo>
                    <a:pt x="6851521" y="2589754"/>
                  </a:lnTo>
                  <a:lnTo>
                    <a:pt x="6873793" y="2591411"/>
                  </a:lnTo>
                  <a:lnTo>
                    <a:pt x="6894352" y="2594726"/>
                  </a:lnTo>
                  <a:lnTo>
                    <a:pt x="6911484" y="2594726"/>
                  </a:lnTo>
                  <a:close/>
                  <a:moveTo>
                    <a:pt x="6751445" y="2588097"/>
                  </a:moveTo>
                  <a:lnTo>
                    <a:pt x="6757973" y="2592993"/>
                  </a:lnTo>
                  <a:lnTo>
                    <a:pt x="6748181" y="2607681"/>
                  </a:lnTo>
                  <a:lnTo>
                    <a:pt x="6738389" y="2602785"/>
                  </a:lnTo>
                  <a:close/>
                  <a:moveTo>
                    <a:pt x="6784613" y="2583578"/>
                  </a:moveTo>
                  <a:lnTo>
                    <a:pt x="6809589" y="2593148"/>
                  </a:lnTo>
                  <a:lnTo>
                    <a:pt x="6817914" y="2591553"/>
                  </a:lnTo>
                  <a:lnTo>
                    <a:pt x="6821244" y="2599529"/>
                  </a:lnTo>
                  <a:lnTo>
                    <a:pt x="6809589" y="2602719"/>
                  </a:lnTo>
                  <a:lnTo>
                    <a:pt x="6811254" y="2604314"/>
                  </a:lnTo>
                  <a:lnTo>
                    <a:pt x="6801264" y="2602719"/>
                  </a:lnTo>
                  <a:lnTo>
                    <a:pt x="6779618" y="2607504"/>
                  </a:lnTo>
                  <a:lnTo>
                    <a:pt x="6757973" y="2610694"/>
                  </a:lnTo>
                  <a:lnTo>
                    <a:pt x="6762968" y="2594744"/>
                  </a:lnTo>
                  <a:lnTo>
                    <a:pt x="6782948" y="2597934"/>
                  </a:lnTo>
                  <a:lnTo>
                    <a:pt x="6797934" y="2599529"/>
                  </a:lnTo>
                  <a:close/>
                  <a:moveTo>
                    <a:pt x="6700727" y="2583578"/>
                  </a:moveTo>
                  <a:lnTo>
                    <a:pt x="6727508" y="2587194"/>
                  </a:lnTo>
                  <a:lnTo>
                    <a:pt x="6730856" y="2592617"/>
                  </a:lnTo>
                  <a:lnTo>
                    <a:pt x="6714118" y="2601656"/>
                  </a:lnTo>
                  <a:close/>
                  <a:moveTo>
                    <a:pt x="7838857" y="2580565"/>
                  </a:moveTo>
                  <a:lnTo>
                    <a:pt x="7845636" y="2597136"/>
                  </a:lnTo>
                  <a:lnTo>
                    <a:pt x="7837162" y="2587194"/>
                  </a:lnTo>
                  <a:lnTo>
                    <a:pt x="7832078" y="2587194"/>
                  </a:lnTo>
                  <a:close/>
                  <a:moveTo>
                    <a:pt x="7869739" y="2567007"/>
                  </a:moveTo>
                  <a:lnTo>
                    <a:pt x="7885596" y="2582072"/>
                  </a:lnTo>
                  <a:lnTo>
                    <a:pt x="7899868" y="2597136"/>
                  </a:lnTo>
                  <a:lnTo>
                    <a:pt x="7896697" y="2597136"/>
                  </a:lnTo>
                  <a:lnTo>
                    <a:pt x="7884011" y="2582072"/>
                  </a:lnTo>
                  <a:close/>
                  <a:moveTo>
                    <a:pt x="4247325" y="2565786"/>
                  </a:moveTo>
                  <a:lnTo>
                    <a:pt x="4248915" y="2598934"/>
                  </a:lnTo>
                  <a:lnTo>
                    <a:pt x="4248915" y="2632257"/>
                  </a:lnTo>
                  <a:lnTo>
                    <a:pt x="4249273" y="2633535"/>
                  </a:lnTo>
                  <a:lnTo>
                    <a:pt x="4249273" y="2600947"/>
                  </a:lnTo>
                  <a:lnTo>
                    <a:pt x="4247613" y="2565828"/>
                  </a:lnTo>
                  <a:close/>
                  <a:moveTo>
                    <a:pt x="4211995" y="2554071"/>
                  </a:moveTo>
                  <a:lnTo>
                    <a:pt x="4211995" y="2558947"/>
                  </a:lnTo>
                  <a:lnTo>
                    <a:pt x="4212751" y="2559055"/>
                  </a:lnTo>
                  <a:lnTo>
                    <a:pt x="4212751" y="2554121"/>
                  </a:lnTo>
                  <a:close/>
                  <a:moveTo>
                    <a:pt x="6654027" y="2550436"/>
                  </a:moveTo>
                  <a:lnTo>
                    <a:pt x="6691688" y="2550436"/>
                  </a:lnTo>
                  <a:lnTo>
                    <a:pt x="6664298" y="2553449"/>
                  </a:lnTo>
                  <a:close/>
                  <a:moveTo>
                    <a:pt x="7815507" y="2541397"/>
                  </a:moveTo>
                  <a:lnTo>
                    <a:pt x="7839610" y="2563994"/>
                  </a:lnTo>
                  <a:lnTo>
                    <a:pt x="7824115" y="2558779"/>
                  </a:lnTo>
                  <a:close/>
                  <a:moveTo>
                    <a:pt x="7220456" y="2527839"/>
                  </a:moveTo>
                  <a:lnTo>
                    <a:pt x="7229495" y="2538521"/>
                  </a:lnTo>
                  <a:lnTo>
                    <a:pt x="7221963" y="2547423"/>
                  </a:lnTo>
                  <a:close/>
                  <a:moveTo>
                    <a:pt x="4108524" y="2522246"/>
                  </a:moveTo>
                  <a:lnTo>
                    <a:pt x="4118017" y="2548951"/>
                  </a:lnTo>
                  <a:lnTo>
                    <a:pt x="4129764" y="2577275"/>
                  </a:lnTo>
                  <a:lnTo>
                    <a:pt x="4130724" y="2577535"/>
                  </a:lnTo>
                  <a:lnTo>
                    <a:pt x="4119787" y="2550777"/>
                  </a:lnTo>
                  <a:lnTo>
                    <a:pt x="4109826" y="2522347"/>
                  </a:lnTo>
                  <a:close/>
                  <a:moveTo>
                    <a:pt x="6478561" y="2520307"/>
                  </a:moveTo>
                  <a:lnTo>
                    <a:pt x="6512223" y="2520307"/>
                  </a:lnTo>
                  <a:lnTo>
                    <a:pt x="6542518" y="2534081"/>
                  </a:lnTo>
                  <a:lnTo>
                    <a:pt x="6552617" y="2547854"/>
                  </a:lnTo>
                  <a:lnTo>
                    <a:pt x="6576180" y="2547854"/>
                  </a:lnTo>
                  <a:lnTo>
                    <a:pt x="6596377" y="2547854"/>
                  </a:lnTo>
                  <a:lnTo>
                    <a:pt x="6608158" y="2532359"/>
                  </a:lnTo>
                  <a:lnTo>
                    <a:pt x="6619939" y="2540967"/>
                  </a:lnTo>
                  <a:lnTo>
                    <a:pt x="6651918" y="2553019"/>
                  </a:lnTo>
                  <a:lnTo>
                    <a:pt x="6658650" y="2570236"/>
                  </a:lnTo>
                  <a:lnTo>
                    <a:pt x="6678847" y="2573679"/>
                  </a:lnTo>
                  <a:lnTo>
                    <a:pt x="6699044" y="2575401"/>
                  </a:lnTo>
                  <a:lnTo>
                    <a:pt x="6697361" y="2601226"/>
                  </a:lnTo>
                  <a:lnTo>
                    <a:pt x="6700727" y="2604669"/>
                  </a:lnTo>
                  <a:lnTo>
                    <a:pt x="6678847" y="2599504"/>
                  </a:lnTo>
                  <a:lnTo>
                    <a:pt x="6656967" y="2592617"/>
                  </a:lnTo>
                  <a:lnTo>
                    <a:pt x="6623306" y="2589174"/>
                  </a:lnTo>
                  <a:lnTo>
                    <a:pt x="6589644" y="2584009"/>
                  </a:lnTo>
                  <a:lnTo>
                    <a:pt x="6562715" y="2578844"/>
                  </a:lnTo>
                  <a:lnTo>
                    <a:pt x="6539152" y="2571957"/>
                  </a:lnTo>
                  <a:lnTo>
                    <a:pt x="6510540" y="2565071"/>
                  </a:lnTo>
                  <a:lnTo>
                    <a:pt x="6485294" y="2558184"/>
                  </a:lnTo>
                  <a:lnTo>
                    <a:pt x="6485294" y="2551297"/>
                  </a:lnTo>
                  <a:lnTo>
                    <a:pt x="6456681" y="2542689"/>
                  </a:lnTo>
                  <a:lnTo>
                    <a:pt x="6465097" y="2539246"/>
                  </a:lnTo>
                  <a:close/>
                  <a:moveTo>
                    <a:pt x="4713206" y="2514281"/>
                  </a:moveTo>
                  <a:lnTo>
                    <a:pt x="4716721" y="2533865"/>
                  </a:lnTo>
                  <a:lnTo>
                    <a:pt x="4706176" y="2520809"/>
                  </a:lnTo>
                  <a:close/>
                  <a:moveTo>
                    <a:pt x="7240039" y="2506749"/>
                  </a:moveTo>
                  <a:lnTo>
                    <a:pt x="7240039" y="2522972"/>
                  </a:lnTo>
                  <a:lnTo>
                    <a:pt x="7229494" y="2527839"/>
                  </a:lnTo>
                  <a:lnTo>
                    <a:pt x="7229494" y="2509994"/>
                  </a:lnTo>
                  <a:close/>
                  <a:moveTo>
                    <a:pt x="7768806" y="2503736"/>
                  </a:moveTo>
                  <a:lnTo>
                    <a:pt x="7785544" y="2523153"/>
                  </a:lnTo>
                  <a:lnTo>
                    <a:pt x="7798935" y="2542569"/>
                  </a:lnTo>
                  <a:lnTo>
                    <a:pt x="7792240" y="2547423"/>
                  </a:lnTo>
                  <a:lnTo>
                    <a:pt x="7775501" y="2528007"/>
                  </a:lnTo>
                  <a:close/>
                  <a:moveTo>
                    <a:pt x="6925189" y="2481139"/>
                  </a:moveTo>
                  <a:lnTo>
                    <a:pt x="6925189" y="2489299"/>
                  </a:lnTo>
                  <a:lnTo>
                    <a:pt x="6914644" y="2500723"/>
                  </a:lnTo>
                  <a:lnTo>
                    <a:pt x="6919917" y="2482771"/>
                  </a:lnTo>
                  <a:close/>
                  <a:moveTo>
                    <a:pt x="6932053" y="2473606"/>
                  </a:moveTo>
                  <a:lnTo>
                    <a:pt x="6932053" y="2482165"/>
                  </a:lnTo>
                  <a:lnTo>
                    <a:pt x="6932053" y="2497572"/>
                  </a:lnTo>
                  <a:lnTo>
                    <a:pt x="6935735" y="2499284"/>
                  </a:lnTo>
                  <a:lnTo>
                    <a:pt x="6919164" y="2511267"/>
                  </a:lnTo>
                  <a:close/>
                  <a:moveTo>
                    <a:pt x="1784026" y="2472404"/>
                  </a:moveTo>
                  <a:lnTo>
                    <a:pt x="1781846" y="2472907"/>
                  </a:lnTo>
                  <a:lnTo>
                    <a:pt x="1760097" y="2482934"/>
                  </a:lnTo>
                  <a:lnTo>
                    <a:pt x="1740023" y="2492962"/>
                  </a:lnTo>
                  <a:lnTo>
                    <a:pt x="1731659" y="2514689"/>
                  </a:lnTo>
                  <a:lnTo>
                    <a:pt x="1726640" y="2539759"/>
                  </a:lnTo>
                  <a:lnTo>
                    <a:pt x="1711585" y="2563157"/>
                  </a:lnTo>
                  <a:lnTo>
                    <a:pt x="1723295" y="2584884"/>
                  </a:lnTo>
                  <a:lnTo>
                    <a:pt x="1736678" y="2608282"/>
                  </a:lnTo>
                  <a:lnTo>
                    <a:pt x="1733332" y="2621652"/>
                  </a:lnTo>
                  <a:lnTo>
                    <a:pt x="1746715" y="2623324"/>
                  </a:lnTo>
                  <a:lnTo>
                    <a:pt x="1760097" y="2635023"/>
                  </a:lnTo>
                  <a:lnTo>
                    <a:pt x="1781846" y="2641708"/>
                  </a:lnTo>
                  <a:lnTo>
                    <a:pt x="1783094" y="2640575"/>
                  </a:lnTo>
                  <a:lnTo>
                    <a:pt x="1762849" y="2634346"/>
                  </a:lnTo>
                  <a:lnTo>
                    <a:pt x="1749469" y="2622641"/>
                  </a:lnTo>
                  <a:lnTo>
                    <a:pt x="1736091" y="2620969"/>
                  </a:lnTo>
                  <a:lnTo>
                    <a:pt x="1739435" y="2607591"/>
                  </a:lnTo>
                  <a:lnTo>
                    <a:pt x="1726065" y="2584181"/>
                  </a:lnTo>
                  <a:lnTo>
                    <a:pt x="1714355" y="2562443"/>
                  </a:lnTo>
                  <a:lnTo>
                    <a:pt x="1729411" y="2539032"/>
                  </a:lnTo>
                  <a:lnTo>
                    <a:pt x="1734419" y="2513950"/>
                  </a:lnTo>
                  <a:lnTo>
                    <a:pt x="1742780" y="2492212"/>
                  </a:lnTo>
                  <a:lnTo>
                    <a:pt x="1762849" y="2482179"/>
                  </a:lnTo>
                  <a:close/>
                  <a:moveTo>
                    <a:pt x="7701564" y="2467581"/>
                  </a:moveTo>
                  <a:lnTo>
                    <a:pt x="7711561" y="2469255"/>
                  </a:lnTo>
                  <a:lnTo>
                    <a:pt x="7703230" y="2489341"/>
                  </a:lnTo>
                  <a:lnTo>
                    <a:pt x="7696565" y="2492689"/>
                  </a:lnTo>
                  <a:lnTo>
                    <a:pt x="7698231" y="2502732"/>
                  </a:lnTo>
                  <a:lnTo>
                    <a:pt x="7681569" y="2511101"/>
                  </a:lnTo>
                  <a:lnTo>
                    <a:pt x="7644912" y="2527839"/>
                  </a:lnTo>
                  <a:lnTo>
                    <a:pt x="7623251" y="2521144"/>
                  </a:lnTo>
                  <a:lnTo>
                    <a:pt x="7606589" y="2512775"/>
                  </a:lnTo>
                  <a:lnTo>
                    <a:pt x="7601590" y="2502732"/>
                  </a:lnTo>
                  <a:lnTo>
                    <a:pt x="7636581" y="2506079"/>
                  </a:lnTo>
                  <a:lnTo>
                    <a:pt x="7646578" y="2489341"/>
                  </a:lnTo>
                  <a:lnTo>
                    <a:pt x="7646578" y="2499384"/>
                  </a:lnTo>
                  <a:lnTo>
                    <a:pt x="7661574" y="2506079"/>
                  </a:lnTo>
                  <a:lnTo>
                    <a:pt x="7686568" y="2487667"/>
                  </a:lnTo>
                  <a:lnTo>
                    <a:pt x="7686568" y="2469255"/>
                  </a:lnTo>
                  <a:close/>
                  <a:moveTo>
                    <a:pt x="3986519" y="2443253"/>
                  </a:moveTo>
                  <a:lnTo>
                    <a:pt x="3981039" y="2448743"/>
                  </a:lnTo>
                  <a:lnTo>
                    <a:pt x="3974417" y="2445426"/>
                  </a:lnTo>
                  <a:lnTo>
                    <a:pt x="3973475" y="2447077"/>
                  </a:lnTo>
                  <a:lnTo>
                    <a:pt x="3979998" y="2450291"/>
                  </a:lnTo>
                  <a:lnTo>
                    <a:pt x="3986745" y="2443643"/>
                  </a:lnTo>
                  <a:close/>
                  <a:moveTo>
                    <a:pt x="1595008" y="2437792"/>
                  </a:moveTo>
                  <a:lnTo>
                    <a:pt x="1594703" y="2439481"/>
                  </a:lnTo>
                  <a:lnTo>
                    <a:pt x="1596141" y="2439481"/>
                  </a:lnTo>
                  <a:lnTo>
                    <a:pt x="1597813" y="2442823"/>
                  </a:lnTo>
                  <a:lnTo>
                    <a:pt x="1601159" y="2442823"/>
                  </a:lnTo>
                  <a:lnTo>
                    <a:pt x="1600607" y="2441171"/>
                  </a:lnTo>
                  <a:lnTo>
                    <a:pt x="1600029" y="2441171"/>
                  </a:lnTo>
                  <a:lnTo>
                    <a:pt x="1598355" y="2437792"/>
                  </a:lnTo>
                  <a:close/>
                  <a:moveTo>
                    <a:pt x="7023030" y="2432932"/>
                  </a:moveTo>
                  <a:lnTo>
                    <a:pt x="7045706" y="2442666"/>
                  </a:lnTo>
                  <a:lnTo>
                    <a:pt x="7033496" y="2454022"/>
                  </a:lnTo>
                  <a:lnTo>
                    <a:pt x="7012564" y="2441044"/>
                  </a:lnTo>
                  <a:close/>
                  <a:moveTo>
                    <a:pt x="7080258" y="2426906"/>
                  </a:moveTo>
                  <a:lnTo>
                    <a:pt x="7103143" y="2428601"/>
                  </a:lnTo>
                  <a:lnTo>
                    <a:pt x="7124394" y="2430296"/>
                  </a:lnTo>
                  <a:lnTo>
                    <a:pt x="7139106" y="2448938"/>
                  </a:lnTo>
                  <a:lnTo>
                    <a:pt x="7134202" y="2454022"/>
                  </a:lnTo>
                  <a:lnTo>
                    <a:pt x="7103143" y="2440464"/>
                  </a:lnTo>
                  <a:lnTo>
                    <a:pt x="7081893" y="2442159"/>
                  </a:lnTo>
                  <a:lnTo>
                    <a:pt x="7065546" y="2437075"/>
                  </a:lnTo>
                  <a:lnTo>
                    <a:pt x="7062277" y="2442159"/>
                  </a:lnTo>
                  <a:lnTo>
                    <a:pt x="7063912" y="2431990"/>
                  </a:lnTo>
                  <a:close/>
                  <a:moveTo>
                    <a:pt x="1542616" y="2423893"/>
                  </a:moveTo>
                  <a:lnTo>
                    <a:pt x="1547143" y="2423893"/>
                  </a:lnTo>
                  <a:lnTo>
                    <a:pt x="1543746" y="2426906"/>
                  </a:lnTo>
                  <a:close/>
                  <a:moveTo>
                    <a:pt x="7672393" y="2420880"/>
                  </a:moveTo>
                  <a:lnTo>
                    <a:pt x="7692662" y="2437980"/>
                  </a:lnTo>
                  <a:lnTo>
                    <a:pt x="7714620" y="2453371"/>
                  </a:lnTo>
                  <a:lnTo>
                    <a:pt x="7728132" y="2473891"/>
                  </a:lnTo>
                  <a:lnTo>
                    <a:pt x="7721376" y="2484151"/>
                  </a:lnTo>
                  <a:lnTo>
                    <a:pt x="7702796" y="2448241"/>
                  </a:lnTo>
                  <a:lnTo>
                    <a:pt x="7687595" y="2434560"/>
                  </a:lnTo>
                  <a:lnTo>
                    <a:pt x="7672393" y="2422590"/>
                  </a:lnTo>
                  <a:close/>
                  <a:moveTo>
                    <a:pt x="6522965" y="2416361"/>
                  </a:moveTo>
                  <a:lnTo>
                    <a:pt x="6544055" y="2425947"/>
                  </a:lnTo>
                  <a:lnTo>
                    <a:pt x="6532552" y="2433617"/>
                  </a:lnTo>
                  <a:lnTo>
                    <a:pt x="6522965" y="2437451"/>
                  </a:lnTo>
                  <a:close/>
                  <a:moveTo>
                    <a:pt x="4000371" y="2410636"/>
                  </a:moveTo>
                  <a:lnTo>
                    <a:pt x="3977728" y="2412256"/>
                  </a:lnTo>
                  <a:lnTo>
                    <a:pt x="3977957" y="2413634"/>
                  </a:lnTo>
                  <a:lnTo>
                    <a:pt x="4000239" y="2412066"/>
                  </a:lnTo>
                  <a:close/>
                  <a:moveTo>
                    <a:pt x="1650103" y="2403492"/>
                  </a:moveTo>
                  <a:lnTo>
                    <a:pt x="1623464" y="2420893"/>
                  </a:lnTo>
                  <a:lnTo>
                    <a:pt x="1608398" y="2429342"/>
                  </a:lnTo>
                  <a:lnTo>
                    <a:pt x="1607189" y="2430562"/>
                  </a:lnTo>
                  <a:lnTo>
                    <a:pt x="1621234" y="2422768"/>
                  </a:lnTo>
                  <a:lnTo>
                    <a:pt x="1649676" y="2404383"/>
                  </a:lnTo>
                  <a:close/>
                  <a:moveTo>
                    <a:pt x="6981531" y="2390751"/>
                  </a:moveTo>
                  <a:lnTo>
                    <a:pt x="6995993" y="2396777"/>
                  </a:lnTo>
                  <a:lnTo>
                    <a:pt x="6968877" y="2396777"/>
                  </a:lnTo>
                  <a:close/>
                  <a:moveTo>
                    <a:pt x="6478177" y="2386232"/>
                  </a:moveTo>
                  <a:lnTo>
                    <a:pt x="6488259" y="2410447"/>
                  </a:lnTo>
                  <a:lnTo>
                    <a:pt x="6503381" y="2419095"/>
                  </a:lnTo>
                  <a:lnTo>
                    <a:pt x="6500021" y="2432932"/>
                  </a:lnTo>
                  <a:lnTo>
                    <a:pt x="6478177" y="2419095"/>
                  </a:lnTo>
                  <a:lnTo>
                    <a:pt x="6469776" y="2401799"/>
                  </a:lnTo>
                  <a:lnTo>
                    <a:pt x="6459694" y="2398340"/>
                  </a:lnTo>
                  <a:lnTo>
                    <a:pt x="6471456" y="2387962"/>
                  </a:lnTo>
                  <a:close/>
                  <a:moveTo>
                    <a:pt x="1668657" y="2366818"/>
                  </a:moveTo>
                  <a:lnTo>
                    <a:pt x="1667353" y="2369598"/>
                  </a:lnTo>
                  <a:lnTo>
                    <a:pt x="1671425" y="2370957"/>
                  </a:lnTo>
                  <a:lnTo>
                    <a:pt x="1669818" y="2367209"/>
                  </a:lnTo>
                  <a:close/>
                  <a:moveTo>
                    <a:pt x="6289464" y="2366648"/>
                  </a:moveTo>
                  <a:lnTo>
                    <a:pt x="6303022" y="2390751"/>
                  </a:lnTo>
                  <a:lnTo>
                    <a:pt x="6292853" y="2390751"/>
                  </a:lnTo>
                  <a:close/>
                  <a:moveTo>
                    <a:pt x="5616077" y="2363635"/>
                  </a:moveTo>
                  <a:lnTo>
                    <a:pt x="5616077" y="2366648"/>
                  </a:lnTo>
                  <a:lnTo>
                    <a:pt x="5613064" y="2366648"/>
                  </a:lnTo>
                  <a:close/>
                  <a:moveTo>
                    <a:pt x="4053779" y="2363153"/>
                  </a:moveTo>
                  <a:lnTo>
                    <a:pt x="4047257" y="2405622"/>
                  </a:lnTo>
                  <a:lnTo>
                    <a:pt x="4038980" y="2412256"/>
                  </a:lnTo>
                  <a:lnTo>
                    <a:pt x="4034013" y="2405622"/>
                  </a:lnTo>
                  <a:lnTo>
                    <a:pt x="4019114" y="2410598"/>
                  </a:lnTo>
                  <a:lnTo>
                    <a:pt x="4002560" y="2392354"/>
                  </a:lnTo>
                  <a:lnTo>
                    <a:pt x="4002385" y="2394282"/>
                  </a:lnTo>
                  <a:lnTo>
                    <a:pt x="4018793" y="2412066"/>
                  </a:lnTo>
                  <a:lnTo>
                    <a:pt x="4033973" y="2407080"/>
                  </a:lnTo>
                  <a:lnTo>
                    <a:pt x="4039034" y="2413728"/>
                  </a:lnTo>
                  <a:lnTo>
                    <a:pt x="4047467" y="2407080"/>
                  </a:lnTo>
                  <a:lnTo>
                    <a:pt x="4054214" y="2363869"/>
                  </a:lnTo>
                  <a:close/>
                  <a:moveTo>
                    <a:pt x="5613064" y="2360622"/>
                  </a:moveTo>
                  <a:lnTo>
                    <a:pt x="5616077" y="2360622"/>
                  </a:lnTo>
                  <a:lnTo>
                    <a:pt x="5613064" y="2363635"/>
                  </a:lnTo>
                  <a:close/>
                  <a:moveTo>
                    <a:pt x="1265427" y="2356103"/>
                  </a:moveTo>
                  <a:lnTo>
                    <a:pt x="1275972" y="2360622"/>
                  </a:lnTo>
                  <a:lnTo>
                    <a:pt x="1272457" y="2360622"/>
                  </a:lnTo>
                  <a:close/>
                  <a:moveTo>
                    <a:pt x="7176382" y="2353090"/>
                  </a:moveTo>
                  <a:lnTo>
                    <a:pt x="7201441" y="2359730"/>
                  </a:lnTo>
                  <a:lnTo>
                    <a:pt x="7226501" y="2363050"/>
                  </a:lnTo>
                  <a:lnTo>
                    <a:pt x="7229842" y="2374670"/>
                  </a:lnTo>
                  <a:lnTo>
                    <a:pt x="7229842" y="2391270"/>
                  </a:lnTo>
                  <a:lnTo>
                    <a:pt x="7234854" y="2422809"/>
                  </a:lnTo>
                  <a:lnTo>
                    <a:pt x="7236524" y="2417829"/>
                  </a:lnTo>
                  <a:lnTo>
                    <a:pt x="7246548" y="2431109"/>
                  </a:lnTo>
                  <a:lnTo>
                    <a:pt x="7256572" y="2441069"/>
                  </a:lnTo>
                  <a:lnTo>
                    <a:pt x="7284972" y="2412849"/>
                  </a:lnTo>
                  <a:lnTo>
                    <a:pt x="7310032" y="2399570"/>
                  </a:lnTo>
                  <a:lnTo>
                    <a:pt x="7326738" y="2384630"/>
                  </a:lnTo>
                  <a:lnTo>
                    <a:pt x="7360150" y="2399570"/>
                  </a:lnTo>
                  <a:lnTo>
                    <a:pt x="7391892" y="2414509"/>
                  </a:lnTo>
                  <a:lnTo>
                    <a:pt x="7410093" y="2419442"/>
                  </a:lnTo>
                  <a:lnTo>
                    <a:pt x="7410093" y="2416361"/>
                  </a:lnTo>
                  <a:lnTo>
                    <a:pt x="7435184" y="2428078"/>
                  </a:lnTo>
                  <a:lnTo>
                    <a:pt x="7460276" y="2438121"/>
                  </a:lnTo>
                  <a:lnTo>
                    <a:pt x="7485367" y="2449838"/>
                  </a:lnTo>
                  <a:lnTo>
                    <a:pt x="7512131" y="2461555"/>
                  </a:lnTo>
                  <a:lnTo>
                    <a:pt x="7533877" y="2490010"/>
                  </a:lnTo>
                  <a:lnTo>
                    <a:pt x="7535550" y="2505075"/>
                  </a:lnTo>
                  <a:lnTo>
                    <a:pt x="7557295" y="2515118"/>
                  </a:lnTo>
                  <a:lnTo>
                    <a:pt x="7582387" y="2525161"/>
                  </a:lnTo>
                  <a:lnTo>
                    <a:pt x="7584059" y="2540226"/>
                  </a:lnTo>
                  <a:lnTo>
                    <a:pt x="7560641" y="2541900"/>
                  </a:lnTo>
                  <a:lnTo>
                    <a:pt x="7572350" y="2568681"/>
                  </a:lnTo>
                  <a:lnTo>
                    <a:pt x="7590750" y="2585420"/>
                  </a:lnTo>
                  <a:lnTo>
                    <a:pt x="7602460" y="2610527"/>
                  </a:lnTo>
                  <a:lnTo>
                    <a:pt x="7617514" y="2612201"/>
                  </a:lnTo>
                  <a:lnTo>
                    <a:pt x="7615842" y="2622244"/>
                  </a:lnTo>
                  <a:lnTo>
                    <a:pt x="7630896" y="2630614"/>
                  </a:lnTo>
                  <a:lnTo>
                    <a:pt x="7627551" y="2637309"/>
                  </a:lnTo>
                  <a:lnTo>
                    <a:pt x="7654315" y="2645678"/>
                  </a:lnTo>
                  <a:lnTo>
                    <a:pt x="7644278" y="2650700"/>
                  </a:lnTo>
                  <a:lnTo>
                    <a:pt x="7644278" y="2657395"/>
                  </a:lnTo>
                  <a:lnTo>
                    <a:pt x="7630896" y="2652374"/>
                  </a:lnTo>
                  <a:lnTo>
                    <a:pt x="7604132" y="2649026"/>
                  </a:lnTo>
                  <a:lnTo>
                    <a:pt x="7580714" y="2642331"/>
                  </a:lnTo>
                  <a:lnTo>
                    <a:pt x="7565659" y="2627266"/>
                  </a:lnTo>
                  <a:lnTo>
                    <a:pt x="7552277" y="2612201"/>
                  </a:lnTo>
                  <a:lnTo>
                    <a:pt x="7537222" y="2595463"/>
                  </a:lnTo>
                  <a:lnTo>
                    <a:pt x="7525513" y="2577050"/>
                  </a:lnTo>
                  <a:lnTo>
                    <a:pt x="7492058" y="2565334"/>
                  </a:lnTo>
                  <a:lnTo>
                    <a:pt x="7490385" y="2570355"/>
                  </a:lnTo>
                  <a:lnTo>
                    <a:pt x="7473658" y="2565334"/>
                  </a:lnTo>
                  <a:lnTo>
                    <a:pt x="7475330" y="2578724"/>
                  </a:lnTo>
                  <a:lnTo>
                    <a:pt x="7465294" y="2578724"/>
                  </a:lnTo>
                  <a:lnTo>
                    <a:pt x="7466967" y="2585420"/>
                  </a:lnTo>
                  <a:lnTo>
                    <a:pt x="7431839" y="2585420"/>
                  </a:lnTo>
                  <a:lnTo>
                    <a:pt x="7461948" y="2600484"/>
                  </a:lnTo>
                  <a:lnTo>
                    <a:pt x="7446894" y="2612201"/>
                  </a:lnTo>
                  <a:lnTo>
                    <a:pt x="7423475" y="2612201"/>
                  </a:lnTo>
                  <a:lnTo>
                    <a:pt x="7397106" y="2612201"/>
                  </a:lnTo>
                  <a:lnTo>
                    <a:pt x="7396904" y="2613707"/>
                  </a:lnTo>
                  <a:lnTo>
                    <a:pt x="7381868" y="2597107"/>
                  </a:lnTo>
                  <a:lnTo>
                    <a:pt x="7375186" y="2578848"/>
                  </a:lnTo>
                  <a:lnTo>
                    <a:pt x="7353468" y="2582167"/>
                  </a:lnTo>
                  <a:lnTo>
                    <a:pt x="7345115" y="2587147"/>
                  </a:lnTo>
                  <a:lnTo>
                    <a:pt x="7346785" y="2572208"/>
                  </a:lnTo>
                  <a:lnTo>
                    <a:pt x="7346785" y="2570548"/>
                  </a:lnTo>
                  <a:lnTo>
                    <a:pt x="7335091" y="2587147"/>
                  </a:lnTo>
                  <a:lnTo>
                    <a:pt x="7311702" y="2592127"/>
                  </a:lnTo>
                  <a:lnTo>
                    <a:pt x="7326738" y="2563908"/>
                  </a:lnTo>
                  <a:lnTo>
                    <a:pt x="7345115" y="2567228"/>
                  </a:lnTo>
                  <a:lnTo>
                    <a:pt x="7341773" y="2558928"/>
                  </a:lnTo>
                  <a:lnTo>
                    <a:pt x="7353468" y="2557268"/>
                  </a:lnTo>
                  <a:lnTo>
                    <a:pt x="7340103" y="2550628"/>
                  </a:lnTo>
                  <a:lnTo>
                    <a:pt x="7353468" y="2550628"/>
                  </a:lnTo>
                  <a:lnTo>
                    <a:pt x="7345115" y="2543988"/>
                  </a:lnTo>
                  <a:lnTo>
                    <a:pt x="7331750" y="2510788"/>
                  </a:lnTo>
                  <a:lnTo>
                    <a:pt x="7321726" y="2499168"/>
                  </a:lnTo>
                  <a:lnTo>
                    <a:pt x="7303349" y="2490869"/>
                  </a:lnTo>
                  <a:lnTo>
                    <a:pt x="7283302" y="2482569"/>
                  </a:lnTo>
                  <a:lnTo>
                    <a:pt x="7263254" y="2474269"/>
                  </a:lnTo>
                  <a:lnTo>
                    <a:pt x="7243207" y="2469289"/>
                  </a:lnTo>
                  <a:lnTo>
                    <a:pt x="7244877" y="2459329"/>
                  </a:lnTo>
                  <a:lnTo>
                    <a:pt x="7239866" y="2459329"/>
                  </a:lnTo>
                  <a:lnTo>
                    <a:pt x="7216477" y="2451029"/>
                  </a:lnTo>
                  <a:lnTo>
                    <a:pt x="7221489" y="2432769"/>
                  </a:lnTo>
                  <a:lnTo>
                    <a:pt x="7204783" y="2460989"/>
                  </a:lnTo>
                  <a:lnTo>
                    <a:pt x="7191418" y="2459329"/>
                  </a:lnTo>
                  <a:lnTo>
                    <a:pt x="7194759" y="2447709"/>
                  </a:lnTo>
                  <a:lnTo>
                    <a:pt x="7173041" y="2429449"/>
                  </a:lnTo>
                  <a:lnTo>
                    <a:pt x="7183064" y="2422809"/>
                  </a:lnTo>
                  <a:lnTo>
                    <a:pt x="7206453" y="2417829"/>
                  </a:lnTo>
                  <a:lnTo>
                    <a:pt x="7214806" y="2417829"/>
                  </a:lnTo>
                  <a:lnTo>
                    <a:pt x="7216477" y="2417829"/>
                  </a:lnTo>
                  <a:lnTo>
                    <a:pt x="7219818" y="2412849"/>
                  </a:lnTo>
                  <a:lnTo>
                    <a:pt x="7221489" y="2407869"/>
                  </a:lnTo>
                  <a:lnTo>
                    <a:pt x="7201441" y="2409529"/>
                  </a:lnTo>
                  <a:lnTo>
                    <a:pt x="7183064" y="2409529"/>
                  </a:lnTo>
                  <a:lnTo>
                    <a:pt x="7169699" y="2391270"/>
                  </a:lnTo>
                  <a:lnTo>
                    <a:pt x="7149652" y="2384630"/>
                  </a:lnTo>
                  <a:lnTo>
                    <a:pt x="7152993" y="2369690"/>
                  </a:lnTo>
                  <a:close/>
                  <a:moveTo>
                    <a:pt x="4141456" y="2352863"/>
                  </a:moveTo>
                  <a:lnTo>
                    <a:pt x="4123370" y="2377164"/>
                  </a:lnTo>
                  <a:lnTo>
                    <a:pt x="4103129" y="2400432"/>
                  </a:lnTo>
                  <a:lnTo>
                    <a:pt x="4101442" y="2423699"/>
                  </a:lnTo>
                  <a:lnTo>
                    <a:pt x="4098069" y="2446967"/>
                  </a:lnTo>
                  <a:lnTo>
                    <a:pt x="4077828" y="2466911"/>
                  </a:lnTo>
                  <a:lnTo>
                    <a:pt x="4057663" y="2486780"/>
                  </a:lnTo>
                  <a:lnTo>
                    <a:pt x="4058364" y="2488900"/>
                  </a:lnTo>
                  <a:lnTo>
                    <a:pt x="4078285" y="2468832"/>
                  </a:lnTo>
                  <a:lnTo>
                    <a:pt x="4098206" y="2448764"/>
                  </a:lnTo>
                  <a:lnTo>
                    <a:pt x="4101526" y="2425351"/>
                  </a:lnTo>
                  <a:lnTo>
                    <a:pt x="4103186" y="2401938"/>
                  </a:lnTo>
                  <a:lnTo>
                    <a:pt x="4123107" y="2378525"/>
                  </a:lnTo>
                  <a:lnTo>
                    <a:pt x="4141368" y="2353440"/>
                  </a:lnTo>
                  <a:close/>
                  <a:moveTo>
                    <a:pt x="5629635" y="2350077"/>
                  </a:moveTo>
                  <a:lnTo>
                    <a:pt x="5632648" y="2351584"/>
                  </a:lnTo>
                  <a:lnTo>
                    <a:pt x="5629635" y="2353090"/>
                  </a:lnTo>
                  <a:close/>
                  <a:moveTo>
                    <a:pt x="1668710" y="2342801"/>
                  </a:moveTo>
                  <a:lnTo>
                    <a:pt x="1663635" y="2344850"/>
                  </a:lnTo>
                  <a:lnTo>
                    <a:pt x="1664296" y="2346398"/>
                  </a:lnTo>
                  <a:lnTo>
                    <a:pt x="1669753" y="2344216"/>
                  </a:lnTo>
                  <a:lnTo>
                    <a:pt x="1670358" y="2343616"/>
                  </a:lnTo>
                  <a:close/>
                  <a:moveTo>
                    <a:pt x="1672336" y="2342085"/>
                  </a:moveTo>
                  <a:lnTo>
                    <a:pt x="1671653" y="2342764"/>
                  </a:lnTo>
                  <a:lnTo>
                    <a:pt x="1686484" y="2357587"/>
                  </a:lnTo>
                  <a:lnTo>
                    <a:pt x="1701548" y="2370957"/>
                  </a:lnTo>
                  <a:lnTo>
                    <a:pt x="1721622" y="2394355"/>
                  </a:lnTo>
                  <a:lnTo>
                    <a:pt x="1726640" y="2409397"/>
                  </a:lnTo>
                  <a:lnTo>
                    <a:pt x="1760097" y="2409397"/>
                  </a:lnTo>
                  <a:lnTo>
                    <a:pt x="1780173" y="2411068"/>
                  </a:lnTo>
                  <a:lnTo>
                    <a:pt x="1806942" y="2419425"/>
                  </a:lnTo>
                  <a:lnTo>
                    <a:pt x="1796903" y="2454522"/>
                  </a:lnTo>
                  <a:lnTo>
                    <a:pt x="1811110" y="2467129"/>
                  </a:lnTo>
                  <a:lnTo>
                    <a:pt x="1813598" y="2467129"/>
                  </a:lnTo>
                  <a:lnTo>
                    <a:pt x="1798919" y="2454195"/>
                  </a:lnTo>
                  <a:lnTo>
                    <a:pt x="1809046" y="2419056"/>
                  </a:lnTo>
                  <a:lnTo>
                    <a:pt x="1782042" y="2410690"/>
                  </a:lnTo>
                  <a:lnTo>
                    <a:pt x="1761788" y="2409016"/>
                  </a:lnTo>
                  <a:lnTo>
                    <a:pt x="1728029" y="2409016"/>
                  </a:lnTo>
                  <a:lnTo>
                    <a:pt x="1722971" y="2393957"/>
                  </a:lnTo>
                  <a:lnTo>
                    <a:pt x="1702717" y="2370531"/>
                  </a:lnTo>
                  <a:lnTo>
                    <a:pt x="1687520" y="2357145"/>
                  </a:lnTo>
                  <a:close/>
                  <a:moveTo>
                    <a:pt x="1241324" y="2339532"/>
                  </a:moveTo>
                  <a:lnTo>
                    <a:pt x="1246751" y="2339532"/>
                  </a:lnTo>
                  <a:lnTo>
                    <a:pt x="1254882" y="2366648"/>
                  </a:lnTo>
                  <a:lnTo>
                    <a:pt x="1241324" y="2365053"/>
                  </a:lnTo>
                  <a:lnTo>
                    <a:pt x="1248103" y="2355483"/>
                  </a:lnTo>
                  <a:close/>
                  <a:moveTo>
                    <a:pt x="5623609" y="2336519"/>
                  </a:moveTo>
                  <a:lnTo>
                    <a:pt x="5626622" y="2336519"/>
                  </a:lnTo>
                  <a:lnTo>
                    <a:pt x="5626622" y="2339532"/>
                  </a:lnTo>
                  <a:close/>
                  <a:moveTo>
                    <a:pt x="3846590" y="2325973"/>
                  </a:moveTo>
                  <a:lnTo>
                    <a:pt x="3849001" y="2329847"/>
                  </a:lnTo>
                  <a:lnTo>
                    <a:pt x="3844180" y="2339531"/>
                  </a:lnTo>
                  <a:lnTo>
                    <a:pt x="3842975" y="2331784"/>
                  </a:lnTo>
                  <a:close/>
                  <a:moveTo>
                    <a:pt x="5626622" y="2322961"/>
                  </a:moveTo>
                  <a:lnTo>
                    <a:pt x="5626622" y="2325974"/>
                  </a:lnTo>
                  <a:lnTo>
                    <a:pt x="5623609" y="2325974"/>
                  </a:lnTo>
                  <a:close/>
                  <a:moveTo>
                    <a:pt x="1810734" y="2322006"/>
                  </a:moveTo>
                  <a:lnTo>
                    <a:pt x="1815805" y="2350451"/>
                  </a:lnTo>
                  <a:lnTo>
                    <a:pt x="1825932" y="2382244"/>
                  </a:lnTo>
                  <a:lnTo>
                    <a:pt x="1820861" y="2424076"/>
                  </a:lnTo>
                  <a:lnTo>
                    <a:pt x="1814186" y="2467129"/>
                  </a:lnTo>
                  <a:lnTo>
                    <a:pt x="1814690" y="2467129"/>
                  </a:lnTo>
                  <a:lnTo>
                    <a:pt x="1821381" y="2423653"/>
                  </a:lnTo>
                  <a:lnTo>
                    <a:pt x="1826399" y="2381848"/>
                  </a:lnTo>
                  <a:lnTo>
                    <a:pt x="1816362" y="2350077"/>
                  </a:lnTo>
                  <a:lnTo>
                    <a:pt x="1811403" y="2322006"/>
                  </a:lnTo>
                  <a:close/>
                  <a:moveTo>
                    <a:pt x="1914468" y="2315266"/>
                  </a:moveTo>
                  <a:lnTo>
                    <a:pt x="1916696" y="2316634"/>
                  </a:lnTo>
                  <a:lnTo>
                    <a:pt x="1931158" y="2316634"/>
                  </a:lnTo>
                  <a:lnTo>
                    <a:pt x="1928397" y="2315266"/>
                  </a:lnTo>
                  <a:close/>
                  <a:moveTo>
                    <a:pt x="4049154" y="2302376"/>
                  </a:moveTo>
                  <a:lnTo>
                    <a:pt x="4049016" y="2302384"/>
                  </a:lnTo>
                  <a:lnTo>
                    <a:pt x="4050568" y="2321039"/>
                  </a:lnTo>
                  <a:lnTo>
                    <a:pt x="4038980" y="2337624"/>
                  </a:lnTo>
                  <a:lnTo>
                    <a:pt x="4039432" y="2338379"/>
                  </a:lnTo>
                  <a:lnTo>
                    <a:pt x="4050841" y="2322319"/>
                  </a:lnTo>
                  <a:close/>
                  <a:moveTo>
                    <a:pt x="1888384" y="2296910"/>
                  </a:moveTo>
                  <a:lnTo>
                    <a:pt x="1889935" y="2301584"/>
                  </a:lnTo>
                  <a:lnTo>
                    <a:pt x="1889950" y="2301589"/>
                  </a:lnTo>
                  <a:close/>
                  <a:moveTo>
                    <a:pt x="6420526" y="2295844"/>
                  </a:moveTo>
                  <a:lnTo>
                    <a:pt x="6429565" y="2299610"/>
                  </a:lnTo>
                  <a:lnTo>
                    <a:pt x="6420526" y="2303376"/>
                  </a:lnTo>
                  <a:close/>
                  <a:moveTo>
                    <a:pt x="6252663" y="2295844"/>
                  </a:moveTo>
                  <a:lnTo>
                    <a:pt x="6269880" y="2311097"/>
                  </a:lnTo>
                  <a:lnTo>
                    <a:pt x="6266436" y="2322960"/>
                  </a:lnTo>
                  <a:lnTo>
                    <a:pt x="6245777" y="2297539"/>
                  </a:lnTo>
                  <a:close/>
                  <a:moveTo>
                    <a:pt x="6983196" y="2289818"/>
                  </a:moveTo>
                  <a:lnTo>
                    <a:pt x="6991474" y="2296529"/>
                  </a:lnTo>
                  <a:lnTo>
                    <a:pt x="6974918" y="2321694"/>
                  </a:lnTo>
                  <a:lnTo>
                    <a:pt x="6940150" y="2330082"/>
                  </a:lnTo>
                  <a:lnTo>
                    <a:pt x="6902071" y="2328404"/>
                  </a:lnTo>
                  <a:lnTo>
                    <a:pt x="6865647" y="2326726"/>
                  </a:lnTo>
                  <a:lnTo>
                    <a:pt x="6855714" y="2351891"/>
                  </a:lnTo>
                  <a:lnTo>
                    <a:pt x="6875581" y="2380411"/>
                  </a:lnTo>
                  <a:lnTo>
                    <a:pt x="6898760" y="2366990"/>
                  </a:lnTo>
                  <a:lnTo>
                    <a:pt x="6930216" y="2360279"/>
                  </a:lnTo>
                  <a:lnTo>
                    <a:pt x="6940150" y="2356924"/>
                  </a:lnTo>
                  <a:lnTo>
                    <a:pt x="6943461" y="2366990"/>
                  </a:lnTo>
                  <a:lnTo>
                    <a:pt x="6938494" y="2366990"/>
                  </a:lnTo>
                  <a:lnTo>
                    <a:pt x="6918627" y="2380411"/>
                  </a:lnTo>
                  <a:lnTo>
                    <a:pt x="6900415" y="2397188"/>
                  </a:lnTo>
                  <a:lnTo>
                    <a:pt x="6890482" y="2393833"/>
                  </a:lnTo>
                  <a:lnTo>
                    <a:pt x="6902071" y="2413964"/>
                  </a:lnTo>
                  <a:lnTo>
                    <a:pt x="6915316" y="2434096"/>
                  </a:lnTo>
                  <a:lnTo>
                    <a:pt x="6912005" y="2442484"/>
                  </a:lnTo>
                  <a:lnTo>
                    <a:pt x="6928561" y="2467649"/>
                  </a:lnTo>
                  <a:lnTo>
                    <a:pt x="6921938" y="2471004"/>
                  </a:lnTo>
                  <a:lnTo>
                    <a:pt x="6903726" y="2481070"/>
                  </a:lnTo>
                  <a:lnTo>
                    <a:pt x="6895448" y="2484426"/>
                  </a:lnTo>
                  <a:lnTo>
                    <a:pt x="6892137" y="2467649"/>
                  </a:lnTo>
                  <a:lnTo>
                    <a:pt x="6880548" y="2450873"/>
                  </a:lnTo>
                  <a:lnTo>
                    <a:pt x="6878892" y="2439129"/>
                  </a:lnTo>
                  <a:lnTo>
                    <a:pt x="6875581" y="2420675"/>
                  </a:lnTo>
                  <a:lnTo>
                    <a:pt x="6860681" y="2432419"/>
                  </a:lnTo>
                  <a:lnTo>
                    <a:pt x="6860681" y="2469327"/>
                  </a:lnTo>
                  <a:lnTo>
                    <a:pt x="6862336" y="2504558"/>
                  </a:lnTo>
                  <a:lnTo>
                    <a:pt x="6839158" y="2511268"/>
                  </a:lnTo>
                  <a:lnTo>
                    <a:pt x="6835846" y="2492814"/>
                  </a:lnTo>
                  <a:lnTo>
                    <a:pt x="6839158" y="2471004"/>
                  </a:lnTo>
                  <a:lnTo>
                    <a:pt x="6839158" y="2449195"/>
                  </a:lnTo>
                  <a:lnTo>
                    <a:pt x="6825913" y="2447517"/>
                  </a:lnTo>
                  <a:lnTo>
                    <a:pt x="6824257" y="2420675"/>
                  </a:lnTo>
                  <a:lnTo>
                    <a:pt x="6835846" y="2390477"/>
                  </a:lnTo>
                  <a:lnTo>
                    <a:pt x="6845780" y="2361957"/>
                  </a:lnTo>
                  <a:lnTo>
                    <a:pt x="6850747" y="2366990"/>
                  </a:lnTo>
                  <a:lnTo>
                    <a:pt x="6849091" y="2340148"/>
                  </a:lnTo>
                  <a:lnTo>
                    <a:pt x="6860681" y="2316661"/>
                  </a:lnTo>
                  <a:lnTo>
                    <a:pt x="6865647" y="2316661"/>
                  </a:lnTo>
                  <a:lnTo>
                    <a:pt x="6875581" y="2303239"/>
                  </a:lnTo>
                  <a:lnTo>
                    <a:pt x="6892137" y="2303239"/>
                  </a:lnTo>
                  <a:lnTo>
                    <a:pt x="6925249" y="2309950"/>
                  </a:lnTo>
                  <a:lnTo>
                    <a:pt x="6960017" y="2316661"/>
                  </a:lnTo>
                  <a:close/>
                  <a:moveTo>
                    <a:pt x="3862559" y="2289818"/>
                  </a:moveTo>
                  <a:lnTo>
                    <a:pt x="3865572" y="2289818"/>
                  </a:lnTo>
                  <a:lnTo>
                    <a:pt x="3864567" y="2292831"/>
                  </a:lnTo>
                  <a:close/>
                  <a:moveTo>
                    <a:pt x="1815805" y="2288540"/>
                  </a:moveTo>
                  <a:lnTo>
                    <a:pt x="1820861" y="2308619"/>
                  </a:lnTo>
                  <a:lnTo>
                    <a:pt x="1834368" y="2313639"/>
                  </a:lnTo>
                  <a:lnTo>
                    <a:pt x="1829516" y="2321650"/>
                  </a:lnTo>
                  <a:lnTo>
                    <a:pt x="1829735" y="2321650"/>
                  </a:lnTo>
                  <a:lnTo>
                    <a:pt x="1834752" y="2313289"/>
                  </a:lnTo>
                  <a:lnTo>
                    <a:pt x="1821381" y="2308273"/>
                  </a:lnTo>
                  <a:lnTo>
                    <a:pt x="1816442" y="2288540"/>
                  </a:lnTo>
                  <a:close/>
                  <a:moveTo>
                    <a:pt x="5620596" y="2286806"/>
                  </a:moveTo>
                  <a:lnTo>
                    <a:pt x="5623609" y="2288312"/>
                  </a:lnTo>
                  <a:lnTo>
                    <a:pt x="5620596" y="2289819"/>
                  </a:lnTo>
                  <a:close/>
                  <a:moveTo>
                    <a:pt x="1859682" y="2283520"/>
                  </a:moveTo>
                  <a:lnTo>
                    <a:pt x="1861259" y="2288207"/>
                  </a:lnTo>
                  <a:lnTo>
                    <a:pt x="1861511" y="2288207"/>
                  </a:lnTo>
                  <a:lnTo>
                    <a:pt x="1860075" y="2283909"/>
                  </a:lnTo>
                  <a:close/>
                  <a:moveTo>
                    <a:pt x="8256899" y="2282286"/>
                  </a:moveTo>
                  <a:lnTo>
                    <a:pt x="8259159" y="2282286"/>
                  </a:lnTo>
                  <a:lnTo>
                    <a:pt x="8261418" y="2285675"/>
                  </a:lnTo>
                  <a:close/>
                  <a:moveTo>
                    <a:pt x="5623609" y="2282286"/>
                  </a:moveTo>
                  <a:lnTo>
                    <a:pt x="5623609" y="2286805"/>
                  </a:lnTo>
                  <a:lnTo>
                    <a:pt x="5620596" y="2286805"/>
                  </a:lnTo>
                  <a:close/>
                  <a:moveTo>
                    <a:pt x="7064831" y="2276260"/>
                  </a:moveTo>
                  <a:lnTo>
                    <a:pt x="7064831" y="2287977"/>
                  </a:lnTo>
                  <a:lnTo>
                    <a:pt x="7059919" y="2308063"/>
                  </a:lnTo>
                  <a:lnTo>
                    <a:pt x="7059919" y="2316433"/>
                  </a:lnTo>
                  <a:lnTo>
                    <a:pt x="7069744" y="2301368"/>
                  </a:lnTo>
                  <a:lnTo>
                    <a:pt x="7077931" y="2292998"/>
                  </a:lnTo>
                  <a:lnTo>
                    <a:pt x="7084481" y="2299694"/>
                  </a:lnTo>
                  <a:lnTo>
                    <a:pt x="7073019" y="2313085"/>
                  </a:lnTo>
                  <a:lnTo>
                    <a:pt x="7089393" y="2333171"/>
                  </a:lnTo>
                  <a:lnTo>
                    <a:pt x="7063194" y="2329823"/>
                  </a:lnTo>
                  <a:lnTo>
                    <a:pt x="7073019" y="2366648"/>
                  </a:lnTo>
                  <a:lnTo>
                    <a:pt x="7058282" y="2339866"/>
                  </a:lnTo>
                  <a:lnTo>
                    <a:pt x="7055007" y="2318106"/>
                  </a:lnTo>
                  <a:lnTo>
                    <a:pt x="7051732" y="2298020"/>
                  </a:lnTo>
                  <a:close/>
                  <a:moveTo>
                    <a:pt x="5629635" y="2276260"/>
                  </a:moveTo>
                  <a:lnTo>
                    <a:pt x="5632648" y="2276260"/>
                  </a:lnTo>
                  <a:lnTo>
                    <a:pt x="5629635" y="2279273"/>
                  </a:lnTo>
                  <a:close/>
                  <a:moveTo>
                    <a:pt x="5623609" y="2270234"/>
                  </a:moveTo>
                  <a:lnTo>
                    <a:pt x="5626622" y="2270234"/>
                  </a:lnTo>
                  <a:lnTo>
                    <a:pt x="5623609" y="2273247"/>
                  </a:lnTo>
                  <a:close/>
                  <a:moveTo>
                    <a:pt x="3929747" y="2270234"/>
                  </a:moveTo>
                  <a:lnTo>
                    <a:pt x="3949633" y="2271866"/>
                  </a:lnTo>
                  <a:lnTo>
                    <a:pt x="3969518" y="2276762"/>
                  </a:lnTo>
                  <a:lnTo>
                    <a:pt x="3969518" y="2309402"/>
                  </a:lnTo>
                  <a:lnTo>
                    <a:pt x="3949633" y="2309402"/>
                  </a:lnTo>
                  <a:lnTo>
                    <a:pt x="3929747" y="2309402"/>
                  </a:lnTo>
                  <a:lnTo>
                    <a:pt x="3919805" y="2306138"/>
                  </a:lnTo>
                  <a:lnTo>
                    <a:pt x="3923119" y="2296346"/>
                  </a:lnTo>
                  <a:close/>
                  <a:moveTo>
                    <a:pt x="1987279" y="2266945"/>
                  </a:moveTo>
                  <a:lnTo>
                    <a:pt x="1982262" y="2275231"/>
                  </a:lnTo>
                  <a:lnTo>
                    <a:pt x="1958697" y="2296917"/>
                  </a:lnTo>
                  <a:lnTo>
                    <a:pt x="1932003" y="2316761"/>
                  </a:lnTo>
                  <a:lnTo>
                    <a:pt x="1935084" y="2318306"/>
                  </a:lnTo>
                  <a:lnTo>
                    <a:pt x="1961845" y="2298240"/>
                  </a:lnTo>
                  <a:lnTo>
                    <a:pt x="1985251" y="2276501"/>
                  </a:lnTo>
                  <a:lnTo>
                    <a:pt x="1990268" y="2268141"/>
                  </a:lnTo>
                  <a:close/>
                  <a:moveTo>
                    <a:pt x="2204915" y="2263149"/>
                  </a:moveTo>
                  <a:lnTo>
                    <a:pt x="2181059" y="2269908"/>
                  </a:lnTo>
                  <a:lnTo>
                    <a:pt x="2182667" y="2285858"/>
                  </a:lnTo>
                  <a:lnTo>
                    <a:pt x="2184246" y="2286534"/>
                  </a:lnTo>
                  <a:lnTo>
                    <a:pt x="2182574" y="2269813"/>
                  </a:lnTo>
                  <a:lnTo>
                    <a:pt x="2205326" y="2263312"/>
                  </a:lnTo>
                  <a:close/>
                  <a:moveTo>
                    <a:pt x="5620596" y="2262702"/>
                  </a:moveTo>
                  <a:lnTo>
                    <a:pt x="5623609" y="2262702"/>
                  </a:lnTo>
                  <a:lnTo>
                    <a:pt x="5623609" y="2265715"/>
                  </a:lnTo>
                  <a:close/>
                  <a:moveTo>
                    <a:pt x="5599506" y="2256676"/>
                  </a:moveTo>
                  <a:lnTo>
                    <a:pt x="5602519" y="2256676"/>
                  </a:lnTo>
                  <a:lnTo>
                    <a:pt x="5602519" y="2259689"/>
                  </a:lnTo>
                  <a:close/>
                  <a:moveTo>
                    <a:pt x="5620596" y="2249144"/>
                  </a:moveTo>
                  <a:lnTo>
                    <a:pt x="5623609" y="2249144"/>
                  </a:lnTo>
                  <a:lnTo>
                    <a:pt x="5623609" y="2252157"/>
                  </a:lnTo>
                  <a:close/>
                  <a:moveTo>
                    <a:pt x="8252882" y="2246131"/>
                  </a:moveTo>
                  <a:lnTo>
                    <a:pt x="8253886" y="2246131"/>
                  </a:lnTo>
                  <a:lnTo>
                    <a:pt x="8252882" y="2249144"/>
                  </a:lnTo>
                  <a:lnTo>
                    <a:pt x="8250873" y="2249144"/>
                  </a:lnTo>
                  <a:close/>
                  <a:moveTo>
                    <a:pt x="4123874" y="2231240"/>
                  </a:moveTo>
                  <a:lnTo>
                    <a:pt x="4110542" y="2241322"/>
                  </a:lnTo>
                  <a:lnTo>
                    <a:pt x="4110244" y="2242273"/>
                  </a:lnTo>
                  <a:lnTo>
                    <a:pt x="4123370" y="2232573"/>
                  </a:lnTo>
                  <a:lnTo>
                    <a:pt x="4143610" y="2234235"/>
                  </a:lnTo>
                  <a:lnTo>
                    <a:pt x="4162949" y="2237411"/>
                  </a:lnTo>
                  <a:lnTo>
                    <a:pt x="4162949" y="2236125"/>
                  </a:lnTo>
                  <a:lnTo>
                    <a:pt x="4143873" y="2232920"/>
                  </a:lnTo>
                  <a:close/>
                  <a:moveTo>
                    <a:pt x="3901726" y="2226547"/>
                  </a:moveTo>
                  <a:lnTo>
                    <a:pt x="3906246" y="2228618"/>
                  </a:lnTo>
                  <a:lnTo>
                    <a:pt x="3892688" y="2243118"/>
                  </a:lnTo>
                  <a:close/>
                  <a:moveTo>
                    <a:pt x="2131924" y="2222998"/>
                  </a:moveTo>
                  <a:lnTo>
                    <a:pt x="2131919" y="2223071"/>
                  </a:lnTo>
                  <a:lnTo>
                    <a:pt x="2143303" y="2239874"/>
                  </a:lnTo>
                  <a:lnTo>
                    <a:pt x="2157927" y="2260037"/>
                  </a:lnTo>
                  <a:lnTo>
                    <a:pt x="2169303" y="2281881"/>
                  </a:lnTo>
                  <a:lnTo>
                    <a:pt x="2141671" y="2286922"/>
                  </a:lnTo>
                  <a:lnTo>
                    <a:pt x="2116539" y="2299912"/>
                  </a:lnTo>
                  <a:lnTo>
                    <a:pt x="2117365" y="2299912"/>
                  </a:lnTo>
                  <a:lnTo>
                    <a:pt x="2144112" y="2286534"/>
                  </a:lnTo>
                  <a:lnTo>
                    <a:pt x="2170972" y="2281795"/>
                  </a:lnTo>
                  <a:lnTo>
                    <a:pt x="2170842" y="2281736"/>
                  </a:lnTo>
                  <a:lnTo>
                    <a:pt x="2158905" y="2259770"/>
                  </a:lnTo>
                  <a:lnTo>
                    <a:pt x="2143573" y="2239494"/>
                  </a:lnTo>
                  <a:close/>
                  <a:moveTo>
                    <a:pt x="1951970" y="2210174"/>
                  </a:moveTo>
                  <a:lnTo>
                    <a:pt x="1962062" y="2226855"/>
                  </a:lnTo>
                  <a:lnTo>
                    <a:pt x="1970479" y="2260218"/>
                  </a:lnTo>
                  <a:lnTo>
                    <a:pt x="1973541" y="2261432"/>
                  </a:lnTo>
                  <a:lnTo>
                    <a:pt x="1965191" y="2228008"/>
                  </a:lnTo>
                  <a:lnTo>
                    <a:pt x="1955207" y="2211380"/>
                  </a:lnTo>
                  <a:close/>
                  <a:moveTo>
                    <a:pt x="6717298" y="2191899"/>
                  </a:moveTo>
                  <a:lnTo>
                    <a:pt x="6717298" y="2193405"/>
                  </a:lnTo>
                  <a:lnTo>
                    <a:pt x="6712779" y="2206963"/>
                  </a:lnTo>
                  <a:lnTo>
                    <a:pt x="6708259" y="2216002"/>
                  </a:lnTo>
                  <a:lnTo>
                    <a:pt x="6694701" y="2200937"/>
                  </a:lnTo>
                  <a:close/>
                  <a:moveTo>
                    <a:pt x="4183871" y="2185872"/>
                  </a:moveTo>
                  <a:lnTo>
                    <a:pt x="4163872" y="2212757"/>
                  </a:lnTo>
                  <a:lnTo>
                    <a:pt x="4163872" y="2213394"/>
                  </a:lnTo>
                  <a:lnTo>
                    <a:pt x="4182870" y="2187877"/>
                  </a:lnTo>
                  <a:lnTo>
                    <a:pt x="4211091" y="2202928"/>
                  </a:lnTo>
                  <a:lnTo>
                    <a:pt x="4237652" y="2211290"/>
                  </a:lnTo>
                  <a:lnTo>
                    <a:pt x="4260893" y="2217979"/>
                  </a:lnTo>
                  <a:lnTo>
                    <a:pt x="4262089" y="2216086"/>
                  </a:lnTo>
                  <a:lnTo>
                    <a:pt x="4238867" y="2209396"/>
                  </a:lnTo>
                  <a:lnTo>
                    <a:pt x="4212202" y="2200995"/>
                  </a:lnTo>
                  <a:close/>
                  <a:moveTo>
                    <a:pt x="4342195" y="2180831"/>
                  </a:moveTo>
                  <a:lnTo>
                    <a:pt x="4332195" y="2189233"/>
                  </a:lnTo>
                  <a:lnTo>
                    <a:pt x="4312196" y="2189233"/>
                  </a:lnTo>
                  <a:lnTo>
                    <a:pt x="4285531" y="2199314"/>
                  </a:lnTo>
                  <a:lnTo>
                    <a:pt x="4273865" y="2197634"/>
                  </a:lnTo>
                  <a:lnTo>
                    <a:pt x="4272625" y="2199599"/>
                  </a:lnTo>
                  <a:lnTo>
                    <a:pt x="4284135" y="2201256"/>
                  </a:lnTo>
                  <a:lnTo>
                    <a:pt x="4310696" y="2191222"/>
                  </a:lnTo>
                  <a:lnTo>
                    <a:pt x="4330617" y="2191222"/>
                  </a:lnTo>
                  <a:lnTo>
                    <a:pt x="4340577" y="2182860"/>
                  </a:lnTo>
                  <a:lnTo>
                    <a:pt x="4360498" y="2184532"/>
                  </a:lnTo>
                  <a:lnTo>
                    <a:pt x="4382079" y="2187877"/>
                  </a:lnTo>
                  <a:lnTo>
                    <a:pt x="4397020" y="2191222"/>
                  </a:lnTo>
                  <a:lnTo>
                    <a:pt x="4402000" y="2197911"/>
                  </a:lnTo>
                  <a:lnTo>
                    <a:pt x="4421921" y="2211290"/>
                  </a:lnTo>
                  <a:lnTo>
                    <a:pt x="4438522" y="2209617"/>
                  </a:lnTo>
                  <a:lnTo>
                    <a:pt x="4448482" y="2201256"/>
                  </a:lnTo>
                  <a:lnTo>
                    <a:pt x="4466743" y="2219652"/>
                  </a:lnTo>
                  <a:lnTo>
                    <a:pt x="4486664" y="2238047"/>
                  </a:lnTo>
                  <a:lnTo>
                    <a:pt x="4483344" y="2263133"/>
                  </a:lnTo>
                  <a:lnTo>
                    <a:pt x="4498285" y="2278184"/>
                  </a:lnTo>
                  <a:lnTo>
                    <a:pt x="4480024" y="2294907"/>
                  </a:lnTo>
                  <a:lnTo>
                    <a:pt x="4463423" y="2314976"/>
                  </a:lnTo>
                  <a:lnTo>
                    <a:pt x="4458443" y="2350095"/>
                  </a:lnTo>
                  <a:lnTo>
                    <a:pt x="4451803" y="2383542"/>
                  </a:lnTo>
                  <a:lnTo>
                    <a:pt x="4441842" y="2403610"/>
                  </a:lnTo>
                  <a:lnTo>
                    <a:pt x="4433542" y="2422006"/>
                  </a:lnTo>
                  <a:lnTo>
                    <a:pt x="4436862" y="2422006"/>
                  </a:lnTo>
                  <a:lnTo>
                    <a:pt x="4436862" y="2423678"/>
                  </a:lnTo>
                  <a:lnTo>
                    <a:pt x="4438522" y="2425351"/>
                  </a:lnTo>
                  <a:lnTo>
                    <a:pt x="4441842" y="2450436"/>
                  </a:lnTo>
                  <a:lnTo>
                    <a:pt x="4448482" y="2475521"/>
                  </a:lnTo>
                  <a:lnTo>
                    <a:pt x="4448482" y="2498934"/>
                  </a:lnTo>
                  <a:lnTo>
                    <a:pt x="4450142" y="2520674"/>
                  </a:lnTo>
                  <a:lnTo>
                    <a:pt x="4458443" y="2544087"/>
                  </a:lnTo>
                  <a:lnTo>
                    <a:pt x="4470063" y="2565828"/>
                  </a:lnTo>
                  <a:lnTo>
                    <a:pt x="4480762" y="2584305"/>
                  </a:lnTo>
                  <a:lnTo>
                    <a:pt x="4481886" y="2584002"/>
                  </a:lnTo>
                  <a:lnTo>
                    <a:pt x="4470446" y="2564434"/>
                  </a:lnTo>
                  <a:lnTo>
                    <a:pt x="4458668" y="2542606"/>
                  </a:lnTo>
                  <a:lnTo>
                    <a:pt x="4450254" y="2519099"/>
                  </a:lnTo>
                  <a:lnTo>
                    <a:pt x="4448572" y="2497271"/>
                  </a:lnTo>
                  <a:lnTo>
                    <a:pt x="4448572" y="2473764"/>
                  </a:lnTo>
                  <a:lnTo>
                    <a:pt x="4453620" y="2473764"/>
                  </a:lnTo>
                  <a:lnTo>
                    <a:pt x="4453738" y="2473606"/>
                  </a:lnTo>
                  <a:lnTo>
                    <a:pt x="4449701" y="2473606"/>
                  </a:lnTo>
                  <a:lnTo>
                    <a:pt x="4443029" y="2448631"/>
                  </a:lnTo>
                  <a:lnTo>
                    <a:pt x="4439694" y="2423655"/>
                  </a:lnTo>
                  <a:lnTo>
                    <a:pt x="4438026" y="2421990"/>
                  </a:lnTo>
                  <a:lnTo>
                    <a:pt x="4439137" y="2420881"/>
                  </a:lnTo>
                  <a:lnTo>
                    <a:pt x="4438402" y="2420881"/>
                  </a:lnTo>
                  <a:lnTo>
                    <a:pt x="4435013" y="2420881"/>
                  </a:lnTo>
                  <a:lnTo>
                    <a:pt x="4443487" y="2402596"/>
                  </a:lnTo>
                  <a:lnTo>
                    <a:pt x="4453655" y="2382648"/>
                  </a:lnTo>
                  <a:lnTo>
                    <a:pt x="4454709" y="2382648"/>
                  </a:lnTo>
                  <a:lnTo>
                    <a:pt x="4461246" y="2349510"/>
                  </a:lnTo>
                  <a:lnTo>
                    <a:pt x="4466233" y="2314116"/>
                  </a:lnTo>
                  <a:lnTo>
                    <a:pt x="4482856" y="2293890"/>
                  </a:lnTo>
                  <a:lnTo>
                    <a:pt x="4501141" y="2277036"/>
                  </a:lnTo>
                  <a:lnTo>
                    <a:pt x="4486180" y="2261867"/>
                  </a:lnTo>
                  <a:lnTo>
                    <a:pt x="4489505" y="2236585"/>
                  </a:lnTo>
                  <a:lnTo>
                    <a:pt x="4491167" y="2229843"/>
                  </a:lnTo>
                  <a:lnTo>
                    <a:pt x="4511115" y="2228158"/>
                  </a:lnTo>
                  <a:lnTo>
                    <a:pt x="4516102" y="2231529"/>
                  </a:lnTo>
                  <a:lnTo>
                    <a:pt x="4529400" y="2228158"/>
                  </a:lnTo>
                  <a:lnTo>
                    <a:pt x="4559322" y="2228158"/>
                  </a:lnTo>
                  <a:lnTo>
                    <a:pt x="4565297" y="2220368"/>
                  </a:lnTo>
                  <a:lnTo>
                    <a:pt x="4559967" y="2227200"/>
                  </a:lnTo>
                  <a:lnTo>
                    <a:pt x="4529686" y="2227200"/>
                  </a:lnTo>
                  <a:lnTo>
                    <a:pt x="4516227" y="2230554"/>
                  </a:lnTo>
                  <a:lnTo>
                    <a:pt x="4511180" y="2227200"/>
                  </a:lnTo>
                  <a:lnTo>
                    <a:pt x="4490993" y="2228877"/>
                  </a:lnTo>
                  <a:lnTo>
                    <a:pt x="4489310" y="2235586"/>
                  </a:lnTo>
                  <a:lnTo>
                    <a:pt x="4469122" y="2217137"/>
                  </a:lnTo>
                  <a:lnTo>
                    <a:pt x="4450617" y="2198688"/>
                  </a:lnTo>
                  <a:lnTo>
                    <a:pt x="4440523" y="2207074"/>
                  </a:lnTo>
                  <a:lnTo>
                    <a:pt x="4423700" y="2208751"/>
                  </a:lnTo>
                  <a:lnTo>
                    <a:pt x="4403512" y="2195334"/>
                  </a:lnTo>
                  <a:lnTo>
                    <a:pt x="4398733" y="2188981"/>
                  </a:lnTo>
                  <a:lnTo>
                    <a:pt x="4398858" y="2189233"/>
                  </a:lnTo>
                  <a:lnTo>
                    <a:pt x="4383859" y="2185872"/>
                  </a:lnTo>
                  <a:lnTo>
                    <a:pt x="4362193" y="2182512"/>
                  </a:lnTo>
                  <a:close/>
                  <a:moveTo>
                    <a:pt x="6191544" y="2172315"/>
                  </a:moveTo>
                  <a:lnTo>
                    <a:pt x="6210126" y="2175667"/>
                  </a:lnTo>
                  <a:lnTo>
                    <a:pt x="6230398" y="2179020"/>
                  </a:lnTo>
                  <a:lnTo>
                    <a:pt x="6250670" y="2182373"/>
                  </a:lnTo>
                  <a:lnTo>
                    <a:pt x="6276010" y="2210870"/>
                  </a:lnTo>
                  <a:lnTo>
                    <a:pt x="6277699" y="2217575"/>
                  </a:lnTo>
                  <a:lnTo>
                    <a:pt x="6301350" y="2239367"/>
                  </a:lnTo>
                  <a:lnTo>
                    <a:pt x="6326690" y="2259483"/>
                  </a:lnTo>
                  <a:lnTo>
                    <a:pt x="6346962" y="2281275"/>
                  </a:lnTo>
                  <a:lnTo>
                    <a:pt x="6343583" y="2271217"/>
                  </a:lnTo>
                  <a:lnTo>
                    <a:pt x="6368923" y="2289656"/>
                  </a:lnTo>
                  <a:lnTo>
                    <a:pt x="6382437" y="2308096"/>
                  </a:lnTo>
                  <a:lnTo>
                    <a:pt x="6407777" y="2323182"/>
                  </a:lnTo>
                  <a:lnTo>
                    <a:pt x="6411156" y="2326535"/>
                  </a:lnTo>
                  <a:lnTo>
                    <a:pt x="6428050" y="2339946"/>
                  </a:lnTo>
                  <a:lnTo>
                    <a:pt x="6414534" y="2346651"/>
                  </a:lnTo>
                  <a:lnTo>
                    <a:pt x="6417913" y="2351680"/>
                  </a:lnTo>
                  <a:lnTo>
                    <a:pt x="6414534" y="2356709"/>
                  </a:lnTo>
                  <a:lnTo>
                    <a:pt x="6419602" y="2366766"/>
                  </a:lnTo>
                  <a:lnTo>
                    <a:pt x="6439875" y="2370119"/>
                  </a:lnTo>
                  <a:lnTo>
                    <a:pt x="6444943" y="2391911"/>
                  </a:lnTo>
                  <a:lnTo>
                    <a:pt x="6450011" y="2400292"/>
                  </a:lnTo>
                  <a:lnTo>
                    <a:pt x="6450011" y="2412027"/>
                  </a:lnTo>
                  <a:lnTo>
                    <a:pt x="6471972" y="2412027"/>
                  </a:lnTo>
                  <a:lnTo>
                    <a:pt x="6483797" y="2437171"/>
                  </a:lnTo>
                  <a:lnTo>
                    <a:pt x="6482108" y="2440524"/>
                  </a:lnTo>
                  <a:lnTo>
                    <a:pt x="6478729" y="2477402"/>
                  </a:lnTo>
                  <a:lnTo>
                    <a:pt x="6473661" y="2514281"/>
                  </a:lnTo>
                  <a:lnTo>
                    <a:pt x="6461836" y="2504223"/>
                  </a:lnTo>
                  <a:lnTo>
                    <a:pt x="6460147" y="2510929"/>
                  </a:lnTo>
                  <a:lnTo>
                    <a:pt x="6444943" y="2507576"/>
                  </a:lnTo>
                  <a:lnTo>
                    <a:pt x="6444943" y="2514281"/>
                  </a:lnTo>
                  <a:lnTo>
                    <a:pt x="6419602" y="2489137"/>
                  </a:lnTo>
                  <a:lnTo>
                    <a:pt x="6404399" y="2474050"/>
                  </a:lnTo>
                  <a:lnTo>
                    <a:pt x="6390884" y="2460639"/>
                  </a:lnTo>
                  <a:lnTo>
                    <a:pt x="6377369" y="2447229"/>
                  </a:lnTo>
                  <a:lnTo>
                    <a:pt x="6362165" y="2430466"/>
                  </a:lnTo>
                  <a:lnTo>
                    <a:pt x="6350340" y="2406998"/>
                  </a:lnTo>
                  <a:lnTo>
                    <a:pt x="6338515" y="2381853"/>
                  </a:lnTo>
                  <a:lnTo>
                    <a:pt x="6333447" y="2378501"/>
                  </a:lnTo>
                  <a:lnTo>
                    <a:pt x="6319932" y="2356709"/>
                  </a:lnTo>
                  <a:lnTo>
                    <a:pt x="6306418" y="2333240"/>
                  </a:lnTo>
                  <a:lnTo>
                    <a:pt x="6297971" y="2313125"/>
                  </a:lnTo>
                  <a:lnTo>
                    <a:pt x="6289525" y="2293009"/>
                  </a:lnTo>
                  <a:lnTo>
                    <a:pt x="6267563" y="2271217"/>
                  </a:lnTo>
                  <a:lnTo>
                    <a:pt x="6250670" y="2247749"/>
                  </a:lnTo>
                  <a:lnTo>
                    <a:pt x="6230398" y="2227633"/>
                  </a:lnTo>
                  <a:lnTo>
                    <a:pt x="6210126" y="2207517"/>
                  </a:lnTo>
                  <a:close/>
                  <a:moveTo>
                    <a:pt x="5613064" y="2169302"/>
                  </a:moveTo>
                  <a:lnTo>
                    <a:pt x="5616077" y="2172315"/>
                  </a:lnTo>
                  <a:lnTo>
                    <a:pt x="5613064" y="2172315"/>
                  </a:lnTo>
                  <a:close/>
                  <a:moveTo>
                    <a:pt x="1879588" y="2151789"/>
                  </a:moveTo>
                  <a:lnTo>
                    <a:pt x="1857699" y="2155126"/>
                  </a:lnTo>
                  <a:lnTo>
                    <a:pt x="1834979" y="2156627"/>
                  </a:lnTo>
                  <a:lnTo>
                    <a:pt x="1836058" y="2158024"/>
                  </a:lnTo>
                  <a:lnTo>
                    <a:pt x="1861370" y="2156350"/>
                  </a:lnTo>
                  <a:lnTo>
                    <a:pt x="1879121" y="2153644"/>
                  </a:lnTo>
                  <a:close/>
                  <a:moveTo>
                    <a:pt x="6759290" y="2131640"/>
                  </a:moveTo>
                  <a:lnTo>
                    <a:pt x="6760976" y="2139932"/>
                  </a:lnTo>
                  <a:lnTo>
                    <a:pt x="6767720" y="2131640"/>
                  </a:lnTo>
                  <a:lnTo>
                    <a:pt x="6782895" y="2143249"/>
                  </a:lnTo>
                  <a:lnTo>
                    <a:pt x="6782895" y="2163151"/>
                  </a:lnTo>
                  <a:lnTo>
                    <a:pt x="6794697" y="2158176"/>
                  </a:lnTo>
                  <a:lnTo>
                    <a:pt x="6794697" y="2166468"/>
                  </a:lnTo>
                  <a:lnTo>
                    <a:pt x="6799755" y="2168127"/>
                  </a:lnTo>
                  <a:lnTo>
                    <a:pt x="6831790" y="2181394"/>
                  </a:lnTo>
                  <a:lnTo>
                    <a:pt x="6803127" y="2189687"/>
                  </a:lnTo>
                  <a:lnTo>
                    <a:pt x="6811558" y="2206272"/>
                  </a:lnTo>
                  <a:lnTo>
                    <a:pt x="6793011" y="2209589"/>
                  </a:lnTo>
                  <a:lnTo>
                    <a:pt x="6787953" y="2216223"/>
                  </a:lnTo>
                  <a:lnTo>
                    <a:pt x="6764348" y="2211247"/>
                  </a:lnTo>
                  <a:lnTo>
                    <a:pt x="6740744" y="2209589"/>
                  </a:lnTo>
                  <a:lnTo>
                    <a:pt x="6734000" y="2229491"/>
                  </a:lnTo>
                  <a:lnTo>
                    <a:pt x="6728942" y="2251051"/>
                  </a:lnTo>
                  <a:lnTo>
                    <a:pt x="6722197" y="2265977"/>
                  </a:lnTo>
                  <a:lnTo>
                    <a:pt x="6710395" y="2290855"/>
                  </a:lnTo>
                  <a:lnTo>
                    <a:pt x="6688477" y="2300806"/>
                  </a:lnTo>
                  <a:lnTo>
                    <a:pt x="6653070" y="2292513"/>
                  </a:lnTo>
                  <a:lnTo>
                    <a:pt x="6642954" y="2305781"/>
                  </a:lnTo>
                  <a:lnTo>
                    <a:pt x="6609233" y="2312415"/>
                  </a:lnTo>
                  <a:lnTo>
                    <a:pt x="6596751" y="2305508"/>
                  </a:lnTo>
                  <a:lnTo>
                    <a:pt x="6610684" y="2313339"/>
                  </a:lnTo>
                  <a:lnTo>
                    <a:pt x="6644054" y="2306671"/>
                  </a:lnTo>
                  <a:lnTo>
                    <a:pt x="6654065" y="2293333"/>
                  </a:lnTo>
                  <a:lnTo>
                    <a:pt x="6689105" y="2301669"/>
                  </a:lnTo>
                  <a:lnTo>
                    <a:pt x="6710796" y="2291666"/>
                  </a:lnTo>
                  <a:lnTo>
                    <a:pt x="6722476" y="2266659"/>
                  </a:lnTo>
                  <a:lnTo>
                    <a:pt x="6729150" y="2251655"/>
                  </a:lnTo>
                  <a:lnTo>
                    <a:pt x="6734156" y="2229982"/>
                  </a:lnTo>
                  <a:lnTo>
                    <a:pt x="6740830" y="2209976"/>
                  </a:lnTo>
                  <a:lnTo>
                    <a:pt x="6764189" y="2211643"/>
                  </a:lnTo>
                  <a:lnTo>
                    <a:pt x="6787549" y="2216644"/>
                  </a:lnTo>
                  <a:lnTo>
                    <a:pt x="6784212" y="2219979"/>
                  </a:lnTo>
                  <a:lnTo>
                    <a:pt x="6784212" y="2221646"/>
                  </a:lnTo>
                  <a:lnTo>
                    <a:pt x="6790886" y="2231649"/>
                  </a:lnTo>
                  <a:lnTo>
                    <a:pt x="6784212" y="2229982"/>
                  </a:lnTo>
                  <a:lnTo>
                    <a:pt x="6777538" y="2231649"/>
                  </a:lnTo>
                  <a:lnTo>
                    <a:pt x="6780875" y="2243319"/>
                  </a:lnTo>
                  <a:lnTo>
                    <a:pt x="6800897" y="2273327"/>
                  </a:lnTo>
                  <a:lnTo>
                    <a:pt x="6797560" y="2283330"/>
                  </a:lnTo>
                  <a:lnTo>
                    <a:pt x="6810909" y="2298335"/>
                  </a:lnTo>
                  <a:lnTo>
                    <a:pt x="6824257" y="2313339"/>
                  </a:lnTo>
                  <a:lnTo>
                    <a:pt x="6800897" y="2311672"/>
                  </a:lnTo>
                  <a:lnTo>
                    <a:pt x="6799229" y="2310005"/>
                  </a:lnTo>
                  <a:lnTo>
                    <a:pt x="6787549" y="2350016"/>
                  </a:lnTo>
                  <a:lnTo>
                    <a:pt x="6790886" y="2351684"/>
                  </a:lnTo>
                  <a:lnTo>
                    <a:pt x="6784212" y="2366688"/>
                  </a:lnTo>
                  <a:lnTo>
                    <a:pt x="6769195" y="2373357"/>
                  </a:lnTo>
                  <a:lnTo>
                    <a:pt x="6757515" y="2393362"/>
                  </a:lnTo>
                  <a:lnTo>
                    <a:pt x="6757515" y="2406699"/>
                  </a:lnTo>
                  <a:lnTo>
                    <a:pt x="6762521" y="2406699"/>
                  </a:lnTo>
                  <a:lnTo>
                    <a:pt x="6754178" y="2416702"/>
                  </a:lnTo>
                  <a:lnTo>
                    <a:pt x="6750841" y="2426705"/>
                  </a:lnTo>
                  <a:lnTo>
                    <a:pt x="6744167" y="2448378"/>
                  </a:lnTo>
                  <a:lnTo>
                    <a:pt x="6709127" y="2460048"/>
                  </a:lnTo>
                  <a:lnTo>
                    <a:pt x="6704122" y="2443377"/>
                  </a:lnTo>
                  <a:lnTo>
                    <a:pt x="6700785" y="2440042"/>
                  </a:lnTo>
                  <a:lnTo>
                    <a:pt x="6682431" y="2440042"/>
                  </a:lnTo>
                  <a:lnTo>
                    <a:pt x="6667414" y="2431707"/>
                  </a:lnTo>
                  <a:lnTo>
                    <a:pt x="6650728" y="2440042"/>
                  </a:lnTo>
                  <a:lnTo>
                    <a:pt x="6637380" y="2441710"/>
                  </a:lnTo>
                  <a:lnTo>
                    <a:pt x="6630706" y="2426705"/>
                  </a:lnTo>
                  <a:lnTo>
                    <a:pt x="6609015" y="2430039"/>
                  </a:lnTo>
                  <a:lnTo>
                    <a:pt x="6610684" y="2428372"/>
                  </a:lnTo>
                  <a:lnTo>
                    <a:pt x="6604009" y="2430039"/>
                  </a:lnTo>
                  <a:lnTo>
                    <a:pt x="6592330" y="2426705"/>
                  </a:lnTo>
                  <a:lnTo>
                    <a:pt x="6587324" y="2396697"/>
                  </a:lnTo>
                  <a:lnTo>
                    <a:pt x="6587324" y="2373357"/>
                  </a:lnTo>
                  <a:lnTo>
                    <a:pt x="6570639" y="2360019"/>
                  </a:lnTo>
                  <a:lnTo>
                    <a:pt x="6572307" y="2360019"/>
                  </a:lnTo>
                  <a:lnTo>
                    <a:pt x="6567301" y="2346682"/>
                  </a:lnTo>
                  <a:lnTo>
                    <a:pt x="6567301" y="2338346"/>
                  </a:lnTo>
                  <a:lnTo>
                    <a:pt x="6560627" y="2313339"/>
                  </a:lnTo>
                  <a:lnTo>
                    <a:pt x="6568970" y="2298335"/>
                  </a:lnTo>
                  <a:lnTo>
                    <a:pt x="6563964" y="2300002"/>
                  </a:lnTo>
                  <a:lnTo>
                    <a:pt x="6577815" y="2280012"/>
                  </a:lnTo>
                  <a:lnTo>
                    <a:pt x="6577198" y="2277587"/>
                  </a:lnTo>
                  <a:lnTo>
                    <a:pt x="6578564" y="2278930"/>
                  </a:lnTo>
                  <a:lnTo>
                    <a:pt x="6578981" y="2278329"/>
                  </a:lnTo>
                  <a:lnTo>
                    <a:pt x="6579265" y="2279464"/>
                  </a:lnTo>
                  <a:lnTo>
                    <a:pt x="6599117" y="2290855"/>
                  </a:lnTo>
                  <a:lnTo>
                    <a:pt x="6619349" y="2297489"/>
                  </a:lnTo>
                  <a:lnTo>
                    <a:pt x="6615977" y="2295830"/>
                  </a:lnTo>
                  <a:lnTo>
                    <a:pt x="6619349" y="2289196"/>
                  </a:lnTo>
                  <a:lnTo>
                    <a:pt x="6621035" y="2275928"/>
                  </a:lnTo>
                  <a:lnTo>
                    <a:pt x="6621035" y="2269294"/>
                  </a:lnTo>
                  <a:lnTo>
                    <a:pt x="6626093" y="2259343"/>
                  </a:lnTo>
                  <a:lnTo>
                    <a:pt x="6642954" y="2252709"/>
                  </a:lnTo>
                  <a:lnTo>
                    <a:pt x="6661500" y="2247734"/>
                  </a:lnTo>
                  <a:lnTo>
                    <a:pt x="6678360" y="2226174"/>
                  </a:lnTo>
                  <a:lnTo>
                    <a:pt x="6693535" y="2201296"/>
                  </a:lnTo>
                  <a:lnTo>
                    <a:pt x="6708709" y="2217881"/>
                  </a:lnTo>
                  <a:lnTo>
                    <a:pt x="6713767" y="2207930"/>
                  </a:lnTo>
                  <a:lnTo>
                    <a:pt x="6718825" y="2193004"/>
                  </a:lnTo>
                  <a:lnTo>
                    <a:pt x="6723883" y="2209589"/>
                  </a:lnTo>
                  <a:lnTo>
                    <a:pt x="6723883" y="2197979"/>
                  </a:lnTo>
                  <a:lnTo>
                    <a:pt x="6730628" y="2189687"/>
                  </a:lnTo>
                  <a:lnTo>
                    <a:pt x="6728942" y="2181394"/>
                  </a:lnTo>
                  <a:lnTo>
                    <a:pt x="6734000" y="2173102"/>
                  </a:lnTo>
                  <a:lnTo>
                    <a:pt x="6747488" y="2153200"/>
                  </a:lnTo>
                  <a:close/>
                  <a:moveTo>
                    <a:pt x="5607038" y="2131640"/>
                  </a:moveTo>
                  <a:lnTo>
                    <a:pt x="5607038" y="2133146"/>
                  </a:lnTo>
                  <a:lnTo>
                    <a:pt x="5602519" y="2136159"/>
                  </a:lnTo>
                  <a:close/>
                  <a:moveTo>
                    <a:pt x="5610051" y="2128627"/>
                  </a:moveTo>
                  <a:lnTo>
                    <a:pt x="5613064" y="2128627"/>
                  </a:lnTo>
                  <a:lnTo>
                    <a:pt x="5610051" y="2131640"/>
                  </a:lnTo>
                  <a:close/>
                  <a:moveTo>
                    <a:pt x="1770049" y="2126896"/>
                  </a:moveTo>
                  <a:lnTo>
                    <a:pt x="1771915" y="2127905"/>
                  </a:lnTo>
                  <a:lnTo>
                    <a:pt x="1792169" y="2129578"/>
                  </a:lnTo>
                  <a:lnTo>
                    <a:pt x="1811451" y="2129578"/>
                  </a:lnTo>
                  <a:lnTo>
                    <a:pt x="1810570" y="2128436"/>
                  </a:lnTo>
                  <a:lnTo>
                    <a:pt x="1788685" y="2128436"/>
                  </a:lnTo>
                  <a:close/>
                  <a:moveTo>
                    <a:pt x="5602519" y="2125614"/>
                  </a:moveTo>
                  <a:lnTo>
                    <a:pt x="5607038" y="2125614"/>
                  </a:lnTo>
                  <a:lnTo>
                    <a:pt x="5607038" y="2128627"/>
                  </a:lnTo>
                  <a:close/>
                  <a:moveTo>
                    <a:pt x="3410189" y="2087052"/>
                  </a:moveTo>
                  <a:lnTo>
                    <a:pt x="3418060" y="2115354"/>
                  </a:lnTo>
                  <a:lnTo>
                    <a:pt x="3419276" y="2116264"/>
                  </a:lnTo>
                  <a:lnTo>
                    <a:pt x="3411245" y="2087052"/>
                  </a:lnTo>
                  <a:close/>
                  <a:moveTo>
                    <a:pt x="4292214" y="2078189"/>
                  </a:moveTo>
                  <a:lnTo>
                    <a:pt x="4292198" y="2078334"/>
                  </a:lnTo>
                  <a:lnTo>
                    <a:pt x="4309426" y="2081492"/>
                  </a:lnTo>
                  <a:lnTo>
                    <a:pt x="4309303" y="2081287"/>
                  </a:lnTo>
                  <a:close/>
                  <a:moveTo>
                    <a:pt x="1730135" y="2065047"/>
                  </a:moveTo>
                  <a:lnTo>
                    <a:pt x="1729716" y="2065993"/>
                  </a:lnTo>
                  <a:lnTo>
                    <a:pt x="1736893" y="2065993"/>
                  </a:lnTo>
                  <a:lnTo>
                    <a:pt x="1736504" y="2065047"/>
                  </a:lnTo>
                  <a:close/>
                  <a:moveTo>
                    <a:pt x="3386082" y="2061971"/>
                  </a:moveTo>
                  <a:lnTo>
                    <a:pt x="3388746" y="2067109"/>
                  </a:lnTo>
                  <a:lnTo>
                    <a:pt x="3387083" y="2087487"/>
                  </a:lnTo>
                  <a:lnTo>
                    <a:pt x="3387906" y="2087347"/>
                  </a:lnTo>
                  <a:lnTo>
                    <a:pt x="3389466" y="2068430"/>
                  </a:lnTo>
                  <a:close/>
                  <a:moveTo>
                    <a:pt x="6982270" y="2048785"/>
                  </a:moveTo>
                  <a:lnTo>
                    <a:pt x="7002081" y="2062322"/>
                  </a:lnTo>
                  <a:lnTo>
                    <a:pt x="7007034" y="2086013"/>
                  </a:lnTo>
                  <a:lnTo>
                    <a:pt x="7018590" y="2121549"/>
                  </a:lnTo>
                  <a:lnTo>
                    <a:pt x="7011986" y="2136779"/>
                  </a:lnTo>
                  <a:lnTo>
                    <a:pt x="7010335" y="2148624"/>
                  </a:lnTo>
                  <a:lnTo>
                    <a:pt x="6998779" y="2123241"/>
                  </a:lnTo>
                  <a:lnTo>
                    <a:pt x="6990524" y="2130010"/>
                  </a:lnTo>
                  <a:lnTo>
                    <a:pt x="6993826" y="2150316"/>
                  </a:lnTo>
                  <a:lnTo>
                    <a:pt x="6990524" y="2172315"/>
                  </a:lnTo>
                  <a:lnTo>
                    <a:pt x="6987223" y="2160470"/>
                  </a:lnTo>
                  <a:lnTo>
                    <a:pt x="6982270" y="2163854"/>
                  </a:lnTo>
                  <a:lnTo>
                    <a:pt x="6952553" y="2146932"/>
                  </a:lnTo>
                  <a:lnTo>
                    <a:pt x="6957506" y="2121549"/>
                  </a:lnTo>
                  <a:lnTo>
                    <a:pt x="6940997" y="2106319"/>
                  </a:lnTo>
                  <a:lnTo>
                    <a:pt x="6934393" y="2113088"/>
                  </a:lnTo>
                  <a:lnTo>
                    <a:pt x="6929440" y="2111396"/>
                  </a:lnTo>
                  <a:lnTo>
                    <a:pt x="6924488" y="2116473"/>
                  </a:lnTo>
                  <a:lnTo>
                    <a:pt x="6917884" y="2108012"/>
                  </a:lnTo>
                  <a:lnTo>
                    <a:pt x="6904677" y="2123241"/>
                  </a:lnTo>
                  <a:lnTo>
                    <a:pt x="6898073" y="2131702"/>
                  </a:lnTo>
                  <a:lnTo>
                    <a:pt x="6901375" y="2109704"/>
                  </a:lnTo>
                  <a:lnTo>
                    <a:pt x="6921186" y="2091090"/>
                  </a:lnTo>
                  <a:lnTo>
                    <a:pt x="6937695" y="2080937"/>
                  </a:lnTo>
                  <a:lnTo>
                    <a:pt x="6942648" y="2097858"/>
                  </a:lnTo>
                  <a:lnTo>
                    <a:pt x="6954204" y="2091090"/>
                  </a:lnTo>
                  <a:lnTo>
                    <a:pt x="6962459" y="2086013"/>
                  </a:lnTo>
                  <a:lnTo>
                    <a:pt x="6967412" y="2070783"/>
                  </a:lnTo>
                  <a:lnTo>
                    <a:pt x="6978968" y="2070783"/>
                  </a:lnTo>
                  <a:lnTo>
                    <a:pt x="6983921" y="2070783"/>
                  </a:lnTo>
                  <a:close/>
                  <a:moveTo>
                    <a:pt x="5785187" y="2045772"/>
                  </a:moveTo>
                  <a:lnTo>
                    <a:pt x="5795001" y="2049134"/>
                  </a:lnTo>
                  <a:lnTo>
                    <a:pt x="5804814" y="2065945"/>
                  </a:lnTo>
                  <a:lnTo>
                    <a:pt x="5816263" y="2082756"/>
                  </a:lnTo>
                  <a:lnTo>
                    <a:pt x="5827712" y="2107973"/>
                  </a:lnTo>
                  <a:lnTo>
                    <a:pt x="5837526" y="2129828"/>
                  </a:lnTo>
                  <a:lnTo>
                    <a:pt x="5824441" y="2153363"/>
                  </a:lnTo>
                  <a:lnTo>
                    <a:pt x="5798272" y="2161769"/>
                  </a:lnTo>
                  <a:lnTo>
                    <a:pt x="5785187" y="2121422"/>
                  </a:lnTo>
                  <a:lnTo>
                    <a:pt x="5780281" y="2092843"/>
                  </a:lnTo>
                  <a:lnTo>
                    <a:pt x="5781916" y="2096205"/>
                  </a:lnTo>
                  <a:lnTo>
                    <a:pt x="5786823" y="2076032"/>
                  </a:lnTo>
                  <a:lnTo>
                    <a:pt x="5790094" y="2052496"/>
                  </a:lnTo>
                  <a:lnTo>
                    <a:pt x="5790094" y="2050815"/>
                  </a:lnTo>
                  <a:close/>
                  <a:moveTo>
                    <a:pt x="6958081" y="2035227"/>
                  </a:moveTo>
                  <a:lnTo>
                    <a:pt x="6961345" y="2045772"/>
                  </a:lnTo>
                  <a:lnTo>
                    <a:pt x="6941761" y="2045772"/>
                  </a:lnTo>
                  <a:close/>
                  <a:moveTo>
                    <a:pt x="3464246" y="2028547"/>
                  </a:moveTo>
                  <a:lnTo>
                    <a:pt x="3463781" y="2029012"/>
                  </a:lnTo>
                  <a:lnTo>
                    <a:pt x="3477781" y="2032082"/>
                  </a:lnTo>
                  <a:lnTo>
                    <a:pt x="3478452" y="2031704"/>
                  </a:lnTo>
                  <a:close/>
                  <a:moveTo>
                    <a:pt x="6915210" y="2015643"/>
                  </a:moveTo>
                  <a:lnTo>
                    <a:pt x="6931216" y="2015643"/>
                  </a:lnTo>
                  <a:lnTo>
                    <a:pt x="6924813" y="2050923"/>
                  </a:lnTo>
                  <a:lnTo>
                    <a:pt x="6924813" y="2065356"/>
                  </a:lnTo>
                  <a:lnTo>
                    <a:pt x="6905606" y="2047716"/>
                  </a:lnTo>
                  <a:lnTo>
                    <a:pt x="6912009" y="2039698"/>
                  </a:lnTo>
                  <a:close/>
                  <a:moveTo>
                    <a:pt x="2041260" y="2015643"/>
                  </a:moveTo>
                  <a:lnTo>
                    <a:pt x="2057826" y="2015643"/>
                  </a:lnTo>
                  <a:lnTo>
                    <a:pt x="2050292" y="2035227"/>
                  </a:lnTo>
                  <a:lnTo>
                    <a:pt x="2035234" y="2033595"/>
                  </a:lnTo>
                  <a:lnTo>
                    <a:pt x="2044266" y="2020539"/>
                  </a:lnTo>
                  <a:close/>
                  <a:moveTo>
                    <a:pt x="4802840" y="2008110"/>
                  </a:moveTo>
                  <a:lnTo>
                    <a:pt x="4802613" y="2009360"/>
                  </a:lnTo>
                  <a:lnTo>
                    <a:pt x="4803236" y="2008110"/>
                  </a:lnTo>
                  <a:close/>
                  <a:moveTo>
                    <a:pt x="3441723" y="2006835"/>
                  </a:moveTo>
                  <a:lnTo>
                    <a:pt x="3441400" y="2007489"/>
                  </a:lnTo>
                  <a:lnTo>
                    <a:pt x="3446146" y="2007489"/>
                  </a:lnTo>
                  <a:lnTo>
                    <a:pt x="3445877" y="2006835"/>
                  </a:lnTo>
                  <a:close/>
                  <a:moveTo>
                    <a:pt x="3665213" y="2005098"/>
                  </a:moveTo>
                  <a:lnTo>
                    <a:pt x="3665695" y="2005172"/>
                  </a:lnTo>
                  <a:lnTo>
                    <a:pt x="3666064" y="2005098"/>
                  </a:lnTo>
                  <a:lnTo>
                    <a:pt x="3666110" y="2005235"/>
                  </a:lnTo>
                  <a:lnTo>
                    <a:pt x="3686895" y="2008409"/>
                  </a:lnTo>
                  <a:lnTo>
                    <a:pt x="3691898" y="2008409"/>
                  </a:lnTo>
                  <a:lnTo>
                    <a:pt x="3690231" y="2021652"/>
                  </a:lnTo>
                  <a:lnTo>
                    <a:pt x="3705241" y="2038207"/>
                  </a:lnTo>
                  <a:lnTo>
                    <a:pt x="3708577" y="2061383"/>
                  </a:lnTo>
                  <a:lnTo>
                    <a:pt x="3708577" y="2084559"/>
                  </a:lnTo>
                  <a:lnTo>
                    <a:pt x="3710245" y="2107736"/>
                  </a:lnTo>
                  <a:lnTo>
                    <a:pt x="3710245" y="2129257"/>
                  </a:lnTo>
                  <a:lnTo>
                    <a:pt x="3711913" y="2150778"/>
                  </a:lnTo>
                  <a:lnTo>
                    <a:pt x="3700238" y="2155744"/>
                  </a:lnTo>
                  <a:lnTo>
                    <a:pt x="3687919" y="2140460"/>
                  </a:lnTo>
                  <a:lnTo>
                    <a:pt x="3687919" y="2141036"/>
                  </a:lnTo>
                  <a:lnTo>
                    <a:pt x="3701368" y="2157818"/>
                  </a:lnTo>
                  <a:lnTo>
                    <a:pt x="3687919" y="2167888"/>
                  </a:lnTo>
                  <a:lnTo>
                    <a:pt x="3669427" y="2172922"/>
                  </a:lnTo>
                  <a:lnTo>
                    <a:pt x="3649253" y="2181314"/>
                  </a:lnTo>
                  <a:lnTo>
                    <a:pt x="3630761" y="2189705"/>
                  </a:lnTo>
                  <a:lnTo>
                    <a:pt x="3612269" y="2196418"/>
                  </a:lnTo>
                  <a:lnTo>
                    <a:pt x="3587052" y="2188027"/>
                  </a:lnTo>
                  <a:lnTo>
                    <a:pt x="3595457" y="2181314"/>
                  </a:lnTo>
                  <a:lnTo>
                    <a:pt x="3590414" y="2157818"/>
                  </a:lnTo>
                  <a:lnTo>
                    <a:pt x="3585371" y="2136001"/>
                  </a:lnTo>
                  <a:lnTo>
                    <a:pt x="3595457" y="2115862"/>
                  </a:lnTo>
                  <a:lnTo>
                    <a:pt x="3602182" y="2092367"/>
                  </a:lnTo>
                  <a:lnTo>
                    <a:pt x="3598820" y="2055445"/>
                  </a:lnTo>
                  <a:lnTo>
                    <a:pt x="3597139" y="2031950"/>
                  </a:lnTo>
                  <a:lnTo>
                    <a:pt x="3595457" y="2008454"/>
                  </a:lnTo>
                  <a:lnTo>
                    <a:pt x="3627399" y="2008454"/>
                  </a:lnTo>
                  <a:lnTo>
                    <a:pt x="3657659" y="2006776"/>
                  </a:lnTo>
                  <a:lnTo>
                    <a:pt x="3665266" y="2005257"/>
                  </a:lnTo>
                  <a:close/>
                  <a:moveTo>
                    <a:pt x="6944774" y="2002085"/>
                  </a:moveTo>
                  <a:lnTo>
                    <a:pt x="6944774" y="2016465"/>
                  </a:lnTo>
                  <a:lnTo>
                    <a:pt x="6938560" y="2035638"/>
                  </a:lnTo>
                  <a:lnTo>
                    <a:pt x="6928203" y="2054811"/>
                  </a:lnTo>
                  <a:lnTo>
                    <a:pt x="6938560" y="2027649"/>
                  </a:lnTo>
                  <a:close/>
                  <a:moveTo>
                    <a:pt x="6821529" y="2002085"/>
                  </a:moveTo>
                  <a:lnTo>
                    <a:pt x="6831789" y="2025985"/>
                  </a:lnTo>
                  <a:lnTo>
                    <a:pt x="6807849" y="2048292"/>
                  </a:lnTo>
                  <a:lnTo>
                    <a:pt x="6789038" y="2065819"/>
                  </a:lnTo>
                  <a:lnTo>
                    <a:pt x="6768518" y="2084940"/>
                  </a:lnTo>
                  <a:lnTo>
                    <a:pt x="6770228" y="2078566"/>
                  </a:lnTo>
                  <a:lnTo>
                    <a:pt x="6790748" y="2056259"/>
                  </a:lnTo>
                  <a:lnTo>
                    <a:pt x="6809559" y="2035546"/>
                  </a:lnTo>
                  <a:lnTo>
                    <a:pt x="6818109" y="2016425"/>
                  </a:lnTo>
                  <a:lnTo>
                    <a:pt x="6819819" y="2016425"/>
                  </a:lnTo>
                  <a:close/>
                  <a:moveTo>
                    <a:pt x="6952306" y="1994552"/>
                  </a:moveTo>
                  <a:lnTo>
                    <a:pt x="6969253" y="2001060"/>
                  </a:lnTo>
                  <a:lnTo>
                    <a:pt x="6979422" y="2028718"/>
                  </a:lnTo>
                  <a:lnTo>
                    <a:pt x="6972643" y="2030345"/>
                  </a:lnTo>
                  <a:lnTo>
                    <a:pt x="6970948" y="2035226"/>
                  </a:lnTo>
                  <a:lnTo>
                    <a:pt x="6959085" y="2010821"/>
                  </a:lnTo>
                  <a:close/>
                  <a:moveTo>
                    <a:pt x="3439549" y="1991541"/>
                  </a:moveTo>
                  <a:lnTo>
                    <a:pt x="3445858" y="1996853"/>
                  </a:lnTo>
                  <a:lnTo>
                    <a:pt x="3445877" y="1996815"/>
                  </a:lnTo>
                  <a:close/>
                  <a:moveTo>
                    <a:pt x="6889465" y="1985514"/>
                  </a:moveTo>
                  <a:lnTo>
                    <a:pt x="6917514" y="1992042"/>
                  </a:lnTo>
                  <a:lnTo>
                    <a:pt x="6919164" y="1998570"/>
                  </a:lnTo>
                  <a:lnTo>
                    <a:pt x="6917514" y="2000202"/>
                  </a:lnTo>
                  <a:lnTo>
                    <a:pt x="6892765" y="2024682"/>
                  </a:lnTo>
                  <a:lnTo>
                    <a:pt x="6884515" y="1987146"/>
                  </a:lnTo>
                  <a:close/>
                  <a:moveTo>
                    <a:pt x="2042015" y="1971955"/>
                  </a:moveTo>
                  <a:lnTo>
                    <a:pt x="2045775" y="1971955"/>
                  </a:lnTo>
                  <a:lnTo>
                    <a:pt x="2045775" y="1974968"/>
                  </a:lnTo>
                  <a:lnTo>
                    <a:pt x="2045775" y="1976474"/>
                  </a:lnTo>
                  <a:lnTo>
                    <a:pt x="2045775" y="1977981"/>
                  </a:lnTo>
                  <a:lnTo>
                    <a:pt x="2042015" y="1977981"/>
                  </a:lnTo>
                  <a:lnTo>
                    <a:pt x="2038242" y="1977981"/>
                  </a:lnTo>
                  <a:lnTo>
                    <a:pt x="2038242" y="1976474"/>
                  </a:lnTo>
                  <a:lnTo>
                    <a:pt x="2038242" y="1974968"/>
                  </a:lnTo>
                  <a:lnTo>
                    <a:pt x="2042015" y="1974968"/>
                  </a:lnTo>
                  <a:close/>
                  <a:moveTo>
                    <a:pt x="6502907" y="1970696"/>
                  </a:moveTo>
                  <a:lnTo>
                    <a:pt x="6478063" y="1983596"/>
                  </a:lnTo>
                  <a:lnTo>
                    <a:pt x="6462871" y="1990170"/>
                  </a:lnTo>
                  <a:lnTo>
                    <a:pt x="6463423" y="1991676"/>
                  </a:lnTo>
                  <a:lnTo>
                    <a:pt x="6477935" y="1985214"/>
                  </a:lnTo>
                  <a:lnTo>
                    <a:pt x="6502988" y="1971829"/>
                  </a:lnTo>
                  <a:close/>
                  <a:moveTo>
                    <a:pt x="3739454" y="1970212"/>
                  </a:moveTo>
                  <a:lnTo>
                    <a:pt x="3732599" y="1978464"/>
                  </a:lnTo>
                  <a:lnTo>
                    <a:pt x="3732599" y="1978777"/>
                  </a:lnTo>
                  <a:close/>
                  <a:moveTo>
                    <a:pt x="1792169" y="1968943"/>
                  </a:moveTo>
                  <a:lnTo>
                    <a:pt x="1788791" y="1985676"/>
                  </a:lnTo>
                  <a:lnTo>
                    <a:pt x="1782743" y="1986767"/>
                  </a:lnTo>
                  <a:lnTo>
                    <a:pt x="1768485" y="1996654"/>
                  </a:lnTo>
                  <a:lnTo>
                    <a:pt x="1775225" y="2021675"/>
                  </a:lnTo>
                  <a:lnTo>
                    <a:pt x="1760069" y="2046697"/>
                  </a:lnTo>
                  <a:lnTo>
                    <a:pt x="1776903" y="2068383"/>
                  </a:lnTo>
                  <a:lnTo>
                    <a:pt x="1787006" y="2051702"/>
                  </a:lnTo>
                  <a:lnTo>
                    <a:pt x="1780269" y="2015003"/>
                  </a:lnTo>
                  <a:lnTo>
                    <a:pt x="1785319" y="2008330"/>
                  </a:lnTo>
                  <a:lnTo>
                    <a:pt x="1820667" y="1994985"/>
                  </a:lnTo>
                  <a:lnTo>
                    <a:pt x="1827407" y="1994985"/>
                  </a:lnTo>
                  <a:lnTo>
                    <a:pt x="1815624" y="1986645"/>
                  </a:lnTo>
                  <a:lnTo>
                    <a:pt x="1820667" y="1974968"/>
                  </a:lnTo>
                  <a:lnTo>
                    <a:pt x="1832451" y="1994985"/>
                  </a:lnTo>
                  <a:lnTo>
                    <a:pt x="1861065" y="2006662"/>
                  </a:lnTo>
                  <a:lnTo>
                    <a:pt x="1871170" y="2025012"/>
                  </a:lnTo>
                  <a:lnTo>
                    <a:pt x="1896415" y="2025012"/>
                  </a:lnTo>
                  <a:lnTo>
                    <a:pt x="1919988" y="2025012"/>
                  </a:lnTo>
                  <a:lnTo>
                    <a:pt x="1957012" y="2036689"/>
                  </a:lnTo>
                  <a:lnTo>
                    <a:pt x="1983951" y="2025012"/>
                  </a:lnTo>
                  <a:lnTo>
                    <a:pt x="1973845" y="2020007"/>
                  </a:lnTo>
                  <a:lnTo>
                    <a:pt x="2002462" y="2020007"/>
                  </a:lnTo>
                  <a:lnTo>
                    <a:pt x="2031079" y="2020007"/>
                  </a:lnTo>
                  <a:lnTo>
                    <a:pt x="2004152" y="2028348"/>
                  </a:lnTo>
                  <a:lnTo>
                    <a:pt x="2012560" y="2036689"/>
                  </a:lnTo>
                  <a:lnTo>
                    <a:pt x="2007515" y="2038357"/>
                  </a:lnTo>
                  <a:lnTo>
                    <a:pt x="2017610" y="2036689"/>
                  </a:lnTo>
                  <a:lnTo>
                    <a:pt x="2022661" y="2045029"/>
                  </a:lnTo>
                  <a:lnTo>
                    <a:pt x="2024351" y="2048365"/>
                  </a:lnTo>
                  <a:lnTo>
                    <a:pt x="2022661" y="2040025"/>
                  </a:lnTo>
                  <a:lnTo>
                    <a:pt x="2032760" y="2046697"/>
                  </a:lnTo>
                  <a:lnTo>
                    <a:pt x="2042861" y="2046697"/>
                  </a:lnTo>
                  <a:lnTo>
                    <a:pt x="2059697" y="2060042"/>
                  </a:lnTo>
                  <a:lnTo>
                    <a:pt x="2052959" y="2066715"/>
                  </a:lnTo>
                  <a:lnTo>
                    <a:pt x="2044542" y="2080060"/>
                  </a:lnTo>
                  <a:lnTo>
                    <a:pt x="2037809" y="2081728"/>
                  </a:lnTo>
                  <a:lnTo>
                    <a:pt x="2054643" y="2081728"/>
                  </a:lnTo>
                  <a:lnTo>
                    <a:pt x="2081574" y="2081728"/>
                  </a:lnTo>
                  <a:lnTo>
                    <a:pt x="2084941" y="2090069"/>
                  </a:lnTo>
                  <a:lnTo>
                    <a:pt x="2061375" y="2111754"/>
                  </a:lnTo>
                  <a:lnTo>
                    <a:pt x="2071479" y="2125099"/>
                  </a:lnTo>
                  <a:lnTo>
                    <a:pt x="2052959" y="2136776"/>
                  </a:lnTo>
                  <a:lnTo>
                    <a:pt x="2042861" y="2158462"/>
                  </a:lnTo>
                  <a:lnTo>
                    <a:pt x="2058009" y="2181816"/>
                  </a:lnTo>
                  <a:lnTo>
                    <a:pt x="2059697" y="2181816"/>
                  </a:lnTo>
                  <a:lnTo>
                    <a:pt x="2052959" y="2198497"/>
                  </a:lnTo>
                  <a:lnTo>
                    <a:pt x="2031079" y="2208506"/>
                  </a:lnTo>
                  <a:lnTo>
                    <a:pt x="2009194" y="2218514"/>
                  </a:lnTo>
                  <a:lnTo>
                    <a:pt x="2004152" y="2228523"/>
                  </a:lnTo>
                  <a:lnTo>
                    <a:pt x="1978897" y="2220183"/>
                  </a:lnTo>
                  <a:lnTo>
                    <a:pt x="1976613" y="2219333"/>
                  </a:lnTo>
                  <a:lnTo>
                    <a:pt x="1981907" y="2221320"/>
                  </a:lnTo>
                  <a:lnTo>
                    <a:pt x="2006994" y="2229681"/>
                  </a:lnTo>
                  <a:lnTo>
                    <a:pt x="2012012" y="2219648"/>
                  </a:lnTo>
                  <a:lnTo>
                    <a:pt x="2033746" y="2209615"/>
                  </a:lnTo>
                  <a:lnTo>
                    <a:pt x="2055488" y="2199582"/>
                  </a:lnTo>
                  <a:lnTo>
                    <a:pt x="2062179" y="2182860"/>
                  </a:lnTo>
                  <a:lnTo>
                    <a:pt x="2075041" y="2182860"/>
                  </a:lnTo>
                  <a:lnTo>
                    <a:pt x="2075030" y="2182744"/>
                  </a:lnTo>
                  <a:lnTo>
                    <a:pt x="2060402" y="2182744"/>
                  </a:lnTo>
                  <a:lnTo>
                    <a:pt x="2045775" y="2159220"/>
                  </a:lnTo>
                  <a:lnTo>
                    <a:pt x="2055526" y="2137376"/>
                  </a:lnTo>
                  <a:lnTo>
                    <a:pt x="2073405" y="2125614"/>
                  </a:lnTo>
                  <a:lnTo>
                    <a:pt x="2063654" y="2112172"/>
                  </a:lnTo>
                  <a:lnTo>
                    <a:pt x="2086408" y="2090328"/>
                  </a:lnTo>
                  <a:lnTo>
                    <a:pt x="2083156" y="2081927"/>
                  </a:lnTo>
                  <a:lnTo>
                    <a:pt x="2094539" y="2092009"/>
                  </a:lnTo>
                  <a:lnTo>
                    <a:pt x="2089664" y="2088648"/>
                  </a:lnTo>
                  <a:lnTo>
                    <a:pt x="2102669" y="2102090"/>
                  </a:lnTo>
                  <a:lnTo>
                    <a:pt x="2118916" y="2115533"/>
                  </a:lnTo>
                  <a:lnTo>
                    <a:pt x="2115665" y="2145778"/>
                  </a:lnTo>
                  <a:lnTo>
                    <a:pt x="2122168" y="2132335"/>
                  </a:lnTo>
                  <a:lnTo>
                    <a:pt x="2149798" y="2150819"/>
                  </a:lnTo>
                  <a:lnTo>
                    <a:pt x="2149798" y="2176023"/>
                  </a:lnTo>
                  <a:lnTo>
                    <a:pt x="2145123" y="2188910"/>
                  </a:lnTo>
                  <a:lnTo>
                    <a:pt x="2145281" y="2188804"/>
                  </a:lnTo>
                  <a:lnTo>
                    <a:pt x="2150390" y="2175286"/>
                  </a:lnTo>
                  <a:lnTo>
                    <a:pt x="2155498" y="2161769"/>
                  </a:lnTo>
                  <a:lnTo>
                    <a:pt x="2186170" y="2165148"/>
                  </a:lnTo>
                  <a:lnTo>
                    <a:pt x="2211731" y="2161769"/>
                  </a:lnTo>
                  <a:lnTo>
                    <a:pt x="2235587" y="2165148"/>
                  </a:lnTo>
                  <a:lnTo>
                    <a:pt x="2234807" y="2171335"/>
                  </a:lnTo>
                  <a:lnTo>
                    <a:pt x="2237702" y="2166289"/>
                  </a:lnTo>
                  <a:lnTo>
                    <a:pt x="2254690" y="2171365"/>
                  </a:lnTo>
                  <a:lnTo>
                    <a:pt x="2280172" y="2196743"/>
                  </a:lnTo>
                  <a:lnTo>
                    <a:pt x="2290369" y="2206894"/>
                  </a:lnTo>
                  <a:lnTo>
                    <a:pt x="2290369" y="2200126"/>
                  </a:lnTo>
                  <a:lnTo>
                    <a:pt x="2298859" y="2218737"/>
                  </a:lnTo>
                  <a:lnTo>
                    <a:pt x="2280172" y="2247499"/>
                  </a:lnTo>
                  <a:lnTo>
                    <a:pt x="2261571" y="2276133"/>
                  </a:lnTo>
                  <a:lnTo>
                    <a:pt x="2264521" y="2276501"/>
                  </a:lnTo>
                  <a:lnTo>
                    <a:pt x="2282906" y="2248075"/>
                  </a:lnTo>
                  <a:lnTo>
                    <a:pt x="2301305" y="2219648"/>
                  </a:lnTo>
                  <a:lnTo>
                    <a:pt x="2301305" y="2217975"/>
                  </a:lnTo>
                  <a:lnTo>
                    <a:pt x="2304651" y="2217975"/>
                  </a:lnTo>
                  <a:lnTo>
                    <a:pt x="2302978" y="2211287"/>
                  </a:lnTo>
                  <a:lnTo>
                    <a:pt x="2313006" y="2226336"/>
                  </a:lnTo>
                  <a:lnTo>
                    <a:pt x="2314679" y="2222992"/>
                  </a:lnTo>
                  <a:lnTo>
                    <a:pt x="2321367" y="2249747"/>
                  </a:lnTo>
                  <a:lnTo>
                    <a:pt x="2324712" y="2276501"/>
                  </a:lnTo>
                  <a:lnTo>
                    <a:pt x="2338090" y="2286534"/>
                  </a:lnTo>
                  <a:lnTo>
                    <a:pt x="2344781" y="2301584"/>
                  </a:lnTo>
                  <a:lnTo>
                    <a:pt x="2328056" y="2321650"/>
                  </a:lnTo>
                  <a:lnTo>
                    <a:pt x="2311342" y="2341716"/>
                  </a:lnTo>
                  <a:lnTo>
                    <a:pt x="2294614" y="2373488"/>
                  </a:lnTo>
                  <a:lnTo>
                    <a:pt x="2274545" y="2386865"/>
                  </a:lnTo>
                  <a:lnTo>
                    <a:pt x="2284579" y="2388537"/>
                  </a:lnTo>
                  <a:lnTo>
                    <a:pt x="2302978" y="2378504"/>
                  </a:lnTo>
                  <a:lnTo>
                    <a:pt x="2321367" y="2368471"/>
                  </a:lnTo>
                  <a:lnTo>
                    <a:pt x="2322404" y="2371570"/>
                  </a:lnTo>
                  <a:lnTo>
                    <a:pt x="2323437" y="2371570"/>
                  </a:lnTo>
                  <a:lnTo>
                    <a:pt x="2321692" y="2359618"/>
                  </a:lnTo>
                  <a:lnTo>
                    <a:pt x="2330414" y="2342545"/>
                  </a:lnTo>
                  <a:lnTo>
                    <a:pt x="2356581" y="2345960"/>
                  </a:lnTo>
                  <a:lnTo>
                    <a:pt x="2386232" y="2349374"/>
                  </a:lnTo>
                  <a:lnTo>
                    <a:pt x="2372284" y="2376692"/>
                  </a:lnTo>
                  <a:lnTo>
                    <a:pt x="2370539" y="2378399"/>
                  </a:lnTo>
                  <a:lnTo>
                    <a:pt x="2367050" y="2386936"/>
                  </a:lnTo>
                  <a:lnTo>
                    <a:pt x="2363560" y="2386936"/>
                  </a:lnTo>
                  <a:lnTo>
                    <a:pt x="2353091" y="2390350"/>
                  </a:lnTo>
                  <a:lnTo>
                    <a:pt x="2349602" y="2392058"/>
                  </a:lnTo>
                  <a:lnTo>
                    <a:pt x="2333903" y="2386936"/>
                  </a:lnTo>
                  <a:lnTo>
                    <a:pt x="2329457" y="2392738"/>
                  </a:lnTo>
                  <a:lnTo>
                    <a:pt x="2331401" y="2398570"/>
                  </a:lnTo>
                  <a:lnTo>
                    <a:pt x="2338090" y="2398570"/>
                  </a:lnTo>
                  <a:lnTo>
                    <a:pt x="2348127" y="2401914"/>
                  </a:lnTo>
                  <a:lnTo>
                    <a:pt x="2356491" y="2396898"/>
                  </a:lnTo>
                  <a:lnTo>
                    <a:pt x="2354818" y="2418636"/>
                  </a:lnTo>
                  <a:lnTo>
                    <a:pt x="2373206" y="2391881"/>
                  </a:lnTo>
                  <a:lnTo>
                    <a:pt x="2383240" y="2388537"/>
                  </a:lnTo>
                  <a:lnTo>
                    <a:pt x="2383240" y="2383521"/>
                  </a:lnTo>
                  <a:lnTo>
                    <a:pt x="2393275" y="2366799"/>
                  </a:lnTo>
                  <a:lnTo>
                    <a:pt x="2408331" y="2361782"/>
                  </a:lnTo>
                  <a:lnTo>
                    <a:pt x="2411667" y="2358438"/>
                  </a:lnTo>
                  <a:lnTo>
                    <a:pt x="2425042" y="2366799"/>
                  </a:lnTo>
                  <a:lnTo>
                    <a:pt x="2433403" y="2368471"/>
                  </a:lnTo>
                  <a:lnTo>
                    <a:pt x="2443436" y="2371815"/>
                  </a:lnTo>
                  <a:lnTo>
                    <a:pt x="2455142" y="2378504"/>
                  </a:lnTo>
                  <a:lnTo>
                    <a:pt x="2465175" y="2381848"/>
                  </a:lnTo>
                  <a:lnTo>
                    <a:pt x="2466847" y="2386865"/>
                  </a:lnTo>
                  <a:lnTo>
                    <a:pt x="2476880" y="2386865"/>
                  </a:lnTo>
                  <a:lnTo>
                    <a:pt x="2486914" y="2393554"/>
                  </a:lnTo>
                  <a:lnTo>
                    <a:pt x="2485241" y="2408603"/>
                  </a:lnTo>
                  <a:lnTo>
                    <a:pt x="2486914" y="2406931"/>
                  </a:lnTo>
                  <a:lnTo>
                    <a:pt x="2491930" y="2411947"/>
                  </a:lnTo>
                  <a:lnTo>
                    <a:pt x="2483569" y="2437030"/>
                  </a:lnTo>
                  <a:lnTo>
                    <a:pt x="2495275" y="2416964"/>
                  </a:lnTo>
                  <a:lnTo>
                    <a:pt x="2498619" y="2411947"/>
                  </a:lnTo>
                  <a:lnTo>
                    <a:pt x="2496947" y="2421980"/>
                  </a:lnTo>
                  <a:lnTo>
                    <a:pt x="2517014" y="2413620"/>
                  </a:lnTo>
                  <a:lnTo>
                    <a:pt x="2542097" y="2420308"/>
                  </a:lnTo>
                  <a:lnTo>
                    <a:pt x="2563836" y="2426997"/>
                  </a:lnTo>
                  <a:lnTo>
                    <a:pt x="2588919" y="2423653"/>
                  </a:lnTo>
                  <a:lnTo>
                    <a:pt x="2625708" y="2437030"/>
                  </a:lnTo>
                  <a:lnTo>
                    <a:pt x="2655808" y="2460440"/>
                  </a:lnTo>
                  <a:lnTo>
                    <a:pt x="2684235" y="2487195"/>
                  </a:lnTo>
                  <a:lnTo>
                    <a:pt x="2704302" y="2490539"/>
                  </a:lnTo>
                  <a:lnTo>
                    <a:pt x="2726041" y="2493884"/>
                  </a:lnTo>
                  <a:lnTo>
                    <a:pt x="2737746" y="2523983"/>
                  </a:lnTo>
                  <a:lnTo>
                    <a:pt x="2747780" y="2554082"/>
                  </a:lnTo>
                  <a:lnTo>
                    <a:pt x="2744435" y="2597558"/>
                  </a:lnTo>
                  <a:lnTo>
                    <a:pt x="2722697" y="2631002"/>
                  </a:lnTo>
                  <a:lnTo>
                    <a:pt x="2705974" y="2652740"/>
                  </a:lnTo>
                  <a:lnTo>
                    <a:pt x="2689252" y="2672806"/>
                  </a:lnTo>
                  <a:lnTo>
                    <a:pt x="2684235" y="2681167"/>
                  </a:lnTo>
                  <a:lnTo>
                    <a:pt x="2684235" y="2682839"/>
                  </a:lnTo>
                  <a:lnTo>
                    <a:pt x="2669186" y="2707922"/>
                  </a:lnTo>
                  <a:lnTo>
                    <a:pt x="2655808" y="2731332"/>
                  </a:lnTo>
                  <a:lnTo>
                    <a:pt x="2654136" y="2721299"/>
                  </a:lnTo>
                  <a:lnTo>
                    <a:pt x="2645774" y="2724643"/>
                  </a:lnTo>
                  <a:lnTo>
                    <a:pt x="2642430" y="2753070"/>
                  </a:lnTo>
                  <a:lnTo>
                    <a:pt x="2645774" y="2761431"/>
                  </a:lnTo>
                  <a:lnTo>
                    <a:pt x="2645774" y="2783169"/>
                  </a:lnTo>
                  <a:lnTo>
                    <a:pt x="2647447" y="2804907"/>
                  </a:lnTo>
                  <a:lnTo>
                    <a:pt x="2645774" y="2835006"/>
                  </a:lnTo>
                  <a:lnTo>
                    <a:pt x="2644102" y="2863433"/>
                  </a:lnTo>
                  <a:lnTo>
                    <a:pt x="2637413" y="2880155"/>
                  </a:lnTo>
                  <a:lnTo>
                    <a:pt x="2634069" y="2920287"/>
                  </a:lnTo>
                  <a:lnTo>
                    <a:pt x="2622363" y="2942025"/>
                  </a:lnTo>
                  <a:lnTo>
                    <a:pt x="2608986" y="2965436"/>
                  </a:lnTo>
                  <a:lnTo>
                    <a:pt x="2605641" y="3000551"/>
                  </a:lnTo>
                  <a:lnTo>
                    <a:pt x="2588919" y="3008912"/>
                  </a:lnTo>
                  <a:lnTo>
                    <a:pt x="2582230" y="3023962"/>
                  </a:lnTo>
                  <a:lnTo>
                    <a:pt x="2553802" y="3023962"/>
                  </a:lnTo>
                  <a:lnTo>
                    <a:pt x="2548786" y="3025634"/>
                  </a:lnTo>
                  <a:lnTo>
                    <a:pt x="2536245" y="3030650"/>
                  </a:lnTo>
                  <a:lnTo>
                    <a:pt x="2522030" y="3030650"/>
                  </a:lnTo>
                  <a:lnTo>
                    <a:pt x="2513669" y="3039011"/>
                  </a:lnTo>
                  <a:lnTo>
                    <a:pt x="2493603" y="3052389"/>
                  </a:lnTo>
                  <a:lnTo>
                    <a:pt x="2471864" y="3059077"/>
                  </a:lnTo>
                  <a:lnTo>
                    <a:pt x="2448453" y="3080816"/>
                  </a:lnTo>
                  <a:lnTo>
                    <a:pt x="2425042" y="3102554"/>
                  </a:lnTo>
                  <a:lnTo>
                    <a:pt x="2415012" y="3104226"/>
                  </a:lnTo>
                  <a:lnTo>
                    <a:pt x="2418356" y="3105898"/>
                  </a:lnTo>
                  <a:lnTo>
                    <a:pt x="2415012" y="3115931"/>
                  </a:lnTo>
                  <a:lnTo>
                    <a:pt x="2415012" y="3125964"/>
                  </a:lnTo>
                  <a:lnTo>
                    <a:pt x="2421700" y="3144358"/>
                  </a:lnTo>
                  <a:lnTo>
                    <a:pt x="2421700" y="3169441"/>
                  </a:lnTo>
                  <a:lnTo>
                    <a:pt x="2421700" y="3192851"/>
                  </a:lnTo>
                  <a:lnTo>
                    <a:pt x="2418356" y="3192851"/>
                  </a:lnTo>
                  <a:lnTo>
                    <a:pt x="2411667" y="3206228"/>
                  </a:lnTo>
                  <a:lnTo>
                    <a:pt x="2401639" y="3231311"/>
                  </a:lnTo>
                  <a:lnTo>
                    <a:pt x="2391603" y="3254721"/>
                  </a:lnTo>
                  <a:lnTo>
                    <a:pt x="2373206" y="3279804"/>
                  </a:lnTo>
                  <a:lnTo>
                    <a:pt x="2361761" y="3294371"/>
                  </a:lnTo>
                  <a:lnTo>
                    <a:pt x="2373206" y="3273115"/>
                  </a:lnTo>
                  <a:lnTo>
                    <a:pt x="2383240" y="3251377"/>
                  </a:lnTo>
                  <a:lnTo>
                    <a:pt x="2376550" y="3251377"/>
                  </a:lnTo>
                  <a:lnTo>
                    <a:pt x="2364845" y="3246360"/>
                  </a:lnTo>
                  <a:lnTo>
                    <a:pt x="2366517" y="3264754"/>
                  </a:lnTo>
                  <a:lnTo>
                    <a:pt x="2356491" y="3279804"/>
                  </a:lnTo>
                  <a:lnTo>
                    <a:pt x="2348127" y="3296525"/>
                  </a:lnTo>
                  <a:lnTo>
                    <a:pt x="2346454" y="3314919"/>
                  </a:lnTo>
                  <a:lnTo>
                    <a:pt x="2338090" y="3334985"/>
                  </a:lnTo>
                  <a:lnTo>
                    <a:pt x="2328056" y="3353379"/>
                  </a:lnTo>
                  <a:lnTo>
                    <a:pt x="2323039" y="3333313"/>
                  </a:lnTo>
                  <a:lnTo>
                    <a:pt x="2324712" y="3319936"/>
                  </a:lnTo>
                  <a:lnTo>
                    <a:pt x="2297959" y="3299870"/>
                  </a:lnTo>
                  <a:lnTo>
                    <a:pt x="2271201" y="3279804"/>
                  </a:lnTo>
                  <a:lnTo>
                    <a:pt x="2254484" y="3269771"/>
                  </a:lnTo>
                  <a:lnTo>
                    <a:pt x="2247792" y="3269771"/>
                  </a:lnTo>
                  <a:lnTo>
                    <a:pt x="2216017" y="3244688"/>
                  </a:lnTo>
                  <a:lnTo>
                    <a:pt x="2202841" y="3246336"/>
                  </a:lnTo>
                  <a:lnTo>
                    <a:pt x="2201474" y="3248040"/>
                  </a:lnTo>
                  <a:lnTo>
                    <a:pt x="2214425" y="3246420"/>
                  </a:lnTo>
                  <a:lnTo>
                    <a:pt x="2246053" y="3271410"/>
                  </a:lnTo>
                  <a:lnTo>
                    <a:pt x="2252721" y="3271410"/>
                  </a:lnTo>
                  <a:lnTo>
                    <a:pt x="2269364" y="3281406"/>
                  </a:lnTo>
                  <a:lnTo>
                    <a:pt x="2296005" y="3301397"/>
                  </a:lnTo>
                  <a:lnTo>
                    <a:pt x="2322645" y="3321389"/>
                  </a:lnTo>
                  <a:lnTo>
                    <a:pt x="2320984" y="3334716"/>
                  </a:lnTo>
                  <a:lnTo>
                    <a:pt x="2325975" y="3354708"/>
                  </a:lnTo>
                  <a:lnTo>
                    <a:pt x="2309328" y="3381363"/>
                  </a:lnTo>
                  <a:lnTo>
                    <a:pt x="2284349" y="3388027"/>
                  </a:lnTo>
                  <a:lnTo>
                    <a:pt x="2242723" y="3383029"/>
                  </a:lnTo>
                  <a:lnTo>
                    <a:pt x="2211087" y="3368036"/>
                  </a:lnTo>
                  <a:lnTo>
                    <a:pt x="2199432" y="3344712"/>
                  </a:lnTo>
                  <a:lnTo>
                    <a:pt x="2199658" y="3341569"/>
                  </a:lnTo>
                  <a:lnTo>
                    <a:pt x="2196122" y="3348622"/>
                  </a:lnTo>
                  <a:lnTo>
                    <a:pt x="2206169" y="3383683"/>
                  </a:lnTo>
                  <a:lnTo>
                    <a:pt x="2241299" y="3407056"/>
                  </a:lnTo>
                  <a:lnTo>
                    <a:pt x="2244644" y="3427091"/>
                  </a:lnTo>
                  <a:lnTo>
                    <a:pt x="2261376" y="3438778"/>
                  </a:lnTo>
                  <a:lnTo>
                    <a:pt x="2251337" y="3465490"/>
                  </a:lnTo>
                  <a:lnTo>
                    <a:pt x="2241299" y="3492203"/>
                  </a:lnTo>
                  <a:lnTo>
                    <a:pt x="2219552" y="3497212"/>
                  </a:lnTo>
                  <a:lnTo>
                    <a:pt x="2199469" y="3503890"/>
                  </a:lnTo>
                  <a:lnTo>
                    <a:pt x="2176045" y="3507229"/>
                  </a:lnTo>
                  <a:lnTo>
                    <a:pt x="2155966" y="3513907"/>
                  </a:lnTo>
                  <a:lnTo>
                    <a:pt x="2135892" y="3512238"/>
                  </a:lnTo>
                  <a:lnTo>
                    <a:pt x="2142584" y="3522255"/>
                  </a:lnTo>
                  <a:lnTo>
                    <a:pt x="2149275" y="3558985"/>
                  </a:lnTo>
                  <a:lnTo>
                    <a:pt x="2142584" y="3574011"/>
                  </a:lnTo>
                  <a:lnTo>
                    <a:pt x="2109127" y="3572341"/>
                  </a:lnTo>
                  <a:lnTo>
                    <a:pt x="2082349" y="3567333"/>
                  </a:lnTo>
                  <a:lnTo>
                    <a:pt x="2102426" y="3607402"/>
                  </a:lnTo>
                  <a:lnTo>
                    <a:pt x="2110799" y="3612410"/>
                  </a:lnTo>
                  <a:lnTo>
                    <a:pt x="2120836" y="3609071"/>
                  </a:lnTo>
                  <a:lnTo>
                    <a:pt x="2125855" y="3604063"/>
                  </a:lnTo>
                  <a:lnTo>
                    <a:pt x="2134219" y="3625767"/>
                  </a:lnTo>
                  <a:lnTo>
                    <a:pt x="2120836" y="3622428"/>
                  </a:lnTo>
                  <a:lnTo>
                    <a:pt x="2102426" y="3622428"/>
                  </a:lnTo>
                  <a:lnTo>
                    <a:pt x="2122510" y="3632445"/>
                  </a:lnTo>
                  <a:lnTo>
                    <a:pt x="2104098" y="3654149"/>
                  </a:lnTo>
                  <a:lnTo>
                    <a:pt x="2105772" y="3677523"/>
                  </a:lnTo>
                  <a:lnTo>
                    <a:pt x="2102426" y="3692548"/>
                  </a:lnTo>
                  <a:lnTo>
                    <a:pt x="2075655" y="3704235"/>
                  </a:lnTo>
                  <a:lnTo>
                    <a:pt x="2075655" y="3732618"/>
                  </a:lnTo>
                  <a:lnTo>
                    <a:pt x="2114145" y="3752652"/>
                  </a:lnTo>
                  <a:lnTo>
                    <a:pt x="2129201" y="3759330"/>
                  </a:lnTo>
                  <a:lnTo>
                    <a:pt x="2120836" y="3774356"/>
                  </a:lnTo>
                  <a:lnTo>
                    <a:pt x="2129201" y="3777695"/>
                  </a:lnTo>
                  <a:lnTo>
                    <a:pt x="2115818" y="3796060"/>
                  </a:lnTo>
                  <a:lnTo>
                    <a:pt x="2102426" y="3816095"/>
                  </a:lnTo>
                  <a:lnTo>
                    <a:pt x="2100752" y="3837799"/>
                  </a:lnTo>
                  <a:lnTo>
                    <a:pt x="2089041" y="3834460"/>
                  </a:lnTo>
                  <a:lnTo>
                    <a:pt x="2082349" y="3836129"/>
                  </a:lnTo>
                  <a:lnTo>
                    <a:pt x="2094060" y="3842808"/>
                  </a:lnTo>
                  <a:lnTo>
                    <a:pt x="2084021" y="3857833"/>
                  </a:lnTo>
                  <a:lnTo>
                    <a:pt x="2084021" y="3866181"/>
                  </a:lnTo>
                  <a:lnTo>
                    <a:pt x="2095733" y="3884546"/>
                  </a:lnTo>
                  <a:lnTo>
                    <a:pt x="2090714" y="3882877"/>
                  </a:lnTo>
                  <a:lnTo>
                    <a:pt x="2105772" y="3889555"/>
                  </a:lnTo>
                  <a:lnTo>
                    <a:pt x="2120836" y="3906250"/>
                  </a:lnTo>
                  <a:lnTo>
                    <a:pt x="2080674" y="3894563"/>
                  </a:lnTo>
                  <a:lnTo>
                    <a:pt x="2033831" y="3889555"/>
                  </a:lnTo>
                  <a:lnTo>
                    <a:pt x="2020449" y="3876198"/>
                  </a:lnTo>
                  <a:lnTo>
                    <a:pt x="2005383" y="3854494"/>
                  </a:lnTo>
                  <a:lnTo>
                    <a:pt x="1991997" y="3856164"/>
                  </a:lnTo>
                  <a:lnTo>
                    <a:pt x="1968573" y="3816095"/>
                  </a:lnTo>
                  <a:lnTo>
                    <a:pt x="1983631" y="3799399"/>
                  </a:lnTo>
                  <a:lnTo>
                    <a:pt x="1980285" y="3759330"/>
                  </a:lnTo>
                  <a:lnTo>
                    <a:pt x="1973593" y="3725939"/>
                  </a:lnTo>
                  <a:lnTo>
                    <a:pt x="1971919" y="3704235"/>
                  </a:lnTo>
                  <a:lnTo>
                    <a:pt x="1965227" y="3689209"/>
                  </a:lnTo>
                  <a:lnTo>
                    <a:pt x="1955442" y="3684323"/>
                  </a:lnTo>
                  <a:lnTo>
                    <a:pt x="1953607" y="3685061"/>
                  </a:lnTo>
                  <a:lnTo>
                    <a:pt x="1963572" y="3690090"/>
                  </a:lnTo>
                  <a:lnTo>
                    <a:pt x="1970218" y="3705178"/>
                  </a:lnTo>
                  <a:lnTo>
                    <a:pt x="1971882" y="3726972"/>
                  </a:lnTo>
                  <a:lnTo>
                    <a:pt x="1978524" y="3760500"/>
                  </a:lnTo>
                  <a:lnTo>
                    <a:pt x="1981848" y="3800735"/>
                  </a:lnTo>
                  <a:lnTo>
                    <a:pt x="1966900" y="3817499"/>
                  </a:lnTo>
                  <a:lnTo>
                    <a:pt x="1990157" y="3857734"/>
                  </a:lnTo>
                  <a:lnTo>
                    <a:pt x="2003450" y="3856057"/>
                  </a:lnTo>
                  <a:lnTo>
                    <a:pt x="2018398" y="3877851"/>
                  </a:lnTo>
                  <a:lnTo>
                    <a:pt x="2031690" y="3891262"/>
                  </a:lnTo>
                  <a:lnTo>
                    <a:pt x="2078209" y="3896291"/>
                  </a:lnTo>
                  <a:lnTo>
                    <a:pt x="2118084" y="3908026"/>
                  </a:lnTo>
                  <a:lnTo>
                    <a:pt x="2093162" y="3904674"/>
                  </a:lnTo>
                  <a:lnTo>
                    <a:pt x="2073225" y="3914732"/>
                  </a:lnTo>
                  <a:lnTo>
                    <a:pt x="2071569" y="3949937"/>
                  </a:lnTo>
                  <a:lnTo>
                    <a:pt x="2038335" y="3936526"/>
                  </a:lnTo>
                  <a:lnTo>
                    <a:pt x="2023382" y="3931496"/>
                  </a:lnTo>
                  <a:lnTo>
                    <a:pt x="2028367" y="3929820"/>
                  </a:lnTo>
                  <a:lnTo>
                    <a:pt x="2023382" y="3926467"/>
                  </a:lnTo>
                  <a:lnTo>
                    <a:pt x="2011760" y="3919761"/>
                  </a:lnTo>
                  <a:lnTo>
                    <a:pt x="2008432" y="3914732"/>
                  </a:lnTo>
                  <a:lnTo>
                    <a:pt x="1998468" y="3899644"/>
                  </a:lnTo>
                  <a:lnTo>
                    <a:pt x="1996800" y="3894615"/>
                  </a:lnTo>
                  <a:lnTo>
                    <a:pt x="1983509" y="3881204"/>
                  </a:lnTo>
                  <a:lnTo>
                    <a:pt x="1991815" y="3886233"/>
                  </a:lnTo>
                  <a:lnTo>
                    <a:pt x="1986831" y="3877851"/>
                  </a:lnTo>
                  <a:lnTo>
                    <a:pt x="1973540" y="3869469"/>
                  </a:lnTo>
                  <a:lnTo>
                    <a:pt x="1973540" y="3864439"/>
                  </a:lnTo>
                  <a:lnTo>
                    <a:pt x="1966900" y="3851028"/>
                  </a:lnTo>
                  <a:lnTo>
                    <a:pt x="1951942" y="3845998"/>
                  </a:lnTo>
                  <a:lnTo>
                    <a:pt x="1958590" y="3840969"/>
                  </a:lnTo>
                  <a:lnTo>
                    <a:pt x="1951942" y="3830911"/>
                  </a:lnTo>
                  <a:lnTo>
                    <a:pt x="1951942" y="3819176"/>
                  </a:lnTo>
                  <a:lnTo>
                    <a:pt x="1940314" y="3799058"/>
                  </a:lnTo>
                  <a:lnTo>
                    <a:pt x="1928682" y="3780618"/>
                  </a:lnTo>
                  <a:lnTo>
                    <a:pt x="1936989" y="3783971"/>
                  </a:lnTo>
                  <a:lnTo>
                    <a:pt x="1951942" y="3787323"/>
                  </a:lnTo>
                  <a:lnTo>
                    <a:pt x="1951942" y="3778941"/>
                  </a:lnTo>
                  <a:lnTo>
                    <a:pt x="1943642" y="3768883"/>
                  </a:lnTo>
                  <a:lnTo>
                    <a:pt x="1941973" y="3770559"/>
                  </a:lnTo>
                  <a:lnTo>
                    <a:pt x="1920384" y="3773912"/>
                  </a:lnTo>
                  <a:lnTo>
                    <a:pt x="1932005" y="3768883"/>
                  </a:lnTo>
                  <a:lnTo>
                    <a:pt x="1923697" y="3763853"/>
                  </a:lnTo>
                  <a:lnTo>
                    <a:pt x="1932005" y="3757148"/>
                  </a:lnTo>
                  <a:lnTo>
                    <a:pt x="1913730" y="3743736"/>
                  </a:lnTo>
                  <a:lnTo>
                    <a:pt x="1900438" y="3738707"/>
                  </a:lnTo>
                  <a:lnTo>
                    <a:pt x="1892131" y="3743736"/>
                  </a:lnTo>
                  <a:lnTo>
                    <a:pt x="1888816" y="3745413"/>
                  </a:lnTo>
                  <a:lnTo>
                    <a:pt x="1900438" y="3720266"/>
                  </a:lnTo>
                  <a:lnTo>
                    <a:pt x="1908746" y="3718590"/>
                  </a:lnTo>
                  <a:lnTo>
                    <a:pt x="1913730" y="3718590"/>
                  </a:lnTo>
                  <a:lnTo>
                    <a:pt x="1912074" y="3728648"/>
                  </a:lnTo>
                  <a:lnTo>
                    <a:pt x="1922039" y="3728648"/>
                  </a:lnTo>
                  <a:lnTo>
                    <a:pt x="1923697" y="3737030"/>
                  </a:lnTo>
                  <a:lnTo>
                    <a:pt x="1932005" y="3725295"/>
                  </a:lnTo>
                  <a:lnTo>
                    <a:pt x="1930349" y="3726972"/>
                  </a:lnTo>
                  <a:lnTo>
                    <a:pt x="1928682" y="3713560"/>
                  </a:lnTo>
                  <a:lnTo>
                    <a:pt x="1928682" y="3710208"/>
                  </a:lnTo>
                  <a:lnTo>
                    <a:pt x="1928682" y="3703502"/>
                  </a:lnTo>
                  <a:lnTo>
                    <a:pt x="1933666" y="3703502"/>
                  </a:lnTo>
                  <a:lnTo>
                    <a:pt x="1923697" y="3696796"/>
                  </a:lnTo>
                  <a:lnTo>
                    <a:pt x="1932005" y="3676679"/>
                  </a:lnTo>
                  <a:lnTo>
                    <a:pt x="1918713" y="3664944"/>
                  </a:lnTo>
                  <a:lnTo>
                    <a:pt x="1918713" y="3654885"/>
                  </a:lnTo>
                  <a:lnTo>
                    <a:pt x="1917056" y="3634768"/>
                  </a:lnTo>
                  <a:lnTo>
                    <a:pt x="1913730" y="3616327"/>
                  </a:lnTo>
                  <a:lnTo>
                    <a:pt x="1912074" y="3607945"/>
                  </a:lnTo>
                  <a:lnTo>
                    <a:pt x="1917056" y="3609622"/>
                  </a:lnTo>
                  <a:lnTo>
                    <a:pt x="1908746" y="3602916"/>
                  </a:lnTo>
                  <a:lnTo>
                    <a:pt x="1912074" y="3586152"/>
                  </a:lnTo>
                  <a:lnTo>
                    <a:pt x="1903763" y="3589505"/>
                  </a:lnTo>
                  <a:lnTo>
                    <a:pt x="1893798" y="3589505"/>
                  </a:lnTo>
                  <a:lnTo>
                    <a:pt x="1884072" y="3596043"/>
                  </a:lnTo>
                  <a:lnTo>
                    <a:pt x="1894698" y="3608186"/>
                  </a:lnTo>
                  <a:lnTo>
                    <a:pt x="1891262" y="3611629"/>
                  </a:lnTo>
                  <a:lnTo>
                    <a:pt x="1898140" y="3628846"/>
                  </a:lnTo>
                  <a:lnTo>
                    <a:pt x="1894698" y="3637454"/>
                  </a:lnTo>
                  <a:lnTo>
                    <a:pt x="1884373" y="3642619"/>
                  </a:lnTo>
                  <a:lnTo>
                    <a:pt x="1874037" y="3601299"/>
                  </a:lnTo>
                  <a:lnTo>
                    <a:pt x="1882646" y="3594412"/>
                  </a:lnTo>
                  <a:lnTo>
                    <a:pt x="1883671" y="3595582"/>
                  </a:lnTo>
                  <a:lnTo>
                    <a:pt x="1882162" y="3589505"/>
                  </a:lnTo>
                  <a:lnTo>
                    <a:pt x="1867213" y="3566034"/>
                  </a:lnTo>
                  <a:lnTo>
                    <a:pt x="1870540" y="3537535"/>
                  </a:lnTo>
                  <a:lnTo>
                    <a:pt x="1863887" y="3509036"/>
                  </a:lnTo>
                  <a:lnTo>
                    <a:pt x="1853920" y="3483889"/>
                  </a:lnTo>
                  <a:lnTo>
                    <a:pt x="1847273" y="3458743"/>
                  </a:lnTo>
                  <a:lnTo>
                    <a:pt x="1852265" y="3448684"/>
                  </a:lnTo>
                  <a:lnTo>
                    <a:pt x="1853920" y="3421861"/>
                  </a:lnTo>
                  <a:lnTo>
                    <a:pt x="1857248" y="3395038"/>
                  </a:lnTo>
                  <a:lnTo>
                    <a:pt x="1860564" y="3368216"/>
                  </a:lnTo>
                  <a:lnTo>
                    <a:pt x="1862230" y="3341393"/>
                  </a:lnTo>
                  <a:lnTo>
                    <a:pt x="1860564" y="3317923"/>
                  </a:lnTo>
                  <a:lnTo>
                    <a:pt x="1857248" y="3296129"/>
                  </a:lnTo>
                  <a:lnTo>
                    <a:pt x="1852265" y="3274335"/>
                  </a:lnTo>
                  <a:lnTo>
                    <a:pt x="1847273" y="3250865"/>
                  </a:lnTo>
                  <a:lnTo>
                    <a:pt x="1847273" y="3222366"/>
                  </a:lnTo>
                  <a:lnTo>
                    <a:pt x="1843955" y="3202249"/>
                  </a:lnTo>
                  <a:lnTo>
                    <a:pt x="1843955" y="3160338"/>
                  </a:lnTo>
                  <a:lnTo>
                    <a:pt x="1847273" y="3116751"/>
                  </a:lnTo>
                  <a:lnTo>
                    <a:pt x="1843955" y="3084899"/>
                  </a:lnTo>
                  <a:lnTo>
                    <a:pt x="1840627" y="3046341"/>
                  </a:lnTo>
                  <a:lnTo>
                    <a:pt x="1840627" y="3032929"/>
                  </a:lnTo>
                  <a:lnTo>
                    <a:pt x="1842289" y="3001077"/>
                  </a:lnTo>
                  <a:lnTo>
                    <a:pt x="1842289" y="2969225"/>
                  </a:lnTo>
                  <a:lnTo>
                    <a:pt x="1833990" y="2930667"/>
                  </a:lnTo>
                  <a:lnTo>
                    <a:pt x="1827371" y="2892287"/>
                  </a:lnTo>
                  <a:lnTo>
                    <a:pt x="1827018" y="2892403"/>
                  </a:lnTo>
                  <a:lnTo>
                    <a:pt x="1810288" y="2879033"/>
                  </a:lnTo>
                  <a:lnTo>
                    <a:pt x="1798576" y="2862320"/>
                  </a:lnTo>
                  <a:lnTo>
                    <a:pt x="1776827" y="2850621"/>
                  </a:lnTo>
                  <a:lnTo>
                    <a:pt x="1751733" y="2835579"/>
                  </a:lnTo>
                  <a:lnTo>
                    <a:pt x="1729986" y="2823880"/>
                  </a:lnTo>
                  <a:lnTo>
                    <a:pt x="1708239" y="2810509"/>
                  </a:lnTo>
                  <a:lnTo>
                    <a:pt x="1683137" y="2788782"/>
                  </a:lnTo>
                  <a:lnTo>
                    <a:pt x="1661388" y="2765384"/>
                  </a:lnTo>
                  <a:lnTo>
                    <a:pt x="1661388" y="2750343"/>
                  </a:lnTo>
                  <a:lnTo>
                    <a:pt x="1642985" y="2718588"/>
                  </a:lnTo>
                  <a:lnTo>
                    <a:pt x="1627926" y="2683491"/>
                  </a:lnTo>
                  <a:lnTo>
                    <a:pt x="1612870" y="2663435"/>
                  </a:lnTo>
                  <a:lnTo>
                    <a:pt x="1601159" y="2643379"/>
                  </a:lnTo>
                  <a:lnTo>
                    <a:pt x="1591123" y="2621652"/>
                  </a:lnTo>
                  <a:lnTo>
                    <a:pt x="1579413" y="2599925"/>
                  </a:lnTo>
                  <a:lnTo>
                    <a:pt x="1569376" y="2578199"/>
                  </a:lnTo>
                  <a:lnTo>
                    <a:pt x="1557666" y="2554800"/>
                  </a:lnTo>
                  <a:lnTo>
                    <a:pt x="1539265" y="2539759"/>
                  </a:lnTo>
                  <a:lnTo>
                    <a:pt x="1519180" y="2524717"/>
                  </a:lnTo>
                  <a:lnTo>
                    <a:pt x="1520853" y="2518032"/>
                  </a:lnTo>
                  <a:lnTo>
                    <a:pt x="1512487" y="2477921"/>
                  </a:lnTo>
                  <a:lnTo>
                    <a:pt x="1525871" y="2459536"/>
                  </a:lnTo>
                  <a:lnTo>
                    <a:pt x="1537582" y="2441152"/>
                  </a:lnTo>
                  <a:lnTo>
                    <a:pt x="1539265" y="2459536"/>
                  </a:lnTo>
                  <a:lnTo>
                    <a:pt x="1532563" y="2472907"/>
                  </a:lnTo>
                  <a:lnTo>
                    <a:pt x="1542610" y="2469564"/>
                  </a:lnTo>
                  <a:lnTo>
                    <a:pt x="1571049" y="2491291"/>
                  </a:lnTo>
                  <a:lnTo>
                    <a:pt x="1572344" y="2489477"/>
                  </a:lnTo>
                  <a:lnTo>
                    <a:pt x="1544792" y="2468209"/>
                  </a:lnTo>
                  <a:lnTo>
                    <a:pt x="1534750" y="2471589"/>
                  </a:lnTo>
                  <a:lnTo>
                    <a:pt x="1541445" y="2458070"/>
                  </a:lnTo>
                  <a:lnTo>
                    <a:pt x="1539771" y="2439482"/>
                  </a:lnTo>
                  <a:lnTo>
                    <a:pt x="1549813" y="2436102"/>
                  </a:lnTo>
                  <a:lnTo>
                    <a:pt x="1549813" y="2415824"/>
                  </a:lnTo>
                  <a:lnTo>
                    <a:pt x="1548139" y="2409064"/>
                  </a:lnTo>
                  <a:lnTo>
                    <a:pt x="1541445" y="2417513"/>
                  </a:lnTo>
                  <a:lnTo>
                    <a:pt x="1523040" y="2409064"/>
                  </a:lnTo>
                  <a:lnTo>
                    <a:pt x="1528058" y="2402305"/>
                  </a:lnTo>
                  <a:lnTo>
                    <a:pt x="1523040" y="2371887"/>
                  </a:lnTo>
                  <a:lnTo>
                    <a:pt x="1534750" y="2356679"/>
                  </a:lnTo>
                  <a:lnTo>
                    <a:pt x="1538096" y="2341470"/>
                  </a:lnTo>
                  <a:lnTo>
                    <a:pt x="1543119" y="2317812"/>
                  </a:lnTo>
                  <a:lnTo>
                    <a:pt x="1568226" y="2305983"/>
                  </a:lnTo>
                  <a:lnTo>
                    <a:pt x="1575995" y="2298141"/>
                  </a:lnTo>
                  <a:lnTo>
                    <a:pt x="1572745" y="2286866"/>
                  </a:lnTo>
                  <a:lnTo>
                    <a:pt x="1581184" y="2281847"/>
                  </a:lnTo>
                  <a:lnTo>
                    <a:pt x="1587939" y="2266787"/>
                  </a:lnTo>
                  <a:lnTo>
                    <a:pt x="1603127" y="2258421"/>
                  </a:lnTo>
                  <a:lnTo>
                    <a:pt x="1621702" y="2223282"/>
                  </a:lnTo>
                  <a:lnTo>
                    <a:pt x="1618320" y="2219935"/>
                  </a:lnTo>
                  <a:lnTo>
                    <a:pt x="1616629" y="2198182"/>
                  </a:lnTo>
                  <a:lnTo>
                    <a:pt x="1613254" y="2176430"/>
                  </a:lnTo>
                  <a:lnTo>
                    <a:pt x="1620011" y="2163044"/>
                  </a:lnTo>
                  <a:lnTo>
                    <a:pt x="1613254" y="2136271"/>
                  </a:lnTo>
                  <a:lnTo>
                    <a:pt x="1606503" y="2122885"/>
                  </a:lnTo>
                  <a:lnTo>
                    <a:pt x="1607527" y="2120516"/>
                  </a:lnTo>
                  <a:lnTo>
                    <a:pt x="1602204" y="2112433"/>
                  </a:lnTo>
                  <a:lnTo>
                    <a:pt x="1598857" y="2092096"/>
                  </a:lnTo>
                  <a:lnTo>
                    <a:pt x="1608899" y="2092096"/>
                  </a:lnTo>
                  <a:lnTo>
                    <a:pt x="1605551" y="2087012"/>
                  </a:lnTo>
                  <a:lnTo>
                    <a:pt x="1598857" y="2085317"/>
                  </a:lnTo>
                  <a:lnTo>
                    <a:pt x="1590493" y="2076843"/>
                  </a:lnTo>
                  <a:lnTo>
                    <a:pt x="1572075" y="2068369"/>
                  </a:lnTo>
                  <a:lnTo>
                    <a:pt x="1563709" y="2061590"/>
                  </a:lnTo>
                  <a:lnTo>
                    <a:pt x="1563709" y="2054811"/>
                  </a:lnTo>
                  <a:lnTo>
                    <a:pt x="1588820" y="2056506"/>
                  </a:lnTo>
                  <a:lnTo>
                    <a:pt x="1605551" y="2068369"/>
                  </a:lnTo>
                  <a:lnTo>
                    <a:pt x="1623968" y="2078538"/>
                  </a:lnTo>
                  <a:lnTo>
                    <a:pt x="1623968" y="2082194"/>
                  </a:lnTo>
                  <a:lnTo>
                    <a:pt x="1628447" y="2087746"/>
                  </a:lnTo>
                  <a:lnTo>
                    <a:pt x="1631828" y="2101132"/>
                  </a:lnTo>
                  <a:lnTo>
                    <a:pt x="1636884" y="2086073"/>
                  </a:lnTo>
                  <a:lnTo>
                    <a:pt x="1667265" y="2057627"/>
                  </a:lnTo>
                  <a:lnTo>
                    <a:pt x="1668955" y="2035874"/>
                  </a:lnTo>
                  <a:lnTo>
                    <a:pt x="1689208" y="2010775"/>
                  </a:lnTo>
                  <a:lnTo>
                    <a:pt x="1702717" y="2010775"/>
                  </a:lnTo>
                  <a:lnTo>
                    <a:pt x="1701026" y="2015795"/>
                  </a:lnTo>
                  <a:lnTo>
                    <a:pt x="1709462" y="2002409"/>
                  </a:lnTo>
                  <a:lnTo>
                    <a:pt x="1724652" y="2000735"/>
                  </a:lnTo>
                  <a:lnTo>
                    <a:pt x="1749971" y="1987349"/>
                  </a:lnTo>
                  <a:lnTo>
                    <a:pt x="1773606" y="1970616"/>
                  </a:lnTo>
                  <a:close/>
                  <a:moveTo>
                    <a:pt x="4788835" y="1966629"/>
                  </a:moveTo>
                  <a:lnTo>
                    <a:pt x="4788614" y="1966704"/>
                  </a:lnTo>
                  <a:lnTo>
                    <a:pt x="4781593" y="1984973"/>
                  </a:lnTo>
                  <a:close/>
                  <a:moveTo>
                    <a:pt x="3427507" y="1965083"/>
                  </a:moveTo>
                  <a:lnTo>
                    <a:pt x="3424167" y="1970094"/>
                  </a:lnTo>
                  <a:lnTo>
                    <a:pt x="3405798" y="1976774"/>
                  </a:lnTo>
                  <a:lnTo>
                    <a:pt x="3389098" y="1978444"/>
                  </a:lnTo>
                  <a:lnTo>
                    <a:pt x="3380749" y="1975104"/>
                  </a:lnTo>
                  <a:lnTo>
                    <a:pt x="3366099" y="1975104"/>
                  </a:lnTo>
                  <a:lnTo>
                    <a:pt x="3366012" y="1975325"/>
                  </a:lnTo>
                  <a:lnTo>
                    <a:pt x="3381090" y="1975325"/>
                  </a:lnTo>
                  <a:lnTo>
                    <a:pt x="3389466" y="1978711"/>
                  </a:lnTo>
                  <a:lnTo>
                    <a:pt x="3406219" y="1977018"/>
                  </a:lnTo>
                  <a:lnTo>
                    <a:pt x="3424647" y="1970247"/>
                  </a:lnTo>
                  <a:lnTo>
                    <a:pt x="3427699" y="1965620"/>
                  </a:lnTo>
                  <a:close/>
                  <a:moveTo>
                    <a:pt x="6920778" y="1964423"/>
                  </a:moveTo>
                  <a:lnTo>
                    <a:pt x="6941761" y="1984818"/>
                  </a:lnTo>
                  <a:lnTo>
                    <a:pt x="6941761" y="1988526"/>
                  </a:lnTo>
                  <a:lnTo>
                    <a:pt x="6922392" y="1975547"/>
                  </a:lnTo>
                  <a:lnTo>
                    <a:pt x="6919164" y="1977401"/>
                  </a:lnTo>
                  <a:close/>
                  <a:moveTo>
                    <a:pt x="6967427" y="1961410"/>
                  </a:moveTo>
                  <a:lnTo>
                    <a:pt x="6977135" y="1979756"/>
                  </a:lnTo>
                  <a:lnTo>
                    <a:pt x="6988461" y="2008110"/>
                  </a:lnTo>
                  <a:lnTo>
                    <a:pt x="6977135" y="2006442"/>
                  </a:lnTo>
                  <a:lnTo>
                    <a:pt x="6964190" y="1991431"/>
                  </a:lnTo>
                  <a:lnTo>
                    <a:pt x="6944774" y="1966413"/>
                  </a:lnTo>
                  <a:close/>
                  <a:moveTo>
                    <a:pt x="1824331" y="1961410"/>
                  </a:moveTo>
                  <a:lnTo>
                    <a:pt x="1827336" y="1964423"/>
                  </a:lnTo>
                  <a:lnTo>
                    <a:pt x="1824331" y="1962163"/>
                  </a:lnTo>
                  <a:close/>
                  <a:moveTo>
                    <a:pt x="3306917" y="1960258"/>
                  </a:moveTo>
                  <a:lnTo>
                    <a:pt x="3306215" y="1960312"/>
                  </a:lnTo>
                  <a:lnTo>
                    <a:pt x="3303405" y="1972004"/>
                  </a:lnTo>
                  <a:lnTo>
                    <a:pt x="3303405" y="1989012"/>
                  </a:lnTo>
                  <a:lnTo>
                    <a:pt x="3294520" y="1992710"/>
                  </a:lnTo>
                  <a:lnTo>
                    <a:pt x="3304026" y="1988868"/>
                  </a:lnTo>
                  <a:lnTo>
                    <a:pt x="3304026" y="1971939"/>
                  </a:lnTo>
                  <a:close/>
                  <a:moveTo>
                    <a:pt x="4049723" y="1946229"/>
                  </a:moveTo>
                  <a:lnTo>
                    <a:pt x="4060863" y="1975012"/>
                  </a:lnTo>
                  <a:lnTo>
                    <a:pt x="4065868" y="2008538"/>
                  </a:lnTo>
                  <a:lnTo>
                    <a:pt x="4082551" y="2038712"/>
                  </a:lnTo>
                  <a:lnTo>
                    <a:pt x="4050853" y="2038712"/>
                  </a:lnTo>
                  <a:lnTo>
                    <a:pt x="4039175" y="2045417"/>
                  </a:lnTo>
                  <a:lnTo>
                    <a:pt x="4040143" y="2046689"/>
                  </a:lnTo>
                  <a:lnTo>
                    <a:pt x="4051716" y="2040030"/>
                  </a:lnTo>
                  <a:lnTo>
                    <a:pt x="4083324" y="2040030"/>
                  </a:lnTo>
                  <a:lnTo>
                    <a:pt x="4066689" y="2009880"/>
                  </a:lnTo>
                  <a:lnTo>
                    <a:pt x="4061698" y="1976380"/>
                  </a:lnTo>
                  <a:lnTo>
                    <a:pt x="4050053" y="1946229"/>
                  </a:lnTo>
                  <a:close/>
                  <a:moveTo>
                    <a:pt x="2098500" y="1941826"/>
                  </a:moveTo>
                  <a:lnTo>
                    <a:pt x="2106033" y="1944086"/>
                  </a:lnTo>
                  <a:lnTo>
                    <a:pt x="2106033" y="1944839"/>
                  </a:lnTo>
                  <a:lnTo>
                    <a:pt x="2101014" y="1944839"/>
                  </a:lnTo>
                  <a:close/>
                  <a:moveTo>
                    <a:pt x="2057826" y="1938813"/>
                  </a:moveTo>
                  <a:lnTo>
                    <a:pt x="2057826" y="1944839"/>
                  </a:lnTo>
                  <a:lnTo>
                    <a:pt x="2054812" y="1941826"/>
                  </a:lnTo>
                  <a:close/>
                  <a:moveTo>
                    <a:pt x="3561103" y="1936692"/>
                  </a:moveTo>
                  <a:lnTo>
                    <a:pt x="3557831" y="1954693"/>
                  </a:lnTo>
                  <a:lnTo>
                    <a:pt x="3558400" y="1953684"/>
                  </a:lnTo>
                  <a:lnTo>
                    <a:pt x="3561422" y="1936851"/>
                  </a:lnTo>
                  <a:close/>
                  <a:moveTo>
                    <a:pt x="3697984" y="1935258"/>
                  </a:moveTo>
                  <a:lnTo>
                    <a:pt x="3694880" y="1936830"/>
                  </a:lnTo>
                  <a:lnTo>
                    <a:pt x="3694880" y="1946942"/>
                  </a:lnTo>
                  <a:lnTo>
                    <a:pt x="3695819" y="1947682"/>
                  </a:lnTo>
                  <a:lnTo>
                    <a:pt x="3695819" y="1938216"/>
                  </a:lnTo>
                  <a:lnTo>
                    <a:pt x="3699163" y="1936539"/>
                  </a:lnTo>
                  <a:close/>
                  <a:moveTo>
                    <a:pt x="6834802" y="1934294"/>
                  </a:moveTo>
                  <a:lnTo>
                    <a:pt x="6862740" y="1938060"/>
                  </a:lnTo>
                  <a:lnTo>
                    <a:pt x="6870957" y="1960657"/>
                  </a:lnTo>
                  <a:lnTo>
                    <a:pt x="6864383" y="1971955"/>
                  </a:lnTo>
                  <a:lnTo>
                    <a:pt x="6851236" y="1955007"/>
                  </a:lnTo>
                  <a:close/>
                  <a:moveTo>
                    <a:pt x="3581319" y="1931638"/>
                  </a:moveTo>
                  <a:lnTo>
                    <a:pt x="3581143" y="1931682"/>
                  </a:lnTo>
                  <a:lnTo>
                    <a:pt x="3578193" y="1943481"/>
                  </a:lnTo>
                  <a:lnTo>
                    <a:pt x="3578372" y="1943571"/>
                  </a:lnTo>
                  <a:close/>
                  <a:moveTo>
                    <a:pt x="3354740" y="1927915"/>
                  </a:moveTo>
                  <a:lnTo>
                    <a:pt x="3354819" y="1928269"/>
                  </a:lnTo>
                  <a:lnTo>
                    <a:pt x="3360837" y="1938797"/>
                  </a:lnTo>
                  <a:lnTo>
                    <a:pt x="3360709" y="1938362"/>
                  </a:lnTo>
                  <a:close/>
                  <a:moveTo>
                    <a:pt x="2065363" y="1917723"/>
                  </a:moveTo>
                  <a:lnTo>
                    <a:pt x="2063852" y="1928268"/>
                  </a:lnTo>
                  <a:lnTo>
                    <a:pt x="2062344" y="1921238"/>
                  </a:lnTo>
                  <a:close/>
                  <a:moveTo>
                    <a:pt x="6459495" y="1911681"/>
                  </a:moveTo>
                  <a:lnTo>
                    <a:pt x="6458475" y="1912356"/>
                  </a:lnTo>
                  <a:lnTo>
                    <a:pt x="6458475" y="1918968"/>
                  </a:lnTo>
                  <a:lnTo>
                    <a:pt x="6459495" y="1919503"/>
                  </a:lnTo>
                  <a:close/>
                  <a:moveTo>
                    <a:pt x="6381325" y="1910288"/>
                  </a:moveTo>
                  <a:lnTo>
                    <a:pt x="6377257" y="1916958"/>
                  </a:lnTo>
                  <a:lnTo>
                    <a:pt x="6381443" y="1910288"/>
                  </a:lnTo>
                  <a:close/>
                  <a:moveTo>
                    <a:pt x="3616435" y="1901520"/>
                  </a:moveTo>
                  <a:lnTo>
                    <a:pt x="3616212" y="1901620"/>
                  </a:lnTo>
                  <a:lnTo>
                    <a:pt x="3614760" y="1913233"/>
                  </a:lnTo>
                  <a:lnTo>
                    <a:pt x="3614989" y="1913233"/>
                  </a:lnTo>
                  <a:close/>
                  <a:moveTo>
                    <a:pt x="3346615" y="1896543"/>
                  </a:moveTo>
                  <a:lnTo>
                    <a:pt x="3347541" y="1897469"/>
                  </a:lnTo>
                  <a:lnTo>
                    <a:pt x="3347425" y="1896947"/>
                  </a:lnTo>
                  <a:close/>
                  <a:moveTo>
                    <a:pt x="2057826" y="1895126"/>
                  </a:moveTo>
                  <a:lnTo>
                    <a:pt x="2068370" y="1904165"/>
                  </a:lnTo>
                  <a:lnTo>
                    <a:pt x="2066864" y="1904165"/>
                  </a:lnTo>
                  <a:close/>
                  <a:moveTo>
                    <a:pt x="3675168" y="1889930"/>
                  </a:moveTo>
                  <a:lnTo>
                    <a:pt x="3678236" y="1913233"/>
                  </a:lnTo>
                  <a:lnTo>
                    <a:pt x="3679015" y="1914087"/>
                  </a:lnTo>
                  <a:lnTo>
                    <a:pt x="3675804" y="1889930"/>
                  </a:lnTo>
                  <a:close/>
                  <a:moveTo>
                    <a:pt x="3701379" y="1879909"/>
                  </a:moveTo>
                  <a:lnTo>
                    <a:pt x="3678809" y="1889583"/>
                  </a:lnTo>
                  <a:lnTo>
                    <a:pt x="3679101" y="1889583"/>
                  </a:lnTo>
                  <a:lnTo>
                    <a:pt x="3701604" y="1879909"/>
                  </a:lnTo>
                  <a:close/>
                  <a:moveTo>
                    <a:pt x="3423984" y="1874715"/>
                  </a:moveTo>
                  <a:lnTo>
                    <a:pt x="3424167" y="1874899"/>
                  </a:lnTo>
                  <a:lnTo>
                    <a:pt x="3449217" y="1874899"/>
                  </a:lnTo>
                  <a:lnTo>
                    <a:pt x="3474266" y="1874899"/>
                  </a:lnTo>
                  <a:lnTo>
                    <a:pt x="3499315" y="1874899"/>
                  </a:lnTo>
                  <a:lnTo>
                    <a:pt x="3524364" y="1874899"/>
                  </a:lnTo>
                  <a:lnTo>
                    <a:pt x="3524389" y="1874715"/>
                  </a:lnTo>
                  <a:lnTo>
                    <a:pt x="3499337" y="1874715"/>
                  </a:lnTo>
                  <a:lnTo>
                    <a:pt x="3474138" y="1874715"/>
                  </a:lnTo>
                  <a:lnTo>
                    <a:pt x="3448938" y="1874715"/>
                  </a:lnTo>
                  <a:close/>
                  <a:moveTo>
                    <a:pt x="3420378" y="1871369"/>
                  </a:moveTo>
                  <a:lnTo>
                    <a:pt x="3383419" y="1879735"/>
                  </a:lnTo>
                  <a:lnTo>
                    <a:pt x="3378674" y="1881310"/>
                  </a:lnTo>
                  <a:lnTo>
                    <a:pt x="3379079" y="1881579"/>
                  </a:lnTo>
                  <a:lnTo>
                    <a:pt x="3384089" y="1879909"/>
                  </a:lnTo>
                  <a:lnTo>
                    <a:pt x="3420617" y="1871607"/>
                  </a:lnTo>
                  <a:close/>
                  <a:moveTo>
                    <a:pt x="3363259" y="1871369"/>
                  </a:moveTo>
                  <a:lnTo>
                    <a:pt x="3349937" y="1897904"/>
                  </a:lnTo>
                  <a:lnTo>
                    <a:pt x="3350690" y="1898280"/>
                  </a:lnTo>
                  <a:lnTo>
                    <a:pt x="3363924" y="1871810"/>
                  </a:lnTo>
                  <a:close/>
                  <a:moveTo>
                    <a:pt x="2054812" y="1871023"/>
                  </a:moveTo>
                  <a:lnTo>
                    <a:pt x="2057072" y="1871023"/>
                  </a:lnTo>
                  <a:lnTo>
                    <a:pt x="2057826" y="1879497"/>
                  </a:lnTo>
                  <a:lnTo>
                    <a:pt x="2055566" y="1884581"/>
                  </a:lnTo>
                  <a:close/>
                  <a:moveTo>
                    <a:pt x="6257866" y="1867959"/>
                  </a:moveTo>
                  <a:lnTo>
                    <a:pt x="6252938" y="1879418"/>
                  </a:lnTo>
                  <a:lnTo>
                    <a:pt x="6252938" y="1879660"/>
                  </a:lnTo>
                  <a:lnTo>
                    <a:pt x="6257730" y="1868458"/>
                  </a:lnTo>
                  <a:close/>
                  <a:moveTo>
                    <a:pt x="4279626" y="1867504"/>
                  </a:moveTo>
                  <a:lnTo>
                    <a:pt x="4271309" y="1875879"/>
                  </a:lnTo>
                  <a:lnTo>
                    <a:pt x="4258000" y="1899329"/>
                  </a:lnTo>
                  <a:lnTo>
                    <a:pt x="4258000" y="1909379"/>
                  </a:lnTo>
                  <a:lnTo>
                    <a:pt x="4256336" y="1917754"/>
                  </a:lnTo>
                  <a:lnTo>
                    <a:pt x="4251346" y="1931154"/>
                  </a:lnTo>
                  <a:lnTo>
                    <a:pt x="4243028" y="1954605"/>
                  </a:lnTo>
                  <a:lnTo>
                    <a:pt x="4253009" y="1956280"/>
                  </a:lnTo>
                  <a:lnTo>
                    <a:pt x="4262991" y="1978055"/>
                  </a:lnTo>
                  <a:lnTo>
                    <a:pt x="4269645" y="1994805"/>
                  </a:lnTo>
                  <a:lnTo>
                    <a:pt x="4271309" y="2011555"/>
                  </a:lnTo>
                  <a:lnTo>
                    <a:pt x="4246355" y="2018255"/>
                  </a:lnTo>
                  <a:lnTo>
                    <a:pt x="4226392" y="2041705"/>
                  </a:lnTo>
                  <a:lnTo>
                    <a:pt x="4206429" y="2066830"/>
                  </a:lnTo>
                  <a:lnTo>
                    <a:pt x="4168167" y="2075206"/>
                  </a:lnTo>
                  <a:lnTo>
                    <a:pt x="4171494" y="2081906"/>
                  </a:lnTo>
                  <a:lnTo>
                    <a:pt x="4159849" y="2098656"/>
                  </a:lnTo>
                  <a:lnTo>
                    <a:pt x="4123250" y="2107031"/>
                  </a:lnTo>
                  <a:lnTo>
                    <a:pt x="4110380" y="2108471"/>
                  </a:lnTo>
                  <a:lnTo>
                    <a:pt x="4110542" y="2108579"/>
                  </a:lnTo>
                  <a:lnTo>
                    <a:pt x="4125541" y="2106899"/>
                  </a:lnTo>
                  <a:lnTo>
                    <a:pt x="4162205" y="2098498"/>
                  </a:lnTo>
                  <a:lnTo>
                    <a:pt x="4173871" y="2081695"/>
                  </a:lnTo>
                  <a:lnTo>
                    <a:pt x="4170538" y="2074974"/>
                  </a:lnTo>
                  <a:lnTo>
                    <a:pt x="4208869" y="2066572"/>
                  </a:lnTo>
                  <a:lnTo>
                    <a:pt x="4228868" y="2041368"/>
                  </a:lnTo>
                  <a:lnTo>
                    <a:pt x="4248867" y="2017844"/>
                  </a:lnTo>
                  <a:lnTo>
                    <a:pt x="4272626" y="2011456"/>
                  </a:lnTo>
                  <a:lnTo>
                    <a:pt x="4272292" y="2010846"/>
                  </a:lnTo>
                  <a:lnTo>
                    <a:pt x="4270610" y="1994074"/>
                  </a:lnTo>
                  <a:lnTo>
                    <a:pt x="4263880" y="1977303"/>
                  </a:lnTo>
                  <a:lnTo>
                    <a:pt x="4253787" y="1955499"/>
                  </a:lnTo>
                  <a:lnTo>
                    <a:pt x="4243693" y="1953822"/>
                  </a:lnTo>
                  <a:lnTo>
                    <a:pt x="4252104" y="1930342"/>
                  </a:lnTo>
                  <a:lnTo>
                    <a:pt x="4257151" y="1916925"/>
                  </a:lnTo>
                  <a:lnTo>
                    <a:pt x="4258834" y="1908539"/>
                  </a:lnTo>
                  <a:lnTo>
                    <a:pt x="4258834" y="1898476"/>
                  </a:lnTo>
                  <a:lnTo>
                    <a:pt x="4272292" y="1874996"/>
                  </a:lnTo>
                  <a:lnTo>
                    <a:pt x="4279807" y="1867504"/>
                  </a:lnTo>
                  <a:close/>
                  <a:moveTo>
                    <a:pt x="6438172" y="1867081"/>
                  </a:moveTo>
                  <a:lnTo>
                    <a:pt x="6443123" y="1891883"/>
                  </a:lnTo>
                  <a:lnTo>
                    <a:pt x="6436668" y="1908050"/>
                  </a:lnTo>
                  <a:lnTo>
                    <a:pt x="6436889" y="1908037"/>
                  </a:lnTo>
                  <a:lnTo>
                    <a:pt x="6443261" y="1892243"/>
                  </a:lnTo>
                  <a:lnTo>
                    <a:pt x="6438189" y="1867102"/>
                  </a:lnTo>
                  <a:close/>
                  <a:moveTo>
                    <a:pt x="2052808" y="1851439"/>
                  </a:moveTo>
                  <a:lnTo>
                    <a:pt x="2054812" y="1852644"/>
                  </a:lnTo>
                  <a:lnTo>
                    <a:pt x="2048786" y="1857465"/>
                  </a:lnTo>
                  <a:close/>
                  <a:moveTo>
                    <a:pt x="3032500" y="1840894"/>
                  </a:moveTo>
                  <a:lnTo>
                    <a:pt x="3038526" y="1843907"/>
                  </a:lnTo>
                  <a:lnTo>
                    <a:pt x="3034508" y="1843907"/>
                  </a:lnTo>
                  <a:close/>
                  <a:moveTo>
                    <a:pt x="2050795" y="1824322"/>
                  </a:moveTo>
                  <a:lnTo>
                    <a:pt x="2054812" y="1827335"/>
                  </a:lnTo>
                  <a:lnTo>
                    <a:pt x="2048786" y="1827335"/>
                  </a:lnTo>
                  <a:lnTo>
                    <a:pt x="2048786" y="1825828"/>
                  </a:lnTo>
                  <a:close/>
                  <a:moveTo>
                    <a:pt x="4832339" y="1818862"/>
                  </a:moveTo>
                  <a:lnTo>
                    <a:pt x="4858085" y="1828415"/>
                  </a:lnTo>
                  <a:lnTo>
                    <a:pt x="4881664" y="1840080"/>
                  </a:lnTo>
                  <a:lnTo>
                    <a:pt x="4883348" y="1870076"/>
                  </a:lnTo>
                  <a:lnTo>
                    <a:pt x="4885004" y="1867891"/>
                  </a:lnTo>
                  <a:lnTo>
                    <a:pt x="4883505" y="1840802"/>
                  </a:lnTo>
                  <a:lnTo>
                    <a:pt x="4860078" y="1829050"/>
                  </a:lnTo>
                  <a:lnTo>
                    <a:pt x="4833304" y="1818976"/>
                  </a:lnTo>
                  <a:close/>
                  <a:moveTo>
                    <a:pt x="2048786" y="1807751"/>
                  </a:moveTo>
                  <a:lnTo>
                    <a:pt x="2051800" y="1809257"/>
                  </a:lnTo>
                  <a:lnTo>
                    <a:pt x="2051800" y="1810764"/>
                  </a:lnTo>
                  <a:lnTo>
                    <a:pt x="2048786" y="1809257"/>
                  </a:lnTo>
                  <a:close/>
                  <a:moveTo>
                    <a:pt x="1970952" y="1804738"/>
                  </a:moveTo>
                  <a:lnTo>
                    <a:pt x="1977982" y="1804738"/>
                  </a:lnTo>
                  <a:lnTo>
                    <a:pt x="1967439" y="1807751"/>
                  </a:lnTo>
                  <a:close/>
                  <a:moveTo>
                    <a:pt x="1288811" y="1804367"/>
                  </a:moveTo>
                  <a:lnTo>
                    <a:pt x="1288774" y="1804738"/>
                  </a:lnTo>
                  <a:lnTo>
                    <a:pt x="1312265" y="1804738"/>
                  </a:lnTo>
                  <a:lnTo>
                    <a:pt x="1335776" y="1804738"/>
                  </a:lnTo>
                  <a:lnTo>
                    <a:pt x="1335862" y="1804367"/>
                  </a:lnTo>
                  <a:lnTo>
                    <a:pt x="1313997" y="1804367"/>
                  </a:lnTo>
                  <a:close/>
                  <a:moveTo>
                    <a:pt x="6336762" y="1795031"/>
                  </a:moveTo>
                  <a:lnTo>
                    <a:pt x="6312808" y="1810865"/>
                  </a:lnTo>
                  <a:lnTo>
                    <a:pt x="6312847" y="1811569"/>
                  </a:lnTo>
                  <a:lnTo>
                    <a:pt x="6337328" y="1795219"/>
                  </a:lnTo>
                  <a:close/>
                  <a:moveTo>
                    <a:pt x="2018657" y="1792184"/>
                  </a:moveTo>
                  <a:lnTo>
                    <a:pt x="2020164" y="1792184"/>
                  </a:lnTo>
                  <a:lnTo>
                    <a:pt x="2020164" y="1794193"/>
                  </a:lnTo>
                  <a:lnTo>
                    <a:pt x="2018657" y="1794193"/>
                  </a:lnTo>
                  <a:close/>
                  <a:moveTo>
                    <a:pt x="6377333" y="1788327"/>
                  </a:moveTo>
                  <a:lnTo>
                    <a:pt x="6365500" y="1796707"/>
                  </a:lnTo>
                  <a:lnTo>
                    <a:pt x="6352874" y="1799837"/>
                  </a:lnTo>
                  <a:lnTo>
                    <a:pt x="6352932" y="1799857"/>
                  </a:lnTo>
                  <a:lnTo>
                    <a:pt x="6366293" y="1796510"/>
                  </a:lnTo>
                  <a:lnTo>
                    <a:pt x="6377516" y="1788480"/>
                  </a:lnTo>
                  <a:close/>
                  <a:moveTo>
                    <a:pt x="1977982" y="1783648"/>
                  </a:moveTo>
                  <a:lnTo>
                    <a:pt x="1979491" y="1783648"/>
                  </a:lnTo>
                  <a:lnTo>
                    <a:pt x="1979491" y="1788167"/>
                  </a:lnTo>
                  <a:lnTo>
                    <a:pt x="1977982" y="1788167"/>
                  </a:lnTo>
                  <a:close/>
                  <a:moveTo>
                    <a:pt x="1915194" y="1783648"/>
                  </a:moveTo>
                  <a:lnTo>
                    <a:pt x="1955388" y="1791013"/>
                  </a:lnTo>
                  <a:lnTo>
                    <a:pt x="1951898" y="1794695"/>
                  </a:lnTo>
                  <a:lnTo>
                    <a:pt x="1923931" y="1800219"/>
                  </a:lnTo>
                  <a:lnTo>
                    <a:pt x="1911699" y="1796536"/>
                  </a:lnTo>
                  <a:close/>
                  <a:moveTo>
                    <a:pt x="1639783" y="1783648"/>
                  </a:moveTo>
                  <a:lnTo>
                    <a:pt x="1673685" y="1799871"/>
                  </a:lnTo>
                  <a:lnTo>
                    <a:pt x="1649960" y="1804738"/>
                  </a:lnTo>
                  <a:lnTo>
                    <a:pt x="1619453" y="1790137"/>
                  </a:lnTo>
                  <a:close/>
                  <a:moveTo>
                    <a:pt x="6829847" y="1780635"/>
                  </a:moveTo>
                  <a:lnTo>
                    <a:pt x="6862354" y="1789004"/>
                  </a:lnTo>
                  <a:lnTo>
                    <a:pt x="6865605" y="1795699"/>
                  </a:lnTo>
                  <a:lnTo>
                    <a:pt x="6873732" y="1819133"/>
                  </a:lnTo>
                  <a:lnTo>
                    <a:pt x="6878608" y="1837546"/>
                  </a:lnTo>
                  <a:lnTo>
                    <a:pt x="6872107" y="1855958"/>
                  </a:lnTo>
                  <a:lnTo>
                    <a:pt x="6862354" y="1867675"/>
                  </a:lnTo>
                  <a:lnTo>
                    <a:pt x="6862354" y="1889435"/>
                  </a:lnTo>
                  <a:lnTo>
                    <a:pt x="6878608" y="1921238"/>
                  </a:lnTo>
                  <a:lnTo>
                    <a:pt x="6885110" y="1919564"/>
                  </a:lnTo>
                  <a:lnTo>
                    <a:pt x="6888361" y="1916216"/>
                  </a:lnTo>
                  <a:lnTo>
                    <a:pt x="6901364" y="1911195"/>
                  </a:lnTo>
                  <a:lnTo>
                    <a:pt x="6912742" y="1927933"/>
                  </a:lnTo>
                  <a:lnTo>
                    <a:pt x="6914367" y="1921238"/>
                  </a:lnTo>
                  <a:lnTo>
                    <a:pt x="6927370" y="1929607"/>
                  </a:lnTo>
                  <a:lnTo>
                    <a:pt x="6920869" y="1932955"/>
                  </a:lnTo>
                  <a:lnTo>
                    <a:pt x="6932246" y="1948019"/>
                  </a:lnTo>
                  <a:lnTo>
                    <a:pt x="6938748" y="1949693"/>
                  </a:lnTo>
                  <a:lnTo>
                    <a:pt x="6932246" y="1961410"/>
                  </a:lnTo>
                  <a:lnTo>
                    <a:pt x="6932246" y="1953041"/>
                  </a:lnTo>
                  <a:lnTo>
                    <a:pt x="6914367" y="1942998"/>
                  </a:lnTo>
                  <a:lnTo>
                    <a:pt x="6902989" y="1929607"/>
                  </a:lnTo>
                  <a:lnTo>
                    <a:pt x="6893237" y="1926259"/>
                  </a:lnTo>
                  <a:lnTo>
                    <a:pt x="6898113" y="1946345"/>
                  </a:lnTo>
                  <a:lnTo>
                    <a:pt x="6872107" y="1922911"/>
                  </a:lnTo>
                  <a:lnTo>
                    <a:pt x="6855853" y="1931281"/>
                  </a:lnTo>
                  <a:lnTo>
                    <a:pt x="6844475" y="1926259"/>
                  </a:lnTo>
                  <a:lnTo>
                    <a:pt x="6844475" y="1911195"/>
                  </a:lnTo>
                  <a:lnTo>
                    <a:pt x="6849351" y="1899478"/>
                  </a:lnTo>
                  <a:lnTo>
                    <a:pt x="6839599" y="1896130"/>
                  </a:lnTo>
                  <a:lnTo>
                    <a:pt x="6839599" y="1907847"/>
                  </a:lnTo>
                  <a:lnTo>
                    <a:pt x="6821720" y="1877718"/>
                  </a:lnTo>
                  <a:lnTo>
                    <a:pt x="6815218" y="1852610"/>
                  </a:lnTo>
                  <a:lnTo>
                    <a:pt x="6829847" y="1855958"/>
                  </a:lnTo>
                  <a:lnTo>
                    <a:pt x="6824970" y="1825829"/>
                  </a:lnTo>
                  <a:lnTo>
                    <a:pt x="6823345" y="1792352"/>
                  </a:lnTo>
                  <a:close/>
                  <a:moveTo>
                    <a:pt x="1985516" y="1774609"/>
                  </a:moveTo>
                  <a:lnTo>
                    <a:pt x="1987531" y="1774609"/>
                  </a:lnTo>
                  <a:lnTo>
                    <a:pt x="1987531" y="1777622"/>
                  </a:lnTo>
                  <a:lnTo>
                    <a:pt x="1985516" y="1777622"/>
                  </a:lnTo>
                  <a:close/>
                  <a:moveTo>
                    <a:pt x="3779409" y="1763814"/>
                  </a:moveTo>
                  <a:lnTo>
                    <a:pt x="3778320" y="1764064"/>
                  </a:lnTo>
                  <a:lnTo>
                    <a:pt x="3749764" y="1764064"/>
                  </a:lnTo>
                  <a:lnTo>
                    <a:pt x="3749808" y="1764674"/>
                  </a:lnTo>
                  <a:lnTo>
                    <a:pt x="3778197" y="1764674"/>
                  </a:lnTo>
                  <a:lnTo>
                    <a:pt x="3778197" y="1786385"/>
                  </a:lnTo>
                  <a:lnTo>
                    <a:pt x="3776527" y="1808096"/>
                  </a:lnTo>
                  <a:lnTo>
                    <a:pt x="3776527" y="1829807"/>
                  </a:lnTo>
                  <a:lnTo>
                    <a:pt x="3774857" y="1851518"/>
                  </a:lnTo>
                  <a:lnTo>
                    <a:pt x="3760016" y="1877903"/>
                  </a:lnTo>
                  <a:lnTo>
                    <a:pt x="3761020" y="1877844"/>
                  </a:lnTo>
                  <a:lnTo>
                    <a:pt x="3776066" y="1851012"/>
                  </a:lnTo>
                  <a:lnTo>
                    <a:pt x="3777738" y="1829211"/>
                  </a:lnTo>
                  <a:lnTo>
                    <a:pt x="3777738" y="1807410"/>
                  </a:lnTo>
                  <a:lnTo>
                    <a:pt x="3779409" y="1785609"/>
                  </a:lnTo>
                  <a:close/>
                  <a:moveTo>
                    <a:pt x="1546837" y="1759544"/>
                  </a:moveTo>
                  <a:lnTo>
                    <a:pt x="1548943" y="1759544"/>
                  </a:lnTo>
                  <a:lnTo>
                    <a:pt x="1548943" y="1761051"/>
                  </a:lnTo>
                  <a:lnTo>
                    <a:pt x="1546837" y="1761051"/>
                  </a:lnTo>
                  <a:close/>
                  <a:moveTo>
                    <a:pt x="1548943" y="1758038"/>
                  </a:moveTo>
                  <a:lnTo>
                    <a:pt x="1551053" y="1758038"/>
                  </a:lnTo>
                  <a:lnTo>
                    <a:pt x="1553169" y="1758038"/>
                  </a:lnTo>
                  <a:lnTo>
                    <a:pt x="1553169" y="1759544"/>
                  </a:lnTo>
                  <a:lnTo>
                    <a:pt x="1551053" y="1759544"/>
                  </a:lnTo>
                  <a:lnTo>
                    <a:pt x="1548943" y="1759544"/>
                  </a:lnTo>
                  <a:close/>
                  <a:moveTo>
                    <a:pt x="5069263" y="1753072"/>
                  </a:moveTo>
                  <a:lnTo>
                    <a:pt x="5064226" y="1755178"/>
                  </a:lnTo>
                  <a:lnTo>
                    <a:pt x="5045819" y="1761893"/>
                  </a:lnTo>
                  <a:lnTo>
                    <a:pt x="5027412" y="1770288"/>
                  </a:lnTo>
                  <a:lnTo>
                    <a:pt x="5026383" y="1770526"/>
                  </a:lnTo>
                  <a:lnTo>
                    <a:pt x="5023140" y="1781755"/>
                  </a:lnTo>
                  <a:lnTo>
                    <a:pt x="5041667" y="1811751"/>
                  </a:lnTo>
                  <a:lnTo>
                    <a:pt x="5051350" y="1826557"/>
                  </a:lnTo>
                  <a:lnTo>
                    <a:pt x="5042281" y="1812382"/>
                  </a:lnTo>
                  <a:lnTo>
                    <a:pt x="5024039" y="1782192"/>
                  </a:lnTo>
                  <a:lnTo>
                    <a:pt x="5027355" y="1770452"/>
                  </a:lnTo>
                  <a:lnTo>
                    <a:pt x="5045598" y="1762066"/>
                  </a:lnTo>
                  <a:lnTo>
                    <a:pt x="5063840" y="1755357"/>
                  </a:lnTo>
                  <a:close/>
                  <a:moveTo>
                    <a:pt x="6391077" y="1747628"/>
                  </a:moveTo>
                  <a:lnTo>
                    <a:pt x="6389166" y="1748102"/>
                  </a:lnTo>
                  <a:lnTo>
                    <a:pt x="6382404" y="1756482"/>
                  </a:lnTo>
                  <a:lnTo>
                    <a:pt x="6417904" y="1781623"/>
                  </a:lnTo>
                  <a:lnTo>
                    <a:pt x="6433118" y="1801736"/>
                  </a:lnTo>
                  <a:lnTo>
                    <a:pt x="6450023" y="1821848"/>
                  </a:lnTo>
                  <a:lnTo>
                    <a:pt x="6461856" y="1838609"/>
                  </a:lnTo>
                  <a:lnTo>
                    <a:pt x="6487213" y="1858722"/>
                  </a:lnTo>
                  <a:lnTo>
                    <a:pt x="6483832" y="1865426"/>
                  </a:lnTo>
                  <a:lnTo>
                    <a:pt x="6492284" y="1875482"/>
                  </a:lnTo>
                  <a:lnTo>
                    <a:pt x="6497298" y="1898681"/>
                  </a:lnTo>
                  <a:lnTo>
                    <a:pt x="6497985" y="1898316"/>
                  </a:lnTo>
                  <a:lnTo>
                    <a:pt x="6497978" y="1898208"/>
                  </a:lnTo>
                  <a:lnTo>
                    <a:pt x="6492967" y="1874783"/>
                  </a:lnTo>
                  <a:lnTo>
                    <a:pt x="6484616" y="1864743"/>
                  </a:lnTo>
                  <a:lnTo>
                    <a:pt x="6487956" y="1858051"/>
                  </a:lnTo>
                  <a:lnTo>
                    <a:pt x="6462903" y="1837972"/>
                  </a:lnTo>
                  <a:lnTo>
                    <a:pt x="6451212" y="1821240"/>
                  </a:lnTo>
                  <a:lnTo>
                    <a:pt x="6434510" y="1801162"/>
                  </a:lnTo>
                  <a:lnTo>
                    <a:pt x="6419478" y="1781083"/>
                  </a:lnTo>
                  <a:lnTo>
                    <a:pt x="6384403" y="1755985"/>
                  </a:lnTo>
                  <a:close/>
                  <a:moveTo>
                    <a:pt x="1575761" y="1747493"/>
                  </a:moveTo>
                  <a:lnTo>
                    <a:pt x="1579525" y="1747493"/>
                  </a:lnTo>
                  <a:lnTo>
                    <a:pt x="1579525" y="1750506"/>
                  </a:lnTo>
                  <a:lnTo>
                    <a:pt x="1575761" y="1750506"/>
                  </a:lnTo>
                  <a:close/>
                  <a:moveTo>
                    <a:pt x="1753783" y="1744480"/>
                  </a:moveTo>
                  <a:lnTo>
                    <a:pt x="1780513" y="1746128"/>
                  </a:lnTo>
                  <a:lnTo>
                    <a:pt x="1795946" y="1747650"/>
                  </a:lnTo>
                  <a:lnTo>
                    <a:pt x="1807646" y="1744480"/>
                  </a:lnTo>
                  <a:lnTo>
                    <a:pt x="1844368" y="1754422"/>
                  </a:lnTo>
                  <a:lnTo>
                    <a:pt x="1860108" y="1759394"/>
                  </a:lnTo>
                  <a:lnTo>
                    <a:pt x="1853111" y="1766022"/>
                  </a:lnTo>
                  <a:lnTo>
                    <a:pt x="1884589" y="1779279"/>
                  </a:lnTo>
                  <a:lnTo>
                    <a:pt x="1872342" y="1790879"/>
                  </a:lnTo>
                  <a:lnTo>
                    <a:pt x="1837372" y="1789222"/>
                  </a:lnTo>
                  <a:lnTo>
                    <a:pt x="1821634" y="1787564"/>
                  </a:lnTo>
                  <a:lnTo>
                    <a:pt x="1809401" y="1794193"/>
                  </a:lnTo>
                  <a:lnTo>
                    <a:pt x="1797153" y="1810764"/>
                  </a:lnTo>
                  <a:lnTo>
                    <a:pt x="1788411" y="1797507"/>
                  </a:lnTo>
                  <a:lnTo>
                    <a:pt x="1788374" y="1797073"/>
                  </a:lnTo>
                  <a:lnTo>
                    <a:pt x="1763804" y="1795558"/>
                  </a:lnTo>
                  <a:lnTo>
                    <a:pt x="1737081" y="1795558"/>
                  </a:lnTo>
                  <a:lnTo>
                    <a:pt x="1720381" y="1785672"/>
                  </a:lnTo>
                  <a:lnTo>
                    <a:pt x="1733746" y="1780729"/>
                  </a:lnTo>
                  <a:lnTo>
                    <a:pt x="1757129" y="1780729"/>
                  </a:lnTo>
                  <a:lnTo>
                    <a:pt x="1777167" y="1784024"/>
                  </a:lnTo>
                  <a:lnTo>
                    <a:pt x="1768821" y="1759309"/>
                  </a:lnTo>
                  <a:lnTo>
                    <a:pt x="1758793" y="1749423"/>
                  </a:lnTo>
                  <a:close/>
                  <a:moveTo>
                    <a:pt x="1586304" y="1744480"/>
                  </a:moveTo>
                  <a:lnTo>
                    <a:pt x="1586304" y="1747493"/>
                  </a:lnTo>
                  <a:lnTo>
                    <a:pt x="1585300" y="1747493"/>
                  </a:lnTo>
                  <a:close/>
                  <a:moveTo>
                    <a:pt x="6551157" y="1739961"/>
                  </a:moveTo>
                  <a:lnTo>
                    <a:pt x="6561487" y="1739961"/>
                  </a:lnTo>
                  <a:lnTo>
                    <a:pt x="6566652" y="1750205"/>
                  </a:lnTo>
                  <a:lnTo>
                    <a:pt x="6556322" y="1770693"/>
                  </a:lnTo>
                  <a:lnTo>
                    <a:pt x="6539106" y="1789474"/>
                  </a:lnTo>
                  <a:lnTo>
                    <a:pt x="6528776" y="1791181"/>
                  </a:lnTo>
                  <a:lnTo>
                    <a:pt x="6508116" y="1780937"/>
                  </a:lnTo>
                  <a:lnTo>
                    <a:pt x="6506394" y="1757034"/>
                  </a:lnTo>
                  <a:lnTo>
                    <a:pt x="6525332" y="1745083"/>
                  </a:lnTo>
                  <a:close/>
                  <a:moveTo>
                    <a:pt x="6276389" y="1727351"/>
                  </a:moveTo>
                  <a:lnTo>
                    <a:pt x="6263025" y="1730310"/>
                  </a:lnTo>
                  <a:lnTo>
                    <a:pt x="6251257" y="1745388"/>
                  </a:lnTo>
                  <a:lnTo>
                    <a:pt x="6227721" y="1748739"/>
                  </a:lnTo>
                  <a:lnTo>
                    <a:pt x="6220997" y="1783922"/>
                  </a:lnTo>
                  <a:lnTo>
                    <a:pt x="6212591" y="1780571"/>
                  </a:lnTo>
                  <a:lnTo>
                    <a:pt x="6213380" y="1781750"/>
                  </a:lnTo>
                  <a:lnTo>
                    <a:pt x="6220986" y="1784798"/>
                  </a:lnTo>
                  <a:lnTo>
                    <a:pt x="6227667" y="1749661"/>
                  </a:lnTo>
                  <a:lnTo>
                    <a:pt x="6251049" y="1746314"/>
                  </a:lnTo>
                  <a:lnTo>
                    <a:pt x="6262741" y="1731255"/>
                  </a:lnTo>
                  <a:lnTo>
                    <a:pt x="6276512" y="1728190"/>
                  </a:lnTo>
                  <a:lnTo>
                    <a:pt x="6275906" y="1727989"/>
                  </a:lnTo>
                  <a:close/>
                  <a:moveTo>
                    <a:pt x="3698039" y="1715878"/>
                  </a:moveTo>
                  <a:lnTo>
                    <a:pt x="3698039" y="1716241"/>
                  </a:lnTo>
                  <a:lnTo>
                    <a:pt x="3711399" y="1726262"/>
                  </a:lnTo>
                  <a:lnTo>
                    <a:pt x="3748104" y="1741278"/>
                  </a:lnTo>
                  <a:lnTo>
                    <a:pt x="3748059" y="1740652"/>
                  </a:lnTo>
                  <a:lnTo>
                    <a:pt x="3711073" y="1725602"/>
                  </a:lnTo>
                  <a:close/>
                  <a:moveTo>
                    <a:pt x="6379393" y="1709135"/>
                  </a:moveTo>
                  <a:lnTo>
                    <a:pt x="6377820" y="1710036"/>
                  </a:lnTo>
                  <a:lnTo>
                    <a:pt x="6392547" y="1724637"/>
                  </a:lnTo>
                  <a:lnTo>
                    <a:pt x="6400999" y="1731341"/>
                  </a:lnTo>
                  <a:lnTo>
                    <a:pt x="6402685" y="1744714"/>
                  </a:lnTo>
                  <a:lnTo>
                    <a:pt x="6404446" y="1744273"/>
                  </a:lnTo>
                  <a:lnTo>
                    <a:pt x="6402775" y="1730887"/>
                  </a:lnTo>
                  <a:lnTo>
                    <a:pt x="6394424" y="1724194"/>
                  </a:lnTo>
                  <a:close/>
                  <a:moveTo>
                    <a:pt x="3869233" y="1709084"/>
                  </a:moveTo>
                  <a:lnTo>
                    <a:pt x="3862380" y="1713896"/>
                  </a:lnTo>
                  <a:lnTo>
                    <a:pt x="3840524" y="1733963"/>
                  </a:lnTo>
                  <a:lnTo>
                    <a:pt x="3820500" y="1755541"/>
                  </a:lnTo>
                  <a:lnTo>
                    <a:pt x="3821204" y="1755423"/>
                  </a:lnTo>
                  <a:lnTo>
                    <a:pt x="3841266" y="1733622"/>
                  </a:lnTo>
                  <a:lnTo>
                    <a:pt x="3862999" y="1713498"/>
                  </a:lnTo>
                  <a:close/>
                  <a:moveTo>
                    <a:pt x="1767078" y="1700793"/>
                  </a:moveTo>
                  <a:lnTo>
                    <a:pt x="1767078" y="1705312"/>
                  </a:lnTo>
                  <a:lnTo>
                    <a:pt x="1753520" y="1709832"/>
                  </a:lnTo>
                  <a:close/>
                  <a:moveTo>
                    <a:pt x="6298763" y="1692585"/>
                  </a:moveTo>
                  <a:lnTo>
                    <a:pt x="6298693" y="1692725"/>
                  </a:lnTo>
                  <a:lnTo>
                    <a:pt x="6301263" y="1697820"/>
                  </a:lnTo>
                  <a:lnTo>
                    <a:pt x="6301437" y="1697935"/>
                  </a:lnTo>
                  <a:close/>
                  <a:moveTo>
                    <a:pt x="1786665" y="1684222"/>
                  </a:moveTo>
                  <a:lnTo>
                    <a:pt x="1794201" y="1687235"/>
                  </a:lnTo>
                  <a:lnTo>
                    <a:pt x="1791684" y="1687235"/>
                  </a:lnTo>
                  <a:lnTo>
                    <a:pt x="1786665" y="1687235"/>
                  </a:lnTo>
                  <a:close/>
                  <a:moveTo>
                    <a:pt x="1510610" y="1679702"/>
                  </a:moveTo>
                  <a:lnTo>
                    <a:pt x="1523040" y="1690247"/>
                  </a:lnTo>
                  <a:lnTo>
                    <a:pt x="1506462" y="1693260"/>
                  </a:lnTo>
                  <a:close/>
                  <a:moveTo>
                    <a:pt x="6631430" y="1670664"/>
                  </a:moveTo>
                  <a:lnTo>
                    <a:pt x="6629547" y="1673677"/>
                  </a:lnTo>
                  <a:lnTo>
                    <a:pt x="6623898" y="1673677"/>
                  </a:lnTo>
                  <a:close/>
                  <a:moveTo>
                    <a:pt x="4484847" y="1669293"/>
                  </a:moveTo>
                  <a:lnTo>
                    <a:pt x="4484613" y="1670446"/>
                  </a:lnTo>
                  <a:lnTo>
                    <a:pt x="4485946" y="1677090"/>
                  </a:lnTo>
                  <a:lnTo>
                    <a:pt x="4486449" y="1677165"/>
                  </a:lnTo>
                  <a:close/>
                  <a:moveTo>
                    <a:pt x="6345513" y="1660656"/>
                  </a:moveTo>
                  <a:lnTo>
                    <a:pt x="6342331" y="1663840"/>
                  </a:lnTo>
                  <a:lnTo>
                    <a:pt x="6342648" y="1663959"/>
                  </a:lnTo>
                  <a:lnTo>
                    <a:pt x="6345945" y="1660656"/>
                  </a:lnTo>
                  <a:close/>
                  <a:moveTo>
                    <a:pt x="6327119" y="1660656"/>
                  </a:moveTo>
                  <a:lnTo>
                    <a:pt x="6320788" y="1668574"/>
                  </a:lnTo>
                  <a:lnTo>
                    <a:pt x="6340143" y="1687764"/>
                  </a:lnTo>
                  <a:lnTo>
                    <a:pt x="6345214" y="1699496"/>
                  </a:lnTo>
                  <a:lnTo>
                    <a:pt x="6365500" y="1716257"/>
                  </a:lnTo>
                  <a:lnTo>
                    <a:pt x="6367117" y="1715340"/>
                  </a:lnTo>
                  <a:lnTo>
                    <a:pt x="6347659" y="1699096"/>
                  </a:lnTo>
                  <a:lnTo>
                    <a:pt x="6342648" y="1687384"/>
                  </a:lnTo>
                  <a:lnTo>
                    <a:pt x="6322606" y="1667305"/>
                  </a:lnTo>
                  <a:lnTo>
                    <a:pt x="6327732" y="1660886"/>
                  </a:lnTo>
                  <a:close/>
                  <a:moveTo>
                    <a:pt x="1750510" y="1660118"/>
                  </a:moveTo>
                  <a:lnTo>
                    <a:pt x="1753520" y="1664336"/>
                  </a:lnTo>
                  <a:lnTo>
                    <a:pt x="1744484" y="1670663"/>
                  </a:lnTo>
                  <a:close/>
                  <a:moveTo>
                    <a:pt x="1553050" y="1643547"/>
                  </a:moveTo>
                  <a:lnTo>
                    <a:pt x="1563081" y="1643547"/>
                  </a:lnTo>
                  <a:lnTo>
                    <a:pt x="1581472" y="1648621"/>
                  </a:lnTo>
                  <a:lnTo>
                    <a:pt x="1601538" y="1657079"/>
                  </a:lnTo>
                  <a:lnTo>
                    <a:pt x="1629957" y="1672302"/>
                  </a:lnTo>
                  <a:lnTo>
                    <a:pt x="1656705" y="1684142"/>
                  </a:lnTo>
                  <a:lnTo>
                    <a:pt x="1656705" y="1682450"/>
                  </a:lnTo>
                  <a:lnTo>
                    <a:pt x="1658378" y="1689216"/>
                  </a:lnTo>
                  <a:lnTo>
                    <a:pt x="1678436" y="1695982"/>
                  </a:lnTo>
                  <a:lnTo>
                    <a:pt x="1696825" y="1704439"/>
                  </a:lnTo>
                  <a:lnTo>
                    <a:pt x="1698497" y="1712897"/>
                  </a:lnTo>
                  <a:lnTo>
                    <a:pt x="1716891" y="1723045"/>
                  </a:lnTo>
                  <a:lnTo>
                    <a:pt x="1736948" y="1733194"/>
                  </a:lnTo>
                  <a:lnTo>
                    <a:pt x="1713546" y="1736577"/>
                  </a:lnTo>
                  <a:lnTo>
                    <a:pt x="1693489" y="1738268"/>
                  </a:lnTo>
                  <a:lnTo>
                    <a:pt x="1668406" y="1739960"/>
                  </a:lnTo>
                  <a:lnTo>
                    <a:pt x="1641656" y="1739960"/>
                  </a:lnTo>
                  <a:lnTo>
                    <a:pt x="1658378" y="1723045"/>
                  </a:lnTo>
                  <a:lnTo>
                    <a:pt x="1626612" y="1706131"/>
                  </a:lnTo>
                  <a:lnTo>
                    <a:pt x="1618250" y="1687525"/>
                  </a:lnTo>
                  <a:lnTo>
                    <a:pt x="1581472" y="1679067"/>
                  </a:lnTo>
                  <a:lnTo>
                    <a:pt x="1573117" y="1675685"/>
                  </a:lnTo>
                  <a:lnTo>
                    <a:pt x="1559738" y="1672302"/>
                  </a:lnTo>
                  <a:lnTo>
                    <a:pt x="1538005" y="1663844"/>
                  </a:lnTo>
                  <a:lnTo>
                    <a:pt x="1549716" y="1658770"/>
                  </a:lnTo>
                  <a:lnTo>
                    <a:pt x="1516277" y="1658770"/>
                  </a:lnTo>
                  <a:lnTo>
                    <a:pt x="1496210" y="1668919"/>
                  </a:lnTo>
                  <a:lnTo>
                    <a:pt x="1472804" y="1679067"/>
                  </a:lnTo>
                  <a:lnTo>
                    <a:pt x="1462782" y="1682450"/>
                  </a:lnTo>
                  <a:lnTo>
                    <a:pt x="1477819" y="1673993"/>
                  </a:lnTo>
                  <a:lnTo>
                    <a:pt x="1491202" y="1655387"/>
                  </a:lnTo>
                  <a:lnTo>
                    <a:pt x="1521295" y="1648621"/>
                  </a:lnTo>
                  <a:close/>
                  <a:moveTo>
                    <a:pt x="6390663" y="1642253"/>
                  </a:moveTo>
                  <a:lnTo>
                    <a:pt x="6378533" y="1658939"/>
                  </a:lnTo>
                  <a:lnTo>
                    <a:pt x="6379393" y="1658939"/>
                  </a:lnTo>
                  <a:lnTo>
                    <a:pt x="6391361" y="1642453"/>
                  </a:lnTo>
                  <a:close/>
                  <a:moveTo>
                    <a:pt x="5013633" y="1640028"/>
                  </a:moveTo>
                  <a:lnTo>
                    <a:pt x="5017372" y="1649406"/>
                  </a:lnTo>
                  <a:lnTo>
                    <a:pt x="5055859" y="1657801"/>
                  </a:lnTo>
                  <a:lnTo>
                    <a:pt x="5096019" y="1664516"/>
                  </a:lnTo>
                  <a:lnTo>
                    <a:pt x="5097076" y="1663102"/>
                  </a:lnTo>
                  <a:lnTo>
                    <a:pt x="5056276" y="1656502"/>
                  </a:lnTo>
                  <a:lnTo>
                    <a:pt x="5017008" y="1648217"/>
                  </a:lnTo>
                  <a:close/>
                  <a:moveTo>
                    <a:pt x="3600762" y="1634057"/>
                  </a:moveTo>
                  <a:lnTo>
                    <a:pt x="3601182" y="1634407"/>
                  </a:lnTo>
                  <a:lnTo>
                    <a:pt x="3621222" y="1647768"/>
                  </a:lnTo>
                  <a:lnTo>
                    <a:pt x="3639591" y="1661128"/>
                  </a:lnTo>
                  <a:lnTo>
                    <a:pt x="3659630" y="1677829"/>
                  </a:lnTo>
                  <a:lnTo>
                    <a:pt x="3679670" y="1691190"/>
                  </a:lnTo>
                  <a:lnTo>
                    <a:pt x="3697623" y="1705880"/>
                  </a:lnTo>
                  <a:lnTo>
                    <a:pt x="3697623" y="1705535"/>
                  </a:lnTo>
                  <a:lnTo>
                    <a:pt x="3679130" y="1690484"/>
                  </a:lnTo>
                  <a:lnTo>
                    <a:pt x="3658956" y="1677106"/>
                  </a:lnTo>
                  <a:lnTo>
                    <a:pt x="3638782" y="1660383"/>
                  </a:lnTo>
                  <a:lnTo>
                    <a:pt x="3620289" y="1647005"/>
                  </a:lnTo>
                  <a:close/>
                  <a:moveTo>
                    <a:pt x="3979627" y="1632699"/>
                  </a:moveTo>
                  <a:lnTo>
                    <a:pt x="3979831" y="1633132"/>
                  </a:lnTo>
                  <a:lnTo>
                    <a:pt x="3980026" y="1633002"/>
                  </a:lnTo>
                  <a:lnTo>
                    <a:pt x="4016623" y="1643014"/>
                  </a:lnTo>
                  <a:lnTo>
                    <a:pt x="4016254" y="1642729"/>
                  </a:lnTo>
                  <a:close/>
                  <a:moveTo>
                    <a:pt x="4083126" y="1632657"/>
                  </a:moveTo>
                  <a:lnTo>
                    <a:pt x="4056377" y="1647765"/>
                  </a:lnTo>
                  <a:lnTo>
                    <a:pt x="4038063" y="1659467"/>
                  </a:lnTo>
                  <a:lnTo>
                    <a:pt x="4038539" y="1659834"/>
                  </a:lnTo>
                  <a:lnTo>
                    <a:pt x="4056928" y="1648095"/>
                  </a:lnTo>
                  <a:lnTo>
                    <a:pt x="4058372" y="1648095"/>
                  </a:lnTo>
                  <a:lnTo>
                    <a:pt x="4058371" y="1648077"/>
                  </a:lnTo>
                  <a:lnTo>
                    <a:pt x="4083324" y="1633002"/>
                  </a:lnTo>
                  <a:lnTo>
                    <a:pt x="4109942" y="1648077"/>
                  </a:lnTo>
                  <a:lnTo>
                    <a:pt x="4136559" y="1663152"/>
                  </a:lnTo>
                  <a:lnTo>
                    <a:pt x="4161512" y="1678227"/>
                  </a:lnTo>
                  <a:lnTo>
                    <a:pt x="4188130" y="1693302"/>
                  </a:lnTo>
                  <a:lnTo>
                    <a:pt x="4213083" y="1708378"/>
                  </a:lnTo>
                  <a:lnTo>
                    <a:pt x="4241364" y="1723453"/>
                  </a:lnTo>
                  <a:lnTo>
                    <a:pt x="4267981" y="1738528"/>
                  </a:lnTo>
                  <a:lnTo>
                    <a:pt x="4292935" y="1753603"/>
                  </a:lnTo>
                  <a:lnTo>
                    <a:pt x="4292935" y="1780403"/>
                  </a:lnTo>
                  <a:lnTo>
                    <a:pt x="4296262" y="1810553"/>
                  </a:lnTo>
                  <a:lnTo>
                    <a:pt x="4296262" y="1839029"/>
                  </a:lnTo>
                  <a:lnTo>
                    <a:pt x="4297874" y="1866610"/>
                  </a:lnTo>
                  <a:lnTo>
                    <a:pt x="4299209" y="1866610"/>
                  </a:lnTo>
                  <a:lnTo>
                    <a:pt x="4297527" y="1838098"/>
                  </a:lnTo>
                  <a:lnTo>
                    <a:pt x="4297527" y="1809586"/>
                  </a:lnTo>
                  <a:lnTo>
                    <a:pt x="4294162" y="1779397"/>
                  </a:lnTo>
                  <a:lnTo>
                    <a:pt x="4294162" y="1752563"/>
                  </a:lnTo>
                  <a:lnTo>
                    <a:pt x="4294162" y="1738410"/>
                  </a:lnTo>
                  <a:lnTo>
                    <a:pt x="4293773" y="1738410"/>
                  </a:lnTo>
                  <a:lnTo>
                    <a:pt x="4293773" y="1753518"/>
                  </a:lnTo>
                  <a:lnTo>
                    <a:pt x="4268696" y="1738410"/>
                  </a:lnTo>
                  <a:lnTo>
                    <a:pt x="4241947" y="1723303"/>
                  </a:lnTo>
                  <a:lnTo>
                    <a:pt x="4213527" y="1708195"/>
                  </a:lnTo>
                  <a:lnTo>
                    <a:pt x="4188450" y="1693087"/>
                  </a:lnTo>
                  <a:lnTo>
                    <a:pt x="4161701" y="1677980"/>
                  </a:lnTo>
                  <a:lnTo>
                    <a:pt x="4136624" y="1662872"/>
                  </a:lnTo>
                  <a:lnTo>
                    <a:pt x="4109875" y="1647765"/>
                  </a:lnTo>
                  <a:close/>
                  <a:moveTo>
                    <a:pt x="5116863" y="1617449"/>
                  </a:moveTo>
                  <a:lnTo>
                    <a:pt x="5107496" y="1620046"/>
                  </a:lnTo>
                  <a:lnTo>
                    <a:pt x="5107423" y="1620568"/>
                  </a:lnTo>
                  <a:lnTo>
                    <a:pt x="5116907" y="1617827"/>
                  </a:lnTo>
                  <a:close/>
                  <a:moveTo>
                    <a:pt x="5000639" y="1617415"/>
                  </a:moveTo>
                  <a:lnTo>
                    <a:pt x="5000639" y="1617507"/>
                  </a:lnTo>
                  <a:lnTo>
                    <a:pt x="5006970" y="1623859"/>
                  </a:lnTo>
                  <a:lnTo>
                    <a:pt x="5006764" y="1623360"/>
                  </a:lnTo>
                  <a:close/>
                  <a:moveTo>
                    <a:pt x="1654097" y="1613418"/>
                  </a:moveTo>
                  <a:lnTo>
                    <a:pt x="1659517" y="1615175"/>
                  </a:lnTo>
                  <a:lnTo>
                    <a:pt x="1663133" y="1620448"/>
                  </a:lnTo>
                  <a:lnTo>
                    <a:pt x="1659517" y="1623963"/>
                  </a:lnTo>
                  <a:close/>
                  <a:moveTo>
                    <a:pt x="3497657" y="1588615"/>
                  </a:moveTo>
                  <a:lnTo>
                    <a:pt x="3497731" y="1589315"/>
                  </a:lnTo>
                  <a:lnTo>
                    <a:pt x="3521025" y="1589315"/>
                  </a:lnTo>
                  <a:lnTo>
                    <a:pt x="3544078" y="1589315"/>
                  </a:lnTo>
                  <a:lnTo>
                    <a:pt x="3543140" y="1588615"/>
                  </a:lnTo>
                  <a:lnTo>
                    <a:pt x="3521177" y="1588615"/>
                  </a:lnTo>
                  <a:close/>
                  <a:moveTo>
                    <a:pt x="5116033" y="1588561"/>
                  </a:moveTo>
                  <a:lnTo>
                    <a:pt x="5116935" y="1596002"/>
                  </a:lnTo>
                  <a:lnTo>
                    <a:pt x="5119003" y="1594328"/>
                  </a:lnTo>
                  <a:close/>
                  <a:moveTo>
                    <a:pt x="6803952" y="1583289"/>
                  </a:moveTo>
                  <a:lnTo>
                    <a:pt x="6821244" y="1588363"/>
                  </a:lnTo>
                  <a:lnTo>
                    <a:pt x="6818100" y="1610352"/>
                  </a:lnTo>
                  <a:lnTo>
                    <a:pt x="6814956" y="1634033"/>
                  </a:lnTo>
                  <a:lnTo>
                    <a:pt x="6811812" y="1657713"/>
                  </a:lnTo>
                  <a:lnTo>
                    <a:pt x="6810240" y="1679702"/>
                  </a:lnTo>
                  <a:lnTo>
                    <a:pt x="6789805" y="1656021"/>
                  </a:lnTo>
                  <a:lnTo>
                    <a:pt x="6785089" y="1620501"/>
                  </a:lnTo>
                  <a:lnTo>
                    <a:pt x="6794521" y="1603586"/>
                  </a:lnTo>
                  <a:close/>
                  <a:moveTo>
                    <a:pt x="1652587" y="1583289"/>
                  </a:moveTo>
                  <a:lnTo>
                    <a:pt x="1657107" y="1605670"/>
                  </a:lnTo>
                  <a:lnTo>
                    <a:pt x="1648071" y="1607392"/>
                  </a:lnTo>
                  <a:lnTo>
                    <a:pt x="1643556" y="1600505"/>
                  </a:lnTo>
                  <a:close/>
                  <a:moveTo>
                    <a:pt x="5963681" y="1582089"/>
                  </a:moveTo>
                  <a:lnTo>
                    <a:pt x="5953954" y="1586968"/>
                  </a:lnTo>
                  <a:lnTo>
                    <a:pt x="5945589" y="1598715"/>
                  </a:lnTo>
                  <a:lnTo>
                    <a:pt x="5946273" y="1599287"/>
                  </a:lnTo>
                  <a:lnTo>
                    <a:pt x="5954439" y="1587763"/>
                  </a:lnTo>
                  <a:lnTo>
                    <a:pt x="5964393" y="1582747"/>
                  </a:lnTo>
                  <a:close/>
                  <a:moveTo>
                    <a:pt x="6205478" y="1573407"/>
                  </a:moveTo>
                  <a:lnTo>
                    <a:pt x="6192418" y="1592930"/>
                  </a:lnTo>
                  <a:lnTo>
                    <a:pt x="6192691" y="1593882"/>
                  </a:lnTo>
                  <a:lnTo>
                    <a:pt x="6205050" y="1575334"/>
                  </a:lnTo>
                  <a:close/>
                  <a:moveTo>
                    <a:pt x="1690252" y="1572744"/>
                  </a:moveTo>
                  <a:lnTo>
                    <a:pt x="1703814" y="1585722"/>
                  </a:lnTo>
                  <a:lnTo>
                    <a:pt x="1699933" y="1596847"/>
                  </a:lnTo>
                  <a:lnTo>
                    <a:pt x="1698004" y="1594993"/>
                  </a:lnTo>
                  <a:lnTo>
                    <a:pt x="1701871" y="1585722"/>
                  </a:lnTo>
                  <a:lnTo>
                    <a:pt x="1698004" y="1582014"/>
                  </a:lnTo>
                  <a:close/>
                  <a:moveTo>
                    <a:pt x="5482331" y="1565180"/>
                  </a:moveTo>
                  <a:lnTo>
                    <a:pt x="5482504" y="1565698"/>
                  </a:lnTo>
                  <a:lnTo>
                    <a:pt x="5492338" y="1567328"/>
                  </a:lnTo>
                  <a:lnTo>
                    <a:pt x="5492186" y="1566828"/>
                  </a:lnTo>
                  <a:close/>
                  <a:moveTo>
                    <a:pt x="3911544" y="1554623"/>
                  </a:moveTo>
                  <a:lnTo>
                    <a:pt x="3911134" y="1555031"/>
                  </a:lnTo>
                  <a:lnTo>
                    <a:pt x="3927946" y="1578443"/>
                  </a:lnTo>
                  <a:lnTo>
                    <a:pt x="3938033" y="1605199"/>
                  </a:lnTo>
                  <a:lnTo>
                    <a:pt x="3968266" y="1608540"/>
                  </a:lnTo>
                  <a:lnTo>
                    <a:pt x="3967772" y="1607478"/>
                  </a:lnTo>
                  <a:lnTo>
                    <a:pt x="3937679" y="1604120"/>
                  </a:lnTo>
                  <a:lnTo>
                    <a:pt x="3927649" y="1577262"/>
                  </a:lnTo>
                  <a:close/>
                  <a:moveTo>
                    <a:pt x="4969806" y="1553160"/>
                  </a:moveTo>
                  <a:lnTo>
                    <a:pt x="4974325" y="1555169"/>
                  </a:lnTo>
                  <a:lnTo>
                    <a:pt x="4969806" y="1559186"/>
                  </a:lnTo>
                  <a:close/>
                  <a:moveTo>
                    <a:pt x="5943915" y="1541654"/>
                  </a:moveTo>
                  <a:lnTo>
                    <a:pt x="5943915" y="1563472"/>
                  </a:lnTo>
                  <a:lnTo>
                    <a:pt x="5944485" y="1563995"/>
                  </a:lnTo>
                  <a:lnTo>
                    <a:pt x="5944485" y="1542615"/>
                  </a:lnTo>
                  <a:lnTo>
                    <a:pt x="5961075" y="1547631"/>
                  </a:lnTo>
                  <a:lnTo>
                    <a:pt x="5969370" y="1557664"/>
                  </a:lnTo>
                  <a:lnTo>
                    <a:pt x="5976006" y="1552648"/>
                  </a:lnTo>
                  <a:lnTo>
                    <a:pt x="5985960" y="1576058"/>
                  </a:lnTo>
                  <a:lnTo>
                    <a:pt x="6014163" y="1579403"/>
                  </a:lnTo>
                  <a:lnTo>
                    <a:pt x="6040707" y="1582747"/>
                  </a:lnTo>
                  <a:lnTo>
                    <a:pt x="6055639" y="1592780"/>
                  </a:lnTo>
                  <a:lnTo>
                    <a:pt x="6050967" y="1603767"/>
                  </a:lnTo>
                  <a:lnTo>
                    <a:pt x="6050992" y="1603750"/>
                  </a:lnTo>
                  <a:lnTo>
                    <a:pt x="6056011" y="1592002"/>
                  </a:lnTo>
                  <a:lnTo>
                    <a:pt x="6040954" y="1581933"/>
                  </a:lnTo>
                  <a:lnTo>
                    <a:pt x="6014184" y="1578576"/>
                  </a:lnTo>
                  <a:lnTo>
                    <a:pt x="5985742" y="1575220"/>
                  </a:lnTo>
                  <a:lnTo>
                    <a:pt x="5975704" y="1551724"/>
                  </a:lnTo>
                  <a:lnTo>
                    <a:pt x="5969012" y="1556759"/>
                  </a:lnTo>
                  <a:lnTo>
                    <a:pt x="5960646" y="1546689"/>
                  </a:lnTo>
                  <a:close/>
                  <a:moveTo>
                    <a:pt x="1636020" y="1539602"/>
                  </a:moveTo>
                  <a:lnTo>
                    <a:pt x="1645055" y="1539602"/>
                  </a:lnTo>
                  <a:lnTo>
                    <a:pt x="1663132" y="1539602"/>
                  </a:lnTo>
                  <a:lnTo>
                    <a:pt x="1652286" y="1542615"/>
                  </a:lnTo>
                  <a:close/>
                  <a:moveTo>
                    <a:pt x="5455914" y="1535210"/>
                  </a:moveTo>
                  <a:lnTo>
                    <a:pt x="5455723" y="1535734"/>
                  </a:lnTo>
                  <a:lnTo>
                    <a:pt x="5475668" y="1545652"/>
                  </a:lnTo>
                  <a:lnTo>
                    <a:pt x="5475455" y="1545011"/>
                  </a:lnTo>
                  <a:close/>
                  <a:moveTo>
                    <a:pt x="6965487" y="1533576"/>
                  </a:moveTo>
                  <a:lnTo>
                    <a:pt x="6968877" y="1535208"/>
                  </a:lnTo>
                  <a:lnTo>
                    <a:pt x="6955319" y="1553160"/>
                  </a:lnTo>
                  <a:close/>
                  <a:moveTo>
                    <a:pt x="1666148" y="1529056"/>
                  </a:moveTo>
                  <a:lnTo>
                    <a:pt x="1687236" y="1548551"/>
                  </a:lnTo>
                  <a:lnTo>
                    <a:pt x="1675735" y="1559185"/>
                  </a:lnTo>
                  <a:lnTo>
                    <a:pt x="1679567" y="1546779"/>
                  </a:lnTo>
                  <a:close/>
                  <a:moveTo>
                    <a:pt x="3443764" y="1519913"/>
                  </a:moveTo>
                  <a:lnTo>
                    <a:pt x="3443764" y="1521038"/>
                  </a:lnTo>
                  <a:lnTo>
                    <a:pt x="3443764" y="1558499"/>
                  </a:lnTo>
                  <a:lnTo>
                    <a:pt x="3445578" y="1558499"/>
                  </a:lnTo>
                  <a:lnTo>
                    <a:pt x="3445578" y="1521116"/>
                  </a:lnTo>
                  <a:close/>
                  <a:moveTo>
                    <a:pt x="6020314" y="1506404"/>
                  </a:moveTo>
                  <a:lnTo>
                    <a:pt x="6019437" y="1506741"/>
                  </a:lnTo>
                  <a:lnTo>
                    <a:pt x="6018754" y="1506741"/>
                  </a:lnTo>
                  <a:lnTo>
                    <a:pt x="6024948" y="1514051"/>
                  </a:lnTo>
                  <a:lnTo>
                    <a:pt x="6034671" y="1528397"/>
                  </a:lnTo>
                  <a:lnTo>
                    <a:pt x="6035934" y="1528228"/>
                  </a:lnTo>
                  <a:lnTo>
                    <a:pt x="6025896" y="1513123"/>
                  </a:lnTo>
                  <a:close/>
                  <a:moveTo>
                    <a:pt x="3262989" y="1498927"/>
                  </a:moveTo>
                  <a:lnTo>
                    <a:pt x="3273534" y="1498927"/>
                  </a:lnTo>
                  <a:lnTo>
                    <a:pt x="3271776" y="1503446"/>
                  </a:lnTo>
                  <a:close/>
                  <a:moveTo>
                    <a:pt x="3253950" y="1482356"/>
                  </a:moveTo>
                  <a:lnTo>
                    <a:pt x="3240392" y="1495914"/>
                  </a:lnTo>
                  <a:lnTo>
                    <a:pt x="3240392" y="1484293"/>
                  </a:lnTo>
                  <a:close/>
                  <a:moveTo>
                    <a:pt x="3320234" y="1473317"/>
                  </a:moveTo>
                  <a:lnTo>
                    <a:pt x="3318393" y="1486205"/>
                  </a:lnTo>
                  <a:lnTo>
                    <a:pt x="3303663" y="1489888"/>
                  </a:lnTo>
                  <a:close/>
                  <a:moveTo>
                    <a:pt x="6134646" y="1469907"/>
                  </a:moveTo>
                  <a:lnTo>
                    <a:pt x="6134646" y="1481236"/>
                  </a:lnTo>
                  <a:lnTo>
                    <a:pt x="6134818" y="1481301"/>
                  </a:lnTo>
                  <a:lnTo>
                    <a:pt x="6134818" y="1469935"/>
                  </a:lnTo>
                  <a:close/>
                  <a:moveTo>
                    <a:pt x="1387437" y="1463783"/>
                  </a:moveTo>
                  <a:lnTo>
                    <a:pt x="1387952" y="1464170"/>
                  </a:lnTo>
                  <a:lnTo>
                    <a:pt x="1382930" y="1469203"/>
                  </a:lnTo>
                  <a:close/>
                  <a:moveTo>
                    <a:pt x="6125413" y="1461222"/>
                  </a:moveTo>
                  <a:lnTo>
                    <a:pt x="6124607" y="1464453"/>
                  </a:lnTo>
                  <a:lnTo>
                    <a:pt x="6125691" y="1464635"/>
                  </a:lnTo>
                  <a:lnTo>
                    <a:pt x="6126457" y="1461570"/>
                  </a:lnTo>
                  <a:close/>
                  <a:moveTo>
                    <a:pt x="3330779" y="1459759"/>
                  </a:moveTo>
                  <a:lnTo>
                    <a:pt x="3327264" y="1462772"/>
                  </a:lnTo>
                  <a:lnTo>
                    <a:pt x="3320234" y="1462772"/>
                  </a:lnTo>
                  <a:close/>
                  <a:moveTo>
                    <a:pt x="1255508" y="1452269"/>
                  </a:moveTo>
                  <a:lnTo>
                    <a:pt x="1255718" y="1452426"/>
                  </a:lnTo>
                  <a:lnTo>
                    <a:pt x="1252370" y="1454104"/>
                  </a:lnTo>
                  <a:close/>
                  <a:moveTo>
                    <a:pt x="1001359" y="1444089"/>
                  </a:moveTo>
                  <a:lnTo>
                    <a:pt x="1001697" y="1445598"/>
                  </a:lnTo>
                  <a:lnTo>
                    <a:pt x="1016808" y="1457279"/>
                  </a:lnTo>
                  <a:lnTo>
                    <a:pt x="1031927" y="1468960"/>
                  </a:lnTo>
                  <a:lnTo>
                    <a:pt x="1050389" y="1447267"/>
                  </a:lnTo>
                  <a:lnTo>
                    <a:pt x="1087328" y="1450604"/>
                  </a:lnTo>
                  <a:lnTo>
                    <a:pt x="1087359" y="1450673"/>
                  </a:lnTo>
                  <a:lnTo>
                    <a:pt x="1086660" y="1449071"/>
                  </a:lnTo>
                  <a:lnTo>
                    <a:pt x="1049836" y="1445715"/>
                  </a:lnTo>
                  <a:lnTo>
                    <a:pt x="1031423" y="1467526"/>
                  </a:lnTo>
                  <a:lnTo>
                    <a:pt x="1016358" y="1455781"/>
                  </a:lnTo>
                  <a:close/>
                  <a:moveTo>
                    <a:pt x="3909632" y="1437437"/>
                  </a:moveTo>
                  <a:lnTo>
                    <a:pt x="3909453" y="1437972"/>
                  </a:lnTo>
                  <a:lnTo>
                    <a:pt x="3920961" y="1473949"/>
                  </a:lnTo>
                  <a:lnTo>
                    <a:pt x="3920961" y="1473188"/>
                  </a:lnTo>
                  <a:close/>
                  <a:moveTo>
                    <a:pt x="5731466" y="1433451"/>
                  </a:moveTo>
                  <a:lnTo>
                    <a:pt x="5718051" y="1454384"/>
                  </a:lnTo>
                  <a:lnTo>
                    <a:pt x="5718051" y="1472845"/>
                  </a:lnTo>
                  <a:lnTo>
                    <a:pt x="5749839" y="1491306"/>
                  </a:lnTo>
                  <a:lnTo>
                    <a:pt x="5783301" y="1506410"/>
                  </a:lnTo>
                  <a:lnTo>
                    <a:pt x="5808397" y="1513123"/>
                  </a:lnTo>
                  <a:lnTo>
                    <a:pt x="5840185" y="1516480"/>
                  </a:lnTo>
                  <a:lnTo>
                    <a:pt x="5855243" y="1531584"/>
                  </a:lnTo>
                  <a:lnTo>
                    <a:pt x="5873646" y="1536619"/>
                  </a:lnTo>
                  <a:lnTo>
                    <a:pt x="5907108" y="1541654"/>
                  </a:lnTo>
                  <a:lnTo>
                    <a:pt x="5935550" y="1543332"/>
                  </a:lnTo>
                  <a:lnTo>
                    <a:pt x="5927864" y="1504784"/>
                  </a:lnTo>
                  <a:lnTo>
                    <a:pt x="5927466" y="1505068"/>
                  </a:lnTo>
                  <a:lnTo>
                    <a:pt x="5926527" y="1504912"/>
                  </a:lnTo>
                  <a:lnTo>
                    <a:pt x="5933940" y="1542615"/>
                  </a:lnTo>
                  <a:lnTo>
                    <a:pt x="5905966" y="1540941"/>
                  </a:lnTo>
                  <a:lnTo>
                    <a:pt x="5873056" y="1535919"/>
                  </a:lnTo>
                  <a:lnTo>
                    <a:pt x="5854955" y="1530898"/>
                  </a:lnTo>
                  <a:lnTo>
                    <a:pt x="5840145" y="1515833"/>
                  </a:lnTo>
                  <a:lnTo>
                    <a:pt x="5808881" y="1512486"/>
                  </a:lnTo>
                  <a:lnTo>
                    <a:pt x="5784198" y="1505790"/>
                  </a:lnTo>
                  <a:lnTo>
                    <a:pt x="5751288" y="1490726"/>
                  </a:lnTo>
                  <a:lnTo>
                    <a:pt x="5720023" y="1472313"/>
                  </a:lnTo>
                  <a:lnTo>
                    <a:pt x="5720023" y="1453901"/>
                  </a:lnTo>
                  <a:lnTo>
                    <a:pt x="5732508" y="1434146"/>
                  </a:lnTo>
                  <a:close/>
                  <a:moveTo>
                    <a:pt x="5356966" y="1429195"/>
                  </a:moveTo>
                  <a:lnTo>
                    <a:pt x="5356801" y="1429965"/>
                  </a:lnTo>
                  <a:lnTo>
                    <a:pt x="5356801" y="1442543"/>
                  </a:lnTo>
                  <a:lnTo>
                    <a:pt x="5356966" y="1442510"/>
                  </a:lnTo>
                  <a:close/>
                  <a:moveTo>
                    <a:pt x="5361852" y="1406517"/>
                  </a:moveTo>
                  <a:lnTo>
                    <a:pt x="5361817" y="1406531"/>
                  </a:lnTo>
                  <a:lnTo>
                    <a:pt x="5357025" y="1428919"/>
                  </a:lnTo>
                  <a:close/>
                  <a:moveTo>
                    <a:pt x="3925977" y="1395294"/>
                  </a:moveTo>
                  <a:lnTo>
                    <a:pt x="3925385" y="1395818"/>
                  </a:lnTo>
                  <a:lnTo>
                    <a:pt x="3925385" y="1418321"/>
                  </a:lnTo>
                  <a:lnTo>
                    <a:pt x="3925977" y="1417793"/>
                  </a:lnTo>
                  <a:close/>
                  <a:moveTo>
                    <a:pt x="4622276" y="1387375"/>
                  </a:moveTo>
                  <a:lnTo>
                    <a:pt x="4604552" y="1394506"/>
                  </a:lnTo>
                  <a:lnTo>
                    <a:pt x="4635224" y="1424477"/>
                  </a:lnTo>
                  <a:lnTo>
                    <a:pt x="4623296" y="1437797"/>
                  </a:lnTo>
                  <a:lnTo>
                    <a:pt x="4604552" y="1442792"/>
                  </a:lnTo>
                  <a:lnTo>
                    <a:pt x="4589261" y="1462714"/>
                  </a:lnTo>
                  <a:lnTo>
                    <a:pt x="4590670" y="1463046"/>
                  </a:lnTo>
                  <a:lnTo>
                    <a:pt x="4605730" y="1442899"/>
                  </a:lnTo>
                  <a:lnTo>
                    <a:pt x="4624137" y="1437863"/>
                  </a:lnTo>
                  <a:lnTo>
                    <a:pt x="4635850" y="1424431"/>
                  </a:lnTo>
                  <a:lnTo>
                    <a:pt x="4605730" y="1394211"/>
                  </a:lnTo>
                  <a:close/>
                  <a:moveTo>
                    <a:pt x="5556344" y="1385790"/>
                  </a:moveTo>
                  <a:lnTo>
                    <a:pt x="5556153" y="1385911"/>
                  </a:lnTo>
                  <a:lnTo>
                    <a:pt x="5562336" y="1405894"/>
                  </a:lnTo>
                  <a:lnTo>
                    <a:pt x="5562455" y="1405714"/>
                  </a:lnTo>
                  <a:close/>
                  <a:moveTo>
                    <a:pt x="2035227" y="1366359"/>
                  </a:moveTo>
                  <a:lnTo>
                    <a:pt x="2035227" y="1367865"/>
                  </a:lnTo>
                  <a:lnTo>
                    <a:pt x="2031460" y="1369372"/>
                  </a:lnTo>
                  <a:lnTo>
                    <a:pt x="2031460" y="1367865"/>
                  </a:lnTo>
                  <a:close/>
                  <a:moveTo>
                    <a:pt x="6957579" y="1361839"/>
                  </a:moveTo>
                  <a:lnTo>
                    <a:pt x="6958332" y="1369371"/>
                  </a:lnTo>
                  <a:lnTo>
                    <a:pt x="6955319" y="1369371"/>
                  </a:lnTo>
                  <a:close/>
                  <a:moveTo>
                    <a:pt x="5418889" y="1356116"/>
                  </a:moveTo>
                  <a:lnTo>
                    <a:pt x="5418671" y="1356316"/>
                  </a:lnTo>
                  <a:lnTo>
                    <a:pt x="5417027" y="1387575"/>
                  </a:lnTo>
                  <a:lnTo>
                    <a:pt x="5417224" y="1387575"/>
                  </a:lnTo>
                  <a:close/>
                  <a:moveTo>
                    <a:pt x="5671919" y="1352574"/>
                  </a:moveTo>
                  <a:lnTo>
                    <a:pt x="5667859" y="1362079"/>
                  </a:lnTo>
                  <a:lnTo>
                    <a:pt x="5652801" y="1360400"/>
                  </a:lnTo>
                  <a:lnTo>
                    <a:pt x="5654367" y="1364664"/>
                  </a:lnTo>
                  <a:lnTo>
                    <a:pt x="5668277" y="1366210"/>
                  </a:lnTo>
                  <a:lnTo>
                    <a:pt x="5673294" y="1354499"/>
                  </a:lnTo>
                  <a:close/>
                  <a:moveTo>
                    <a:pt x="5534393" y="1328107"/>
                  </a:moveTo>
                  <a:lnTo>
                    <a:pt x="5534393" y="1329311"/>
                  </a:lnTo>
                  <a:lnTo>
                    <a:pt x="5539415" y="1345958"/>
                  </a:lnTo>
                  <a:lnTo>
                    <a:pt x="5552805" y="1354281"/>
                  </a:lnTo>
                  <a:lnTo>
                    <a:pt x="5562849" y="1364269"/>
                  </a:lnTo>
                  <a:lnTo>
                    <a:pt x="5572980" y="1372906"/>
                  </a:lnTo>
                  <a:lnTo>
                    <a:pt x="5574167" y="1372148"/>
                  </a:lnTo>
                  <a:lnTo>
                    <a:pt x="5562455" y="1362079"/>
                  </a:lnTo>
                  <a:lnTo>
                    <a:pt x="5552417" y="1352009"/>
                  </a:lnTo>
                  <a:lnTo>
                    <a:pt x="5539032" y="1343618"/>
                  </a:lnTo>
                  <a:close/>
                  <a:moveTo>
                    <a:pt x="5425712" y="1322785"/>
                  </a:moveTo>
                  <a:lnTo>
                    <a:pt x="5425360" y="1322839"/>
                  </a:lnTo>
                  <a:lnTo>
                    <a:pt x="5438715" y="1337880"/>
                  </a:lnTo>
                  <a:lnTo>
                    <a:pt x="5438984" y="1337634"/>
                  </a:lnTo>
                  <a:close/>
                  <a:moveTo>
                    <a:pt x="6961043" y="1322671"/>
                  </a:moveTo>
                  <a:lnTo>
                    <a:pt x="6975279" y="1329189"/>
                  </a:lnTo>
                  <a:lnTo>
                    <a:pt x="6983188" y="1335706"/>
                  </a:lnTo>
                  <a:lnTo>
                    <a:pt x="6984770" y="1338965"/>
                  </a:lnTo>
                  <a:lnTo>
                    <a:pt x="6999006" y="1348742"/>
                  </a:lnTo>
                  <a:lnTo>
                    <a:pt x="6997424" y="1371554"/>
                  </a:lnTo>
                  <a:lnTo>
                    <a:pt x="6994261" y="1392736"/>
                  </a:lnTo>
                  <a:lnTo>
                    <a:pt x="6987934" y="1402513"/>
                  </a:lnTo>
                  <a:lnTo>
                    <a:pt x="6978443" y="1386219"/>
                  </a:lnTo>
                  <a:lnTo>
                    <a:pt x="6980025" y="1400883"/>
                  </a:lnTo>
                  <a:lnTo>
                    <a:pt x="6972116" y="1392736"/>
                  </a:lnTo>
                  <a:lnTo>
                    <a:pt x="6965789" y="1371554"/>
                  </a:lnTo>
                  <a:lnTo>
                    <a:pt x="6965789" y="1358518"/>
                  </a:lnTo>
                  <a:lnTo>
                    <a:pt x="6951553" y="1343853"/>
                  </a:lnTo>
                  <a:lnTo>
                    <a:pt x="6959462" y="1358518"/>
                  </a:lnTo>
                  <a:lnTo>
                    <a:pt x="6949971" y="1358518"/>
                  </a:lnTo>
                  <a:lnTo>
                    <a:pt x="6943644" y="1347112"/>
                  </a:lnTo>
                  <a:lnTo>
                    <a:pt x="6946807" y="1347112"/>
                  </a:lnTo>
                  <a:lnTo>
                    <a:pt x="6935735" y="1337336"/>
                  </a:lnTo>
                  <a:close/>
                  <a:moveTo>
                    <a:pt x="5656147" y="1317241"/>
                  </a:moveTo>
                  <a:lnTo>
                    <a:pt x="5656147" y="1326835"/>
                  </a:lnTo>
                  <a:lnTo>
                    <a:pt x="5656572" y="1327432"/>
                  </a:lnTo>
                  <a:lnTo>
                    <a:pt x="5656572" y="1319366"/>
                  </a:lnTo>
                  <a:close/>
                  <a:moveTo>
                    <a:pt x="5654474" y="1310789"/>
                  </a:moveTo>
                  <a:lnTo>
                    <a:pt x="5654474" y="1313409"/>
                  </a:lnTo>
                  <a:lnTo>
                    <a:pt x="5655609" y="1314547"/>
                  </a:lnTo>
                  <a:lnTo>
                    <a:pt x="5654900" y="1311001"/>
                  </a:lnTo>
                  <a:close/>
                  <a:moveTo>
                    <a:pt x="7039513" y="1309113"/>
                  </a:moveTo>
                  <a:lnTo>
                    <a:pt x="7051229" y="1317165"/>
                  </a:lnTo>
                  <a:lnTo>
                    <a:pt x="7056251" y="1325216"/>
                  </a:lnTo>
                  <a:lnTo>
                    <a:pt x="7044534" y="1338099"/>
                  </a:lnTo>
                  <a:lnTo>
                    <a:pt x="7024448" y="1338099"/>
                  </a:lnTo>
                  <a:lnTo>
                    <a:pt x="7022774" y="1355813"/>
                  </a:lnTo>
                  <a:lnTo>
                    <a:pt x="7006036" y="1344540"/>
                  </a:lnTo>
                  <a:lnTo>
                    <a:pt x="7001015" y="1334878"/>
                  </a:lnTo>
                  <a:lnTo>
                    <a:pt x="6995993" y="1336489"/>
                  </a:lnTo>
                  <a:lnTo>
                    <a:pt x="7011057" y="1318775"/>
                  </a:lnTo>
                  <a:lnTo>
                    <a:pt x="7024448" y="1317165"/>
                  </a:lnTo>
                  <a:close/>
                  <a:moveTo>
                    <a:pt x="5522676" y="1305501"/>
                  </a:moveTo>
                  <a:lnTo>
                    <a:pt x="5522676" y="1307670"/>
                  </a:lnTo>
                  <a:lnTo>
                    <a:pt x="5534013" y="1322165"/>
                  </a:lnTo>
                  <a:lnTo>
                    <a:pt x="5534013" y="1320122"/>
                  </a:lnTo>
                  <a:close/>
                  <a:moveTo>
                    <a:pt x="4258978" y="1271452"/>
                  </a:moveTo>
                  <a:lnTo>
                    <a:pt x="4271066" y="1271452"/>
                  </a:lnTo>
                  <a:lnTo>
                    <a:pt x="4310785" y="1278817"/>
                  </a:lnTo>
                  <a:lnTo>
                    <a:pt x="4328055" y="1282499"/>
                  </a:lnTo>
                  <a:lnTo>
                    <a:pt x="4307332" y="1288023"/>
                  </a:lnTo>
                  <a:lnTo>
                    <a:pt x="4281428" y="1286182"/>
                  </a:lnTo>
                  <a:lnTo>
                    <a:pt x="4257251" y="1282499"/>
                  </a:lnTo>
                  <a:close/>
                  <a:moveTo>
                    <a:pt x="4531427" y="1268439"/>
                  </a:moveTo>
                  <a:lnTo>
                    <a:pt x="4514418" y="1284296"/>
                  </a:lnTo>
                  <a:lnTo>
                    <a:pt x="4517820" y="1289053"/>
                  </a:lnTo>
                  <a:lnTo>
                    <a:pt x="4487205" y="1298568"/>
                  </a:lnTo>
                  <a:lnTo>
                    <a:pt x="4478701" y="1285882"/>
                  </a:lnTo>
                  <a:lnTo>
                    <a:pt x="4499111" y="1277953"/>
                  </a:lnTo>
                  <a:close/>
                  <a:moveTo>
                    <a:pt x="4822465" y="1266335"/>
                  </a:moveTo>
                  <a:lnTo>
                    <a:pt x="4822465" y="1278492"/>
                  </a:lnTo>
                  <a:lnTo>
                    <a:pt x="4814058" y="1306715"/>
                  </a:lnTo>
                  <a:lnTo>
                    <a:pt x="4814191" y="1308028"/>
                  </a:lnTo>
                  <a:lnTo>
                    <a:pt x="4822510" y="1279700"/>
                  </a:lnTo>
                  <a:lnTo>
                    <a:pt x="4822510" y="1266355"/>
                  </a:lnTo>
                  <a:close/>
                  <a:moveTo>
                    <a:pt x="4026763" y="1257894"/>
                  </a:moveTo>
                  <a:lnTo>
                    <a:pt x="4032789" y="1260907"/>
                  </a:lnTo>
                  <a:lnTo>
                    <a:pt x="4030780" y="1262413"/>
                  </a:lnTo>
                  <a:close/>
                  <a:moveTo>
                    <a:pt x="4571660" y="1257135"/>
                  </a:moveTo>
                  <a:lnTo>
                    <a:pt x="4567689" y="1261144"/>
                  </a:lnTo>
                  <a:lnTo>
                    <a:pt x="4567727" y="1261222"/>
                  </a:lnTo>
                  <a:close/>
                  <a:moveTo>
                    <a:pt x="4580656" y="1238388"/>
                  </a:moveTo>
                  <a:lnTo>
                    <a:pt x="4579779" y="1238831"/>
                  </a:lnTo>
                  <a:lnTo>
                    <a:pt x="4576490" y="1252118"/>
                  </a:lnTo>
                  <a:lnTo>
                    <a:pt x="4577640" y="1250922"/>
                  </a:lnTo>
                  <a:close/>
                  <a:moveTo>
                    <a:pt x="1782978" y="1235999"/>
                  </a:moveTo>
                  <a:lnTo>
                    <a:pt x="1784652" y="1262843"/>
                  </a:lnTo>
                  <a:lnTo>
                    <a:pt x="1781871" y="1248208"/>
                  </a:lnTo>
                  <a:close/>
                  <a:moveTo>
                    <a:pt x="4718140" y="1224994"/>
                  </a:moveTo>
                  <a:lnTo>
                    <a:pt x="4696602" y="1245772"/>
                  </a:lnTo>
                  <a:lnTo>
                    <a:pt x="4696602" y="1246727"/>
                  </a:lnTo>
                  <a:lnTo>
                    <a:pt x="4719899" y="1225367"/>
                  </a:lnTo>
                  <a:lnTo>
                    <a:pt x="4719911" y="1225351"/>
                  </a:lnTo>
                  <a:close/>
                  <a:moveTo>
                    <a:pt x="4724934" y="1218617"/>
                  </a:moveTo>
                  <a:lnTo>
                    <a:pt x="4720841" y="1224127"/>
                  </a:lnTo>
                  <a:lnTo>
                    <a:pt x="4724944" y="1218726"/>
                  </a:lnTo>
                  <a:lnTo>
                    <a:pt x="4760052" y="1218726"/>
                  </a:lnTo>
                  <a:lnTo>
                    <a:pt x="4759971" y="1218617"/>
                  </a:lnTo>
                  <a:close/>
                  <a:moveTo>
                    <a:pt x="5498096" y="1217050"/>
                  </a:moveTo>
                  <a:lnTo>
                    <a:pt x="5477813" y="1218709"/>
                  </a:lnTo>
                  <a:lnTo>
                    <a:pt x="5477464" y="1218899"/>
                  </a:lnTo>
                  <a:lnTo>
                    <a:pt x="5495591" y="1217387"/>
                  </a:lnTo>
                  <a:lnTo>
                    <a:pt x="5503952" y="1219061"/>
                  </a:lnTo>
                  <a:lnTo>
                    <a:pt x="5525690" y="1222408"/>
                  </a:lnTo>
                  <a:lnTo>
                    <a:pt x="5524018" y="1222408"/>
                  </a:lnTo>
                  <a:lnTo>
                    <a:pt x="5517329" y="1222408"/>
                  </a:lnTo>
                  <a:lnTo>
                    <a:pt x="5517329" y="1227430"/>
                  </a:lnTo>
                  <a:lnTo>
                    <a:pt x="5509666" y="1229135"/>
                  </a:lnTo>
                  <a:lnTo>
                    <a:pt x="5487230" y="1234125"/>
                  </a:lnTo>
                  <a:lnTo>
                    <a:pt x="5457131" y="1242495"/>
                  </a:lnTo>
                  <a:lnTo>
                    <a:pt x="5445426" y="1259233"/>
                  </a:lnTo>
                  <a:lnTo>
                    <a:pt x="5458803" y="1284341"/>
                  </a:lnTo>
                  <a:lnTo>
                    <a:pt x="5452114" y="1306101"/>
                  </a:lnTo>
                  <a:lnTo>
                    <a:pt x="5447149" y="1319354"/>
                  </a:lnTo>
                  <a:lnTo>
                    <a:pt x="5447353" y="1319322"/>
                  </a:lnTo>
                  <a:lnTo>
                    <a:pt x="5452375" y="1306005"/>
                  </a:lnTo>
                  <a:lnTo>
                    <a:pt x="5459070" y="1284364"/>
                  </a:lnTo>
                  <a:lnTo>
                    <a:pt x="5445680" y="1259393"/>
                  </a:lnTo>
                  <a:lnTo>
                    <a:pt x="5457396" y="1242746"/>
                  </a:lnTo>
                  <a:lnTo>
                    <a:pt x="5487526" y="1234423"/>
                  </a:lnTo>
                  <a:lnTo>
                    <a:pt x="5509811" y="1229497"/>
                  </a:lnTo>
                  <a:lnTo>
                    <a:pt x="5517655" y="1227764"/>
                  </a:lnTo>
                  <a:lnTo>
                    <a:pt x="5517780" y="1227799"/>
                  </a:lnTo>
                  <a:lnTo>
                    <a:pt x="5517780" y="1224006"/>
                  </a:lnTo>
                  <a:lnTo>
                    <a:pt x="5524469" y="1224006"/>
                  </a:lnTo>
                  <a:lnTo>
                    <a:pt x="5526141" y="1224006"/>
                  </a:lnTo>
                  <a:lnTo>
                    <a:pt x="5527228" y="1221832"/>
                  </a:lnTo>
                  <a:lnTo>
                    <a:pt x="5506546" y="1218709"/>
                  </a:lnTo>
                  <a:close/>
                  <a:moveTo>
                    <a:pt x="1798043" y="1204122"/>
                  </a:moveTo>
                  <a:lnTo>
                    <a:pt x="1784652" y="1217544"/>
                  </a:lnTo>
                  <a:lnTo>
                    <a:pt x="1791347" y="1207478"/>
                  </a:lnTo>
                  <a:close/>
                  <a:moveTo>
                    <a:pt x="4764664" y="1203552"/>
                  </a:moveTo>
                  <a:lnTo>
                    <a:pt x="4779993" y="1223670"/>
                  </a:lnTo>
                  <a:lnTo>
                    <a:pt x="4765264" y="1225323"/>
                  </a:lnTo>
                  <a:lnTo>
                    <a:pt x="4765297" y="1225367"/>
                  </a:lnTo>
                  <a:lnTo>
                    <a:pt x="4780167" y="1223735"/>
                  </a:lnTo>
                  <a:close/>
                  <a:moveTo>
                    <a:pt x="7086381" y="1188597"/>
                  </a:moveTo>
                  <a:lnTo>
                    <a:pt x="7089394" y="1197636"/>
                  </a:lnTo>
                  <a:lnTo>
                    <a:pt x="7086381" y="1197636"/>
                  </a:lnTo>
                  <a:close/>
                  <a:moveTo>
                    <a:pt x="4174396" y="1188597"/>
                  </a:moveTo>
                  <a:lnTo>
                    <a:pt x="4180422" y="1191610"/>
                  </a:lnTo>
                  <a:lnTo>
                    <a:pt x="4175601" y="1191610"/>
                  </a:lnTo>
                  <a:close/>
                  <a:moveTo>
                    <a:pt x="4053879" y="1188597"/>
                  </a:moveTo>
                  <a:lnTo>
                    <a:pt x="4043635" y="1219453"/>
                  </a:lnTo>
                  <a:lnTo>
                    <a:pt x="4043635" y="1238310"/>
                  </a:lnTo>
                  <a:lnTo>
                    <a:pt x="4012903" y="1226310"/>
                  </a:lnTo>
                  <a:lnTo>
                    <a:pt x="3982172" y="1212596"/>
                  </a:lnTo>
                  <a:lnTo>
                    <a:pt x="3977050" y="1197168"/>
                  </a:lnTo>
                  <a:lnTo>
                    <a:pt x="3999245" y="1195454"/>
                  </a:lnTo>
                  <a:lnTo>
                    <a:pt x="4026562" y="1193740"/>
                  </a:lnTo>
                  <a:close/>
                  <a:moveTo>
                    <a:pt x="5423728" y="1185533"/>
                  </a:moveTo>
                  <a:lnTo>
                    <a:pt x="5422332" y="1186218"/>
                  </a:lnTo>
                  <a:lnTo>
                    <a:pt x="5428704" y="1198975"/>
                  </a:lnTo>
                  <a:lnTo>
                    <a:pt x="5435393" y="1198975"/>
                  </a:lnTo>
                  <a:lnTo>
                    <a:pt x="5445426" y="1235799"/>
                  </a:lnTo>
                  <a:lnTo>
                    <a:pt x="5447248" y="1234786"/>
                  </a:lnTo>
                  <a:lnTo>
                    <a:pt x="5437249" y="1198803"/>
                  </a:lnTo>
                  <a:lnTo>
                    <a:pt x="5430489" y="1198803"/>
                  </a:lnTo>
                  <a:close/>
                  <a:moveTo>
                    <a:pt x="4314497" y="1181064"/>
                  </a:moveTo>
                  <a:lnTo>
                    <a:pt x="4312488" y="1188596"/>
                  </a:lnTo>
                  <a:lnTo>
                    <a:pt x="4308471" y="1182947"/>
                  </a:lnTo>
                  <a:close/>
                  <a:moveTo>
                    <a:pt x="5348544" y="1171782"/>
                  </a:moveTo>
                  <a:lnTo>
                    <a:pt x="5354950" y="1181384"/>
                  </a:lnTo>
                  <a:lnTo>
                    <a:pt x="5348220" y="1201561"/>
                  </a:lnTo>
                  <a:lnTo>
                    <a:pt x="5343172" y="1221738"/>
                  </a:lnTo>
                  <a:lnTo>
                    <a:pt x="5317934" y="1216694"/>
                  </a:lnTo>
                  <a:lnTo>
                    <a:pt x="5295075" y="1213430"/>
                  </a:lnTo>
                  <a:lnTo>
                    <a:pt x="5295201" y="1213655"/>
                  </a:lnTo>
                  <a:lnTo>
                    <a:pt x="5285121" y="1222031"/>
                  </a:lnTo>
                  <a:lnTo>
                    <a:pt x="5276721" y="1228731"/>
                  </a:lnTo>
                  <a:lnTo>
                    <a:pt x="5276588" y="1229063"/>
                  </a:lnTo>
                  <a:lnTo>
                    <a:pt x="5284897" y="1222408"/>
                  </a:lnTo>
                  <a:lnTo>
                    <a:pt x="5294930" y="1214039"/>
                  </a:lnTo>
                  <a:lnTo>
                    <a:pt x="5318341" y="1217387"/>
                  </a:lnTo>
                  <a:lnTo>
                    <a:pt x="5343423" y="1222408"/>
                  </a:lnTo>
                  <a:lnTo>
                    <a:pt x="5351784" y="1225756"/>
                  </a:lnTo>
                  <a:lnTo>
                    <a:pt x="5365161" y="1224082"/>
                  </a:lnTo>
                  <a:lnTo>
                    <a:pt x="5381883" y="1224082"/>
                  </a:lnTo>
                  <a:lnTo>
                    <a:pt x="5382181" y="1223685"/>
                  </a:lnTo>
                  <a:lnTo>
                    <a:pt x="5366262" y="1223685"/>
                  </a:lnTo>
                  <a:lnTo>
                    <a:pt x="5352741" y="1225344"/>
                  </a:lnTo>
                  <a:lnTo>
                    <a:pt x="5344290" y="1222026"/>
                  </a:lnTo>
                  <a:lnTo>
                    <a:pt x="5349360" y="1202121"/>
                  </a:lnTo>
                  <a:lnTo>
                    <a:pt x="5356121" y="1182215"/>
                  </a:lnTo>
                  <a:lnTo>
                    <a:pt x="5349360" y="1172263"/>
                  </a:lnTo>
                  <a:close/>
                  <a:moveTo>
                    <a:pt x="4234654" y="1167506"/>
                  </a:moveTo>
                  <a:lnTo>
                    <a:pt x="4252606" y="1174285"/>
                  </a:lnTo>
                  <a:lnTo>
                    <a:pt x="4273822" y="1194622"/>
                  </a:lnTo>
                  <a:lnTo>
                    <a:pt x="4254238" y="1181064"/>
                  </a:lnTo>
                  <a:close/>
                  <a:moveTo>
                    <a:pt x="4303951" y="1158467"/>
                  </a:moveTo>
                  <a:lnTo>
                    <a:pt x="4318865" y="1161480"/>
                  </a:lnTo>
                  <a:lnTo>
                    <a:pt x="4320522" y="1164493"/>
                  </a:lnTo>
                  <a:lnTo>
                    <a:pt x="4310579" y="1162986"/>
                  </a:lnTo>
                  <a:close/>
                  <a:moveTo>
                    <a:pt x="4783442" y="1152647"/>
                  </a:moveTo>
                  <a:lnTo>
                    <a:pt x="4783597" y="1152742"/>
                  </a:lnTo>
                  <a:lnTo>
                    <a:pt x="4789838" y="1154349"/>
                  </a:lnTo>
                  <a:lnTo>
                    <a:pt x="4793924" y="1154349"/>
                  </a:lnTo>
                  <a:lnTo>
                    <a:pt x="4792961" y="1153847"/>
                  </a:lnTo>
                  <a:lnTo>
                    <a:pt x="4788048" y="1153847"/>
                  </a:lnTo>
                  <a:close/>
                  <a:moveTo>
                    <a:pt x="4763985" y="1147018"/>
                  </a:moveTo>
                  <a:lnTo>
                    <a:pt x="4754966" y="1154606"/>
                  </a:lnTo>
                  <a:lnTo>
                    <a:pt x="4756635" y="1171451"/>
                  </a:lnTo>
                  <a:lnTo>
                    <a:pt x="4763308" y="1201772"/>
                  </a:lnTo>
                  <a:lnTo>
                    <a:pt x="4764215" y="1202962"/>
                  </a:lnTo>
                  <a:lnTo>
                    <a:pt x="4757554" y="1172943"/>
                  </a:lnTo>
                  <a:lnTo>
                    <a:pt x="4755889" y="1156262"/>
                  </a:lnTo>
                  <a:lnTo>
                    <a:pt x="4765882" y="1147922"/>
                  </a:lnTo>
                  <a:lnTo>
                    <a:pt x="4767547" y="1149590"/>
                  </a:lnTo>
                  <a:lnTo>
                    <a:pt x="4772544" y="1156262"/>
                  </a:lnTo>
                  <a:lnTo>
                    <a:pt x="4796727" y="1169718"/>
                  </a:lnTo>
                  <a:lnTo>
                    <a:pt x="4772675" y="1155956"/>
                  </a:lnTo>
                  <a:lnTo>
                    <a:pt x="4767994" y="1149529"/>
                  </a:lnTo>
                  <a:lnTo>
                    <a:pt x="4766434" y="1147922"/>
                  </a:lnTo>
                  <a:lnTo>
                    <a:pt x="4774756" y="1147922"/>
                  </a:lnTo>
                  <a:lnTo>
                    <a:pt x="4773311" y="1147018"/>
                  </a:lnTo>
                  <a:close/>
                  <a:moveTo>
                    <a:pt x="3745431" y="1141896"/>
                  </a:moveTo>
                  <a:lnTo>
                    <a:pt x="3755600" y="1146039"/>
                  </a:lnTo>
                  <a:lnTo>
                    <a:pt x="3740347" y="1158467"/>
                  </a:lnTo>
                  <a:lnTo>
                    <a:pt x="3728484" y="1146039"/>
                  </a:lnTo>
                  <a:close/>
                  <a:moveTo>
                    <a:pt x="4809203" y="1126696"/>
                  </a:moveTo>
                  <a:lnTo>
                    <a:pt x="4801148" y="1136774"/>
                  </a:lnTo>
                  <a:lnTo>
                    <a:pt x="4819160" y="1164091"/>
                  </a:lnTo>
                  <a:lnTo>
                    <a:pt x="4809950" y="1167292"/>
                  </a:lnTo>
                  <a:lnTo>
                    <a:pt x="4800819" y="1171994"/>
                  </a:lnTo>
                  <a:lnTo>
                    <a:pt x="4802523" y="1172943"/>
                  </a:lnTo>
                  <a:lnTo>
                    <a:pt x="4822510" y="1164603"/>
                  </a:lnTo>
                  <a:lnTo>
                    <a:pt x="4844865" y="1148611"/>
                  </a:lnTo>
                  <a:lnTo>
                    <a:pt x="4844055" y="1147023"/>
                  </a:lnTo>
                  <a:lnTo>
                    <a:pt x="4820104" y="1163789"/>
                  </a:lnTo>
                  <a:lnTo>
                    <a:pt x="4801286" y="1136964"/>
                  </a:lnTo>
                  <a:lnTo>
                    <a:pt x="4809840" y="1126905"/>
                  </a:lnTo>
                  <a:close/>
                  <a:moveTo>
                    <a:pt x="5517206" y="1124519"/>
                  </a:moveTo>
                  <a:lnTo>
                    <a:pt x="5505389" y="1126217"/>
                  </a:lnTo>
                  <a:lnTo>
                    <a:pt x="5486821" y="1136401"/>
                  </a:lnTo>
                  <a:lnTo>
                    <a:pt x="5486719" y="1136623"/>
                  </a:lnTo>
                  <a:lnTo>
                    <a:pt x="5504403" y="1126973"/>
                  </a:lnTo>
                  <a:lnTo>
                    <a:pt x="5516108" y="1125300"/>
                  </a:lnTo>
                  <a:lnTo>
                    <a:pt x="5529486" y="1128646"/>
                  </a:lnTo>
                  <a:lnTo>
                    <a:pt x="5530254" y="1127800"/>
                  </a:lnTo>
                  <a:close/>
                  <a:moveTo>
                    <a:pt x="5402344" y="1123412"/>
                  </a:moveTo>
                  <a:lnTo>
                    <a:pt x="5389925" y="1127475"/>
                  </a:lnTo>
                  <a:lnTo>
                    <a:pt x="5389941" y="1127570"/>
                  </a:lnTo>
                  <a:close/>
                  <a:moveTo>
                    <a:pt x="5140338" y="1105998"/>
                  </a:moveTo>
                  <a:lnTo>
                    <a:pt x="5140639" y="1106450"/>
                  </a:lnTo>
                  <a:lnTo>
                    <a:pt x="5172560" y="1118175"/>
                  </a:lnTo>
                  <a:lnTo>
                    <a:pt x="5194400" y="1131576"/>
                  </a:lnTo>
                  <a:lnTo>
                    <a:pt x="5231303" y="1153653"/>
                  </a:lnTo>
                  <a:lnTo>
                    <a:pt x="5193426" y="1130942"/>
                  </a:lnTo>
                  <a:lnTo>
                    <a:pt x="5171554" y="1117491"/>
                  </a:lnTo>
                  <a:close/>
                  <a:moveTo>
                    <a:pt x="1920734" y="1105930"/>
                  </a:moveTo>
                  <a:lnTo>
                    <a:pt x="1904808" y="1111014"/>
                  </a:lnTo>
                  <a:lnTo>
                    <a:pt x="1905506" y="1109531"/>
                  </a:lnTo>
                  <a:close/>
                  <a:moveTo>
                    <a:pt x="1907994" y="1104235"/>
                  </a:moveTo>
                  <a:lnTo>
                    <a:pt x="1905506" y="1109531"/>
                  </a:lnTo>
                  <a:lnTo>
                    <a:pt x="1892068" y="1112709"/>
                  </a:lnTo>
                  <a:lnTo>
                    <a:pt x="1864995" y="1117793"/>
                  </a:lnTo>
                  <a:close/>
                  <a:moveTo>
                    <a:pt x="5574020" y="1102599"/>
                  </a:moveTo>
                  <a:lnTo>
                    <a:pt x="5547592" y="1109243"/>
                  </a:lnTo>
                  <a:lnTo>
                    <a:pt x="5546828" y="1110088"/>
                  </a:lnTo>
                  <a:lnTo>
                    <a:pt x="5572963" y="1103551"/>
                  </a:lnTo>
                  <a:close/>
                  <a:moveTo>
                    <a:pt x="3892311" y="1101222"/>
                  </a:moveTo>
                  <a:lnTo>
                    <a:pt x="3909259" y="1123137"/>
                  </a:lnTo>
                  <a:lnTo>
                    <a:pt x="3902480" y="1158539"/>
                  </a:lnTo>
                  <a:lnTo>
                    <a:pt x="3890617" y="1161911"/>
                  </a:lnTo>
                  <a:lnTo>
                    <a:pt x="3880448" y="1172026"/>
                  </a:lnTo>
                  <a:lnTo>
                    <a:pt x="3875364" y="1155168"/>
                  </a:lnTo>
                  <a:lnTo>
                    <a:pt x="3870280" y="1133252"/>
                  </a:lnTo>
                  <a:lnTo>
                    <a:pt x="3868585" y="1111337"/>
                  </a:lnTo>
                  <a:close/>
                  <a:moveTo>
                    <a:pt x="7091659" y="1095196"/>
                  </a:moveTo>
                  <a:lnTo>
                    <a:pt x="7103298" y="1098504"/>
                  </a:lnTo>
                  <a:lnTo>
                    <a:pt x="7124913" y="1124967"/>
                  </a:lnTo>
                  <a:lnTo>
                    <a:pt x="7151515" y="1151430"/>
                  </a:lnTo>
                  <a:lnTo>
                    <a:pt x="7153178" y="1186163"/>
                  </a:lnTo>
                  <a:lnTo>
                    <a:pt x="7148190" y="1196086"/>
                  </a:lnTo>
                  <a:lnTo>
                    <a:pt x="7161491" y="1234127"/>
                  </a:lnTo>
                  <a:lnTo>
                    <a:pt x="7179781" y="1262244"/>
                  </a:lnTo>
                  <a:lnTo>
                    <a:pt x="7169805" y="1290361"/>
                  </a:lnTo>
                  <a:lnTo>
                    <a:pt x="7163154" y="1273822"/>
                  </a:lnTo>
                  <a:lnTo>
                    <a:pt x="7158166" y="1265552"/>
                  </a:lnTo>
                  <a:lnTo>
                    <a:pt x="7159829" y="1280438"/>
                  </a:lnTo>
                  <a:lnTo>
                    <a:pt x="7148190" y="1283745"/>
                  </a:lnTo>
                  <a:lnTo>
                    <a:pt x="7144865" y="1295323"/>
                  </a:lnTo>
                  <a:lnTo>
                    <a:pt x="7139877" y="1282092"/>
                  </a:lnTo>
                  <a:lnTo>
                    <a:pt x="7133226" y="1296977"/>
                  </a:lnTo>
                  <a:lnTo>
                    <a:pt x="7104960" y="1295323"/>
                  </a:lnTo>
                  <a:lnTo>
                    <a:pt x="7098310" y="1292015"/>
                  </a:lnTo>
                  <a:lnTo>
                    <a:pt x="7089996" y="1285399"/>
                  </a:lnTo>
                  <a:lnTo>
                    <a:pt x="7093322" y="1300285"/>
                  </a:lnTo>
                  <a:lnTo>
                    <a:pt x="7099972" y="1306901"/>
                  </a:lnTo>
                  <a:lnTo>
                    <a:pt x="7089996" y="1320132"/>
                  </a:lnTo>
                  <a:lnTo>
                    <a:pt x="7085008" y="1331710"/>
                  </a:lnTo>
                  <a:lnTo>
                    <a:pt x="7061731" y="1313516"/>
                  </a:lnTo>
                  <a:lnTo>
                    <a:pt x="7060068" y="1293669"/>
                  </a:lnTo>
                  <a:lnTo>
                    <a:pt x="7028477" y="1296977"/>
                  </a:lnTo>
                  <a:lnTo>
                    <a:pt x="6993561" y="1305247"/>
                  </a:lnTo>
                  <a:lnTo>
                    <a:pt x="6983585" y="1316824"/>
                  </a:lnTo>
                  <a:lnTo>
                    <a:pt x="6955319" y="1313516"/>
                  </a:lnTo>
                  <a:lnTo>
                    <a:pt x="6960307" y="1303593"/>
                  </a:lnTo>
                  <a:lnTo>
                    <a:pt x="6978597" y="1285399"/>
                  </a:lnTo>
                  <a:lnTo>
                    <a:pt x="6993561" y="1270514"/>
                  </a:lnTo>
                  <a:lnTo>
                    <a:pt x="7018501" y="1267206"/>
                  </a:lnTo>
                  <a:lnTo>
                    <a:pt x="7043441" y="1265552"/>
                  </a:lnTo>
                  <a:lnTo>
                    <a:pt x="7050092" y="1270514"/>
                  </a:lnTo>
                  <a:lnTo>
                    <a:pt x="7063393" y="1262244"/>
                  </a:lnTo>
                  <a:lnTo>
                    <a:pt x="7060068" y="1245705"/>
                  </a:lnTo>
                  <a:lnTo>
                    <a:pt x="7058405" y="1222550"/>
                  </a:lnTo>
                  <a:lnTo>
                    <a:pt x="7068381" y="1215934"/>
                  </a:lnTo>
                  <a:lnTo>
                    <a:pt x="7065056" y="1224204"/>
                  </a:lnTo>
                  <a:lnTo>
                    <a:pt x="7075032" y="1234127"/>
                  </a:lnTo>
                  <a:lnTo>
                    <a:pt x="7088334" y="1222550"/>
                  </a:lnTo>
                  <a:lnTo>
                    <a:pt x="7099972" y="1210972"/>
                  </a:lnTo>
                  <a:lnTo>
                    <a:pt x="7103298" y="1187817"/>
                  </a:lnTo>
                  <a:lnTo>
                    <a:pt x="7104960" y="1164662"/>
                  </a:lnTo>
                  <a:lnTo>
                    <a:pt x="7091659" y="1143160"/>
                  </a:lnTo>
                  <a:lnTo>
                    <a:pt x="7081683" y="1116697"/>
                  </a:lnTo>
                  <a:lnTo>
                    <a:pt x="7083345" y="1103466"/>
                  </a:lnTo>
                  <a:lnTo>
                    <a:pt x="7098310" y="1111735"/>
                  </a:lnTo>
                  <a:lnTo>
                    <a:pt x="7103298" y="1106773"/>
                  </a:lnTo>
                  <a:lnTo>
                    <a:pt x="7099972" y="1101812"/>
                  </a:lnTo>
                  <a:lnTo>
                    <a:pt x="7089996" y="1101812"/>
                  </a:lnTo>
                  <a:close/>
                  <a:moveTo>
                    <a:pt x="4801088" y="1095146"/>
                  </a:moveTo>
                  <a:lnTo>
                    <a:pt x="4799510" y="1123116"/>
                  </a:lnTo>
                  <a:lnTo>
                    <a:pt x="4799600" y="1123147"/>
                  </a:lnTo>
                  <a:lnTo>
                    <a:pt x="4801280" y="1095160"/>
                  </a:lnTo>
                  <a:close/>
                  <a:moveTo>
                    <a:pt x="5388070" y="1086075"/>
                  </a:moveTo>
                  <a:lnTo>
                    <a:pt x="5371775" y="1102358"/>
                  </a:lnTo>
                  <a:lnTo>
                    <a:pt x="5344855" y="1124217"/>
                  </a:lnTo>
                  <a:lnTo>
                    <a:pt x="5321299" y="1147756"/>
                  </a:lnTo>
                  <a:lnTo>
                    <a:pt x="5331395" y="1161207"/>
                  </a:lnTo>
                  <a:lnTo>
                    <a:pt x="5331803" y="1161452"/>
                  </a:lnTo>
                  <a:lnTo>
                    <a:pt x="5322318" y="1149039"/>
                  </a:lnTo>
                  <a:lnTo>
                    <a:pt x="5345980" y="1125816"/>
                  </a:lnTo>
                  <a:lnTo>
                    <a:pt x="5373023" y="1104252"/>
                  </a:lnTo>
                  <a:lnTo>
                    <a:pt x="5389925" y="1087664"/>
                  </a:lnTo>
                  <a:lnTo>
                    <a:pt x="5424845" y="1092560"/>
                  </a:lnTo>
                  <a:lnTo>
                    <a:pt x="5424361" y="1092268"/>
                  </a:lnTo>
                  <a:lnTo>
                    <a:pt x="5388912" y="1087176"/>
                  </a:lnTo>
                  <a:close/>
                  <a:moveTo>
                    <a:pt x="3510045" y="1083468"/>
                  </a:moveTo>
                  <a:lnTo>
                    <a:pt x="3514567" y="1095738"/>
                  </a:lnTo>
                  <a:lnTo>
                    <a:pt x="3499596" y="1110972"/>
                  </a:lnTo>
                  <a:lnTo>
                    <a:pt x="3492949" y="1146486"/>
                  </a:lnTo>
                  <a:lnTo>
                    <a:pt x="3494447" y="1146238"/>
                  </a:lnTo>
                  <a:lnTo>
                    <a:pt x="3501085" y="1111578"/>
                  </a:lnTo>
                  <a:lnTo>
                    <a:pt x="3516022" y="1096724"/>
                  </a:lnTo>
                  <a:lnTo>
                    <a:pt x="3511043" y="1083520"/>
                  </a:lnTo>
                  <a:close/>
                  <a:moveTo>
                    <a:pt x="6770207" y="1082823"/>
                  </a:moveTo>
                  <a:lnTo>
                    <a:pt x="6768577" y="1083475"/>
                  </a:lnTo>
                  <a:lnTo>
                    <a:pt x="6776591" y="1095502"/>
                  </a:lnTo>
                  <a:lnTo>
                    <a:pt x="6779126" y="1096206"/>
                  </a:lnTo>
                  <a:close/>
                  <a:moveTo>
                    <a:pt x="1972122" y="1074937"/>
                  </a:moveTo>
                  <a:lnTo>
                    <a:pt x="1973796" y="1083326"/>
                  </a:lnTo>
                  <a:lnTo>
                    <a:pt x="1973281" y="1083068"/>
                  </a:lnTo>
                  <a:close/>
                  <a:moveTo>
                    <a:pt x="4206715" y="1067009"/>
                  </a:moveTo>
                  <a:lnTo>
                    <a:pt x="4198594" y="1070260"/>
                  </a:lnTo>
                  <a:lnTo>
                    <a:pt x="4193721" y="1071886"/>
                  </a:lnTo>
                  <a:lnTo>
                    <a:pt x="4190473" y="1071886"/>
                  </a:lnTo>
                  <a:lnTo>
                    <a:pt x="4187225" y="1070260"/>
                  </a:lnTo>
                  <a:lnTo>
                    <a:pt x="4182352" y="1075136"/>
                  </a:lnTo>
                  <a:lnTo>
                    <a:pt x="4177480" y="1073511"/>
                  </a:lnTo>
                  <a:lnTo>
                    <a:pt x="4169359" y="1075136"/>
                  </a:lnTo>
                  <a:lnTo>
                    <a:pt x="4169359" y="1076076"/>
                  </a:lnTo>
                  <a:lnTo>
                    <a:pt x="4177241" y="1074552"/>
                  </a:lnTo>
                  <a:lnTo>
                    <a:pt x="4182263" y="1076170"/>
                  </a:lnTo>
                  <a:lnTo>
                    <a:pt x="4187284" y="1071316"/>
                  </a:lnTo>
                  <a:lnTo>
                    <a:pt x="4190632" y="1072934"/>
                  </a:lnTo>
                  <a:lnTo>
                    <a:pt x="4193980" y="1072934"/>
                  </a:lnTo>
                  <a:lnTo>
                    <a:pt x="4199001" y="1071316"/>
                  </a:lnTo>
                  <a:lnTo>
                    <a:pt x="4207370" y="1068080"/>
                  </a:lnTo>
                  <a:lnTo>
                    <a:pt x="4212392" y="1074552"/>
                  </a:lnTo>
                  <a:lnTo>
                    <a:pt x="4216757" y="1073145"/>
                  </a:lnTo>
                  <a:lnTo>
                    <a:pt x="4216121" y="1072510"/>
                  </a:lnTo>
                  <a:lnTo>
                    <a:pt x="4215787" y="1072110"/>
                  </a:lnTo>
                  <a:lnTo>
                    <a:pt x="4211587" y="1073511"/>
                  </a:lnTo>
                  <a:close/>
                  <a:moveTo>
                    <a:pt x="3711530" y="1061695"/>
                  </a:moveTo>
                  <a:lnTo>
                    <a:pt x="3711470" y="1061876"/>
                  </a:lnTo>
                  <a:lnTo>
                    <a:pt x="3711559" y="1061695"/>
                  </a:lnTo>
                  <a:close/>
                  <a:moveTo>
                    <a:pt x="5085744" y="1053598"/>
                  </a:moveTo>
                  <a:lnTo>
                    <a:pt x="5065554" y="1075456"/>
                  </a:lnTo>
                  <a:lnTo>
                    <a:pt x="5053776" y="1082182"/>
                  </a:lnTo>
                  <a:lnTo>
                    <a:pt x="5060506" y="1097314"/>
                  </a:lnTo>
                  <a:lnTo>
                    <a:pt x="5028248" y="1092709"/>
                  </a:lnTo>
                  <a:lnTo>
                    <a:pt x="5028333" y="1093193"/>
                  </a:lnTo>
                  <a:lnTo>
                    <a:pt x="5026301" y="1092431"/>
                  </a:lnTo>
                  <a:lnTo>
                    <a:pt x="5025173" y="1092270"/>
                  </a:lnTo>
                  <a:lnTo>
                    <a:pt x="5025123" y="1091989"/>
                  </a:lnTo>
                  <a:lnTo>
                    <a:pt x="5001590" y="1083163"/>
                  </a:lnTo>
                  <a:lnTo>
                    <a:pt x="4973176" y="1074804"/>
                  </a:lnTo>
                  <a:lnTo>
                    <a:pt x="4974847" y="1054742"/>
                  </a:lnTo>
                  <a:lnTo>
                    <a:pt x="4972620" y="1054742"/>
                  </a:lnTo>
                  <a:lnTo>
                    <a:pt x="4970958" y="1074623"/>
                  </a:lnTo>
                  <a:lnTo>
                    <a:pt x="4999518" y="1082998"/>
                  </a:lnTo>
                  <a:lnTo>
                    <a:pt x="5026399" y="1093049"/>
                  </a:lnTo>
                  <a:lnTo>
                    <a:pt x="5061679" y="1098074"/>
                  </a:lnTo>
                  <a:lnTo>
                    <a:pt x="5054959" y="1082998"/>
                  </a:lnTo>
                  <a:lnTo>
                    <a:pt x="5066719" y="1076298"/>
                  </a:lnTo>
                  <a:lnTo>
                    <a:pt x="5086879" y="1054522"/>
                  </a:lnTo>
                  <a:lnTo>
                    <a:pt x="5119558" y="1075701"/>
                  </a:lnTo>
                  <a:lnTo>
                    <a:pt x="5119395" y="1075456"/>
                  </a:lnTo>
                  <a:close/>
                  <a:moveTo>
                    <a:pt x="6791988" y="1053361"/>
                  </a:moveTo>
                  <a:lnTo>
                    <a:pt x="6791988" y="1066702"/>
                  </a:lnTo>
                  <a:lnTo>
                    <a:pt x="6792366" y="1066408"/>
                  </a:lnTo>
                  <a:lnTo>
                    <a:pt x="6792366" y="1053561"/>
                  </a:lnTo>
                  <a:close/>
                  <a:moveTo>
                    <a:pt x="5608079" y="1051642"/>
                  </a:moveTo>
                  <a:lnTo>
                    <a:pt x="5603817" y="1055904"/>
                  </a:lnTo>
                  <a:lnTo>
                    <a:pt x="5604883" y="1056559"/>
                  </a:lnTo>
                  <a:lnTo>
                    <a:pt x="5608079" y="1053361"/>
                  </a:lnTo>
                  <a:close/>
                  <a:moveTo>
                    <a:pt x="3891761" y="1051509"/>
                  </a:moveTo>
                  <a:lnTo>
                    <a:pt x="3898714" y="1069461"/>
                  </a:lnTo>
                  <a:lnTo>
                    <a:pt x="3891761" y="1090677"/>
                  </a:lnTo>
                  <a:lnTo>
                    <a:pt x="3881331" y="1084149"/>
                  </a:lnTo>
                  <a:lnTo>
                    <a:pt x="3876117" y="1069461"/>
                  </a:lnTo>
                  <a:close/>
                  <a:moveTo>
                    <a:pt x="5275875" y="1050297"/>
                  </a:moveTo>
                  <a:lnTo>
                    <a:pt x="5277553" y="1073775"/>
                  </a:lnTo>
                  <a:lnTo>
                    <a:pt x="5279024" y="1074461"/>
                  </a:lnTo>
                  <a:lnTo>
                    <a:pt x="5277377" y="1051398"/>
                  </a:lnTo>
                  <a:close/>
                  <a:moveTo>
                    <a:pt x="5452878" y="1043039"/>
                  </a:moveTo>
                  <a:lnTo>
                    <a:pt x="5437836" y="1058086"/>
                  </a:lnTo>
                  <a:lnTo>
                    <a:pt x="5414435" y="1056414"/>
                  </a:lnTo>
                  <a:lnTo>
                    <a:pt x="5387692" y="1053070"/>
                  </a:lnTo>
                  <a:lnTo>
                    <a:pt x="5387453" y="1053256"/>
                  </a:lnTo>
                  <a:lnTo>
                    <a:pt x="5414233" y="1056623"/>
                  </a:lnTo>
                  <a:lnTo>
                    <a:pt x="5437866" y="1058320"/>
                  </a:lnTo>
                  <a:lnTo>
                    <a:pt x="5453049" y="1043053"/>
                  </a:lnTo>
                  <a:close/>
                  <a:moveTo>
                    <a:pt x="4083814" y="1040959"/>
                  </a:moveTo>
                  <a:lnTo>
                    <a:pt x="4083898" y="1041219"/>
                  </a:lnTo>
                  <a:lnTo>
                    <a:pt x="4092492" y="1047096"/>
                  </a:lnTo>
                  <a:lnTo>
                    <a:pt x="4092492" y="1046957"/>
                  </a:lnTo>
                  <a:close/>
                  <a:moveTo>
                    <a:pt x="5573222" y="1038024"/>
                  </a:moveTo>
                  <a:lnTo>
                    <a:pt x="5539793" y="1041368"/>
                  </a:lnTo>
                  <a:lnTo>
                    <a:pt x="5508036" y="1044711"/>
                  </a:lnTo>
                  <a:lnTo>
                    <a:pt x="5474626" y="1044711"/>
                  </a:lnTo>
                  <a:lnTo>
                    <a:pt x="5475004" y="1044741"/>
                  </a:lnTo>
                  <a:lnTo>
                    <a:pt x="5508766" y="1044741"/>
                  </a:lnTo>
                  <a:lnTo>
                    <a:pt x="5540839" y="1041346"/>
                  </a:lnTo>
                  <a:lnTo>
                    <a:pt x="5573314" y="1038080"/>
                  </a:lnTo>
                  <a:close/>
                  <a:moveTo>
                    <a:pt x="4076334" y="1031826"/>
                  </a:moveTo>
                  <a:lnTo>
                    <a:pt x="4077211" y="1032643"/>
                  </a:lnTo>
                  <a:lnTo>
                    <a:pt x="4081097" y="1035301"/>
                  </a:lnTo>
                  <a:lnTo>
                    <a:pt x="4081021" y="1035065"/>
                  </a:lnTo>
                  <a:close/>
                  <a:moveTo>
                    <a:pt x="4208369" y="1030923"/>
                  </a:moveTo>
                  <a:lnTo>
                    <a:pt x="4208339" y="1031251"/>
                  </a:lnTo>
                  <a:lnTo>
                    <a:pt x="4217708" y="1045315"/>
                  </a:lnTo>
                  <a:lnTo>
                    <a:pt x="4217838" y="1045099"/>
                  </a:lnTo>
                  <a:close/>
                  <a:moveTo>
                    <a:pt x="3487808" y="1027405"/>
                  </a:moveTo>
                  <a:lnTo>
                    <a:pt x="3517682" y="1032356"/>
                  </a:lnTo>
                  <a:lnTo>
                    <a:pt x="3544236" y="1034007"/>
                  </a:lnTo>
                  <a:lnTo>
                    <a:pt x="3570791" y="1035657"/>
                  </a:lnTo>
                  <a:lnTo>
                    <a:pt x="3597345" y="1035657"/>
                  </a:lnTo>
                  <a:lnTo>
                    <a:pt x="3625560" y="1037308"/>
                  </a:lnTo>
                  <a:lnTo>
                    <a:pt x="3637177" y="1047210"/>
                  </a:lnTo>
                  <a:lnTo>
                    <a:pt x="3703563" y="1062064"/>
                  </a:lnTo>
                  <a:lnTo>
                    <a:pt x="3703563" y="1063715"/>
                  </a:lnTo>
                  <a:lnTo>
                    <a:pt x="3708542" y="1065365"/>
                  </a:lnTo>
                  <a:lnTo>
                    <a:pt x="3745055" y="1065365"/>
                  </a:lnTo>
                  <a:lnTo>
                    <a:pt x="3738416" y="1086821"/>
                  </a:lnTo>
                  <a:lnTo>
                    <a:pt x="3713521" y="1101675"/>
                  </a:lnTo>
                  <a:lnTo>
                    <a:pt x="3686967" y="1114879"/>
                  </a:lnTo>
                  <a:lnTo>
                    <a:pt x="3673690" y="1134685"/>
                  </a:lnTo>
                  <a:lnTo>
                    <a:pt x="3658753" y="1156140"/>
                  </a:lnTo>
                  <a:lnTo>
                    <a:pt x="3668711" y="1177596"/>
                  </a:lnTo>
                  <a:lnTo>
                    <a:pt x="3648795" y="1202353"/>
                  </a:lnTo>
                  <a:lnTo>
                    <a:pt x="3643816" y="1210605"/>
                  </a:lnTo>
                  <a:lnTo>
                    <a:pt x="3623900" y="1220508"/>
                  </a:lnTo>
                  <a:lnTo>
                    <a:pt x="3610623" y="1232061"/>
                  </a:lnTo>
                  <a:lnTo>
                    <a:pt x="3584068" y="1235362"/>
                  </a:lnTo>
                  <a:lnTo>
                    <a:pt x="3554194" y="1240314"/>
                  </a:lnTo>
                  <a:lnTo>
                    <a:pt x="3535938" y="1251867"/>
                  </a:lnTo>
                  <a:lnTo>
                    <a:pt x="3534279" y="1251867"/>
                  </a:lnTo>
                  <a:lnTo>
                    <a:pt x="3517682" y="1250216"/>
                  </a:lnTo>
                  <a:lnTo>
                    <a:pt x="3511043" y="1230411"/>
                  </a:lnTo>
                  <a:lnTo>
                    <a:pt x="3494447" y="1220508"/>
                  </a:lnTo>
                  <a:lnTo>
                    <a:pt x="3486149" y="1222159"/>
                  </a:lnTo>
                  <a:lnTo>
                    <a:pt x="3484489" y="1213906"/>
                  </a:lnTo>
                  <a:lnTo>
                    <a:pt x="3494447" y="1195751"/>
                  </a:lnTo>
                  <a:lnTo>
                    <a:pt x="3491127" y="1187499"/>
                  </a:lnTo>
                  <a:lnTo>
                    <a:pt x="3494447" y="1172645"/>
                  </a:lnTo>
                  <a:lnTo>
                    <a:pt x="3484513" y="1147947"/>
                  </a:lnTo>
                  <a:lnTo>
                    <a:pt x="3482963" y="1148210"/>
                  </a:lnTo>
                  <a:lnTo>
                    <a:pt x="3492943" y="1173600"/>
                  </a:lnTo>
                  <a:lnTo>
                    <a:pt x="3489616" y="1188834"/>
                  </a:lnTo>
                  <a:lnTo>
                    <a:pt x="3492943" y="1197297"/>
                  </a:lnTo>
                  <a:lnTo>
                    <a:pt x="3482963" y="1215916"/>
                  </a:lnTo>
                  <a:lnTo>
                    <a:pt x="3484626" y="1224380"/>
                  </a:lnTo>
                  <a:lnTo>
                    <a:pt x="3448032" y="1227765"/>
                  </a:lnTo>
                  <a:lnTo>
                    <a:pt x="3449695" y="1185449"/>
                  </a:lnTo>
                  <a:lnTo>
                    <a:pt x="3446368" y="1183756"/>
                  </a:lnTo>
                  <a:lnTo>
                    <a:pt x="3434725" y="1176985"/>
                  </a:lnTo>
                  <a:lnTo>
                    <a:pt x="3438052" y="1156674"/>
                  </a:lnTo>
                  <a:lnTo>
                    <a:pt x="3448032" y="1134669"/>
                  </a:lnTo>
                  <a:lnTo>
                    <a:pt x="3456349" y="1114357"/>
                  </a:lnTo>
                  <a:lnTo>
                    <a:pt x="3456349" y="1077119"/>
                  </a:lnTo>
                  <a:lnTo>
                    <a:pt x="3457570" y="1077119"/>
                  </a:lnTo>
                  <a:lnTo>
                    <a:pt x="3456275" y="1071967"/>
                  </a:lnTo>
                  <a:lnTo>
                    <a:pt x="3454615" y="1065365"/>
                  </a:lnTo>
                  <a:lnTo>
                    <a:pt x="3454615" y="1062064"/>
                  </a:lnTo>
                  <a:lnTo>
                    <a:pt x="3451296" y="1055463"/>
                  </a:lnTo>
                  <a:lnTo>
                    <a:pt x="3451296" y="1043909"/>
                  </a:lnTo>
                  <a:close/>
                  <a:moveTo>
                    <a:pt x="4136581" y="1016474"/>
                  </a:moveTo>
                  <a:lnTo>
                    <a:pt x="4128541" y="1021475"/>
                  </a:lnTo>
                  <a:lnTo>
                    <a:pt x="4135095" y="1024873"/>
                  </a:lnTo>
                  <a:lnTo>
                    <a:pt x="4135095" y="1031668"/>
                  </a:lnTo>
                  <a:lnTo>
                    <a:pt x="4120348" y="1033367"/>
                  </a:lnTo>
                  <a:lnTo>
                    <a:pt x="4126902" y="1040162"/>
                  </a:lnTo>
                  <a:lnTo>
                    <a:pt x="4125553" y="1041560"/>
                  </a:lnTo>
                  <a:lnTo>
                    <a:pt x="4128755" y="1042628"/>
                  </a:lnTo>
                  <a:lnTo>
                    <a:pt x="4130379" y="1041003"/>
                  </a:lnTo>
                  <a:lnTo>
                    <a:pt x="4123883" y="1034501"/>
                  </a:lnTo>
                  <a:lnTo>
                    <a:pt x="4138500" y="1032876"/>
                  </a:lnTo>
                  <a:lnTo>
                    <a:pt x="4138500" y="1026374"/>
                  </a:lnTo>
                  <a:lnTo>
                    <a:pt x="4132003" y="1023124"/>
                  </a:lnTo>
                  <a:lnTo>
                    <a:pt x="4140124" y="1018247"/>
                  </a:lnTo>
                  <a:close/>
                  <a:moveTo>
                    <a:pt x="4058821" y="1015378"/>
                  </a:moveTo>
                  <a:lnTo>
                    <a:pt x="4058821" y="1015493"/>
                  </a:lnTo>
                  <a:lnTo>
                    <a:pt x="4070516" y="1026400"/>
                  </a:lnTo>
                  <a:close/>
                  <a:moveTo>
                    <a:pt x="4053634" y="1011445"/>
                  </a:moveTo>
                  <a:lnTo>
                    <a:pt x="4053806" y="1012063"/>
                  </a:lnTo>
                  <a:lnTo>
                    <a:pt x="4058081" y="1013525"/>
                  </a:lnTo>
                  <a:lnTo>
                    <a:pt x="4058081" y="1012981"/>
                  </a:lnTo>
                  <a:close/>
                  <a:moveTo>
                    <a:pt x="7166223" y="1007821"/>
                  </a:moveTo>
                  <a:lnTo>
                    <a:pt x="7155678" y="1024392"/>
                  </a:lnTo>
                  <a:lnTo>
                    <a:pt x="7155678" y="1012340"/>
                  </a:lnTo>
                  <a:close/>
                  <a:moveTo>
                    <a:pt x="2095749" y="1002263"/>
                  </a:moveTo>
                  <a:lnTo>
                    <a:pt x="2095371" y="1002695"/>
                  </a:lnTo>
                  <a:lnTo>
                    <a:pt x="2089071" y="1005612"/>
                  </a:lnTo>
                  <a:close/>
                  <a:moveTo>
                    <a:pt x="6792774" y="997465"/>
                  </a:moveTo>
                  <a:lnTo>
                    <a:pt x="6791988" y="999825"/>
                  </a:lnTo>
                  <a:lnTo>
                    <a:pt x="6808710" y="1026593"/>
                  </a:lnTo>
                  <a:lnTo>
                    <a:pt x="6822949" y="1051919"/>
                  </a:lnTo>
                  <a:lnTo>
                    <a:pt x="6824513" y="1050877"/>
                  </a:lnTo>
                  <a:lnTo>
                    <a:pt x="6809451" y="1024123"/>
                  </a:lnTo>
                  <a:close/>
                  <a:moveTo>
                    <a:pt x="5123149" y="995221"/>
                  </a:moveTo>
                  <a:lnTo>
                    <a:pt x="5146315" y="1023333"/>
                  </a:lnTo>
                  <a:lnTo>
                    <a:pt x="5147662" y="1023417"/>
                  </a:lnTo>
                  <a:lnTo>
                    <a:pt x="5125277" y="996229"/>
                  </a:lnTo>
                  <a:close/>
                  <a:moveTo>
                    <a:pt x="4043775" y="994638"/>
                  </a:moveTo>
                  <a:lnTo>
                    <a:pt x="4043775" y="994912"/>
                  </a:lnTo>
                  <a:lnTo>
                    <a:pt x="4049967" y="999676"/>
                  </a:lnTo>
                  <a:lnTo>
                    <a:pt x="4049888" y="999391"/>
                  </a:lnTo>
                  <a:close/>
                  <a:moveTo>
                    <a:pt x="4128334" y="993867"/>
                  </a:moveTo>
                  <a:lnTo>
                    <a:pt x="4128541" y="994295"/>
                  </a:lnTo>
                  <a:lnTo>
                    <a:pt x="4126902" y="999391"/>
                  </a:lnTo>
                  <a:lnTo>
                    <a:pt x="4121986" y="1004488"/>
                  </a:lnTo>
                  <a:lnTo>
                    <a:pt x="4121986" y="1006186"/>
                  </a:lnTo>
                  <a:lnTo>
                    <a:pt x="4126902" y="1011283"/>
                  </a:lnTo>
                  <a:lnTo>
                    <a:pt x="4129786" y="1012777"/>
                  </a:lnTo>
                  <a:lnTo>
                    <a:pt x="4125507" y="1008495"/>
                  </a:lnTo>
                  <a:lnTo>
                    <a:pt x="4125507" y="1006870"/>
                  </a:lnTo>
                  <a:lnTo>
                    <a:pt x="4130379" y="1001994"/>
                  </a:lnTo>
                  <a:lnTo>
                    <a:pt x="4132003" y="997117"/>
                  </a:lnTo>
                  <a:lnTo>
                    <a:pt x="4130379" y="993867"/>
                  </a:lnTo>
                  <a:close/>
                  <a:moveTo>
                    <a:pt x="4110892" y="984622"/>
                  </a:moveTo>
                  <a:lnTo>
                    <a:pt x="4115432" y="990897"/>
                  </a:lnTo>
                  <a:lnTo>
                    <a:pt x="4116907" y="990897"/>
                  </a:lnTo>
                  <a:lnTo>
                    <a:pt x="4112319" y="984622"/>
                  </a:lnTo>
                  <a:close/>
                  <a:moveTo>
                    <a:pt x="4128633" y="983440"/>
                  </a:moveTo>
                  <a:lnTo>
                    <a:pt x="4124022" y="984622"/>
                  </a:lnTo>
                  <a:lnTo>
                    <a:pt x="4122492" y="990897"/>
                  </a:lnTo>
                  <a:lnTo>
                    <a:pt x="4124625" y="990897"/>
                  </a:lnTo>
                  <a:lnTo>
                    <a:pt x="4125507" y="987365"/>
                  </a:lnTo>
                  <a:lnTo>
                    <a:pt x="4132003" y="985740"/>
                  </a:lnTo>
                  <a:lnTo>
                    <a:pt x="4132003" y="984114"/>
                  </a:lnTo>
                  <a:close/>
                  <a:moveTo>
                    <a:pt x="4097273" y="982907"/>
                  </a:moveTo>
                  <a:lnTo>
                    <a:pt x="4097094" y="983091"/>
                  </a:lnTo>
                  <a:lnTo>
                    <a:pt x="4099046" y="984102"/>
                  </a:lnTo>
                  <a:lnTo>
                    <a:pt x="4099603" y="984102"/>
                  </a:lnTo>
                  <a:close/>
                  <a:moveTo>
                    <a:pt x="5598294" y="982855"/>
                  </a:moveTo>
                  <a:lnTo>
                    <a:pt x="5569879" y="994557"/>
                  </a:lnTo>
                  <a:lnTo>
                    <a:pt x="5572114" y="995451"/>
                  </a:lnTo>
                  <a:lnTo>
                    <a:pt x="5598045" y="984768"/>
                  </a:lnTo>
                  <a:lnTo>
                    <a:pt x="5633161" y="988114"/>
                  </a:lnTo>
                  <a:lnTo>
                    <a:pt x="5631353" y="986004"/>
                  </a:lnTo>
                  <a:close/>
                  <a:moveTo>
                    <a:pt x="4050462" y="981192"/>
                  </a:moveTo>
                  <a:lnTo>
                    <a:pt x="4050297" y="981234"/>
                  </a:lnTo>
                  <a:lnTo>
                    <a:pt x="4056443" y="989199"/>
                  </a:lnTo>
                  <a:lnTo>
                    <a:pt x="4056555" y="989005"/>
                  </a:lnTo>
                  <a:close/>
                  <a:moveTo>
                    <a:pt x="7199365" y="977692"/>
                  </a:moveTo>
                  <a:lnTo>
                    <a:pt x="7194846" y="982713"/>
                  </a:lnTo>
                  <a:lnTo>
                    <a:pt x="7185807" y="996104"/>
                  </a:lnTo>
                  <a:lnTo>
                    <a:pt x="7176768" y="1007821"/>
                  </a:lnTo>
                  <a:lnTo>
                    <a:pt x="7181287" y="986061"/>
                  </a:lnTo>
                  <a:close/>
                  <a:moveTo>
                    <a:pt x="1709123" y="976780"/>
                  </a:moveTo>
                  <a:lnTo>
                    <a:pt x="1702633" y="1002795"/>
                  </a:lnTo>
                  <a:lnTo>
                    <a:pt x="1699286" y="1031316"/>
                  </a:lnTo>
                  <a:lnTo>
                    <a:pt x="1687569" y="1046416"/>
                  </a:lnTo>
                  <a:lnTo>
                    <a:pt x="1657440" y="1074937"/>
                  </a:lnTo>
                  <a:lnTo>
                    <a:pt x="1657939" y="1075812"/>
                  </a:lnTo>
                  <a:lnTo>
                    <a:pt x="1687886" y="1047475"/>
                  </a:lnTo>
                  <a:lnTo>
                    <a:pt x="1699587" y="1032404"/>
                  </a:lnTo>
                  <a:lnTo>
                    <a:pt x="1702932" y="1003937"/>
                  </a:lnTo>
                  <a:lnTo>
                    <a:pt x="1709624" y="977145"/>
                  </a:lnTo>
                  <a:close/>
                  <a:moveTo>
                    <a:pt x="7035161" y="974679"/>
                  </a:moveTo>
                  <a:lnTo>
                    <a:pt x="7075488" y="994765"/>
                  </a:lnTo>
                  <a:lnTo>
                    <a:pt x="7114134" y="1014851"/>
                  </a:lnTo>
                  <a:lnTo>
                    <a:pt x="7137658" y="1021547"/>
                  </a:lnTo>
                  <a:lnTo>
                    <a:pt x="7144379" y="1011504"/>
                  </a:lnTo>
                  <a:lnTo>
                    <a:pt x="7154461" y="1033264"/>
                  </a:lnTo>
                  <a:lnTo>
                    <a:pt x="7166223" y="1041633"/>
                  </a:lnTo>
                  <a:lnTo>
                    <a:pt x="7146060" y="1051676"/>
                  </a:lnTo>
                  <a:lnTo>
                    <a:pt x="7134298" y="1071762"/>
                  </a:lnTo>
                  <a:lnTo>
                    <a:pt x="7132617" y="1076784"/>
                  </a:lnTo>
                  <a:lnTo>
                    <a:pt x="7082209" y="1063393"/>
                  </a:lnTo>
                  <a:lnTo>
                    <a:pt x="7072127" y="1066740"/>
                  </a:lnTo>
                  <a:lnTo>
                    <a:pt x="7057005" y="1066740"/>
                  </a:lnTo>
                  <a:lnTo>
                    <a:pt x="7087250" y="1086827"/>
                  </a:lnTo>
                  <a:lnTo>
                    <a:pt x="7075488" y="1088500"/>
                  </a:lnTo>
                  <a:lnTo>
                    <a:pt x="7070447" y="1095196"/>
                  </a:lnTo>
                  <a:lnTo>
                    <a:pt x="7051964" y="1073436"/>
                  </a:lnTo>
                  <a:lnTo>
                    <a:pt x="7046923" y="1056697"/>
                  </a:lnTo>
                  <a:lnTo>
                    <a:pt x="7045243" y="1044980"/>
                  </a:lnTo>
                  <a:lnTo>
                    <a:pt x="7050284" y="1041633"/>
                  </a:lnTo>
                  <a:lnTo>
                    <a:pt x="7067086" y="1041633"/>
                  </a:lnTo>
                  <a:lnTo>
                    <a:pt x="7055324" y="1016525"/>
                  </a:lnTo>
                  <a:lnTo>
                    <a:pt x="7043562" y="991417"/>
                  </a:lnTo>
                  <a:close/>
                  <a:moveTo>
                    <a:pt x="4121363" y="974642"/>
                  </a:moveTo>
                  <a:lnTo>
                    <a:pt x="4120678" y="976047"/>
                  </a:lnTo>
                  <a:lnTo>
                    <a:pt x="4122350" y="979477"/>
                  </a:lnTo>
                  <a:lnTo>
                    <a:pt x="4122381" y="979483"/>
                  </a:lnTo>
                  <a:lnTo>
                    <a:pt x="4122259" y="979238"/>
                  </a:lnTo>
                  <a:lnTo>
                    <a:pt x="4123883" y="975987"/>
                  </a:lnTo>
                  <a:lnTo>
                    <a:pt x="4122259" y="975987"/>
                  </a:lnTo>
                  <a:close/>
                  <a:moveTo>
                    <a:pt x="4011376" y="972449"/>
                  </a:moveTo>
                  <a:lnTo>
                    <a:pt x="4010165" y="974332"/>
                  </a:lnTo>
                  <a:lnTo>
                    <a:pt x="4010339" y="974332"/>
                  </a:lnTo>
                  <a:lnTo>
                    <a:pt x="4011504" y="972538"/>
                  </a:lnTo>
                  <a:close/>
                  <a:moveTo>
                    <a:pt x="4030400" y="968056"/>
                  </a:moveTo>
                  <a:lnTo>
                    <a:pt x="4028234" y="968954"/>
                  </a:lnTo>
                  <a:lnTo>
                    <a:pt x="4028234" y="972449"/>
                  </a:lnTo>
                  <a:lnTo>
                    <a:pt x="4028839" y="974332"/>
                  </a:lnTo>
                  <a:lnTo>
                    <a:pt x="4032072" y="974332"/>
                  </a:lnTo>
                  <a:lnTo>
                    <a:pt x="4030400" y="969187"/>
                  </a:lnTo>
                  <a:close/>
                  <a:moveTo>
                    <a:pt x="5061762" y="962793"/>
                  </a:moveTo>
                  <a:lnTo>
                    <a:pt x="5061734" y="962804"/>
                  </a:lnTo>
                  <a:lnTo>
                    <a:pt x="5090792" y="979616"/>
                  </a:lnTo>
                  <a:lnTo>
                    <a:pt x="5090914" y="979674"/>
                  </a:lnTo>
                  <a:close/>
                  <a:moveTo>
                    <a:pt x="4152813" y="961349"/>
                  </a:moveTo>
                  <a:lnTo>
                    <a:pt x="4182352" y="993867"/>
                  </a:lnTo>
                  <a:lnTo>
                    <a:pt x="4192097" y="998743"/>
                  </a:lnTo>
                  <a:lnTo>
                    <a:pt x="4200218" y="1001994"/>
                  </a:lnTo>
                  <a:lnTo>
                    <a:pt x="4208339" y="1003619"/>
                  </a:lnTo>
                  <a:lnTo>
                    <a:pt x="4209615" y="1011284"/>
                  </a:lnTo>
                  <a:lnTo>
                    <a:pt x="4209995" y="1011758"/>
                  </a:lnTo>
                  <a:lnTo>
                    <a:pt x="4208392" y="1002266"/>
                  </a:lnTo>
                  <a:lnTo>
                    <a:pt x="4199905" y="1000590"/>
                  </a:lnTo>
                  <a:lnTo>
                    <a:pt x="4191417" y="997238"/>
                  </a:lnTo>
                  <a:lnTo>
                    <a:pt x="4181231" y="992210"/>
                  </a:lnTo>
                  <a:close/>
                  <a:moveTo>
                    <a:pt x="4148007" y="956130"/>
                  </a:moveTo>
                  <a:lnTo>
                    <a:pt x="4114935" y="963779"/>
                  </a:lnTo>
                  <a:lnTo>
                    <a:pt x="4116428" y="966076"/>
                  </a:lnTo>
                  <a:lnTo>
                    <a:pt x="4149836" y="958116"/>
                  </a:lnTo>
                  <a:close/>
                  <a:moveTo>
                    <a:pt x="1692901" y="955377"/>
                  </a:moveTo>
                  <a:lnTo>
                    <a:pt x="1692321" y="955493"/>
                  </a:lnTo>
                  <a:lnTo>
                    <a:pt x="1690917" y="962529"/>
                  </a:lnTo>
                  <a:lnTo>
                    <a:pt x="1691402" y="962883"/>
                  </a:lnTo>
                  <a:close/>
                  <a:moveTo>
                    <a:pt x="5812564" y="954657"/>
                  </a:moveTo>
                  <a:lnTo>
                    <a:pt x="5813758" y="958001"/>
                  </a:lnTo>
                  <a:lnTo>
                    <a:pt x="5823791" y="983095"/>
                  </a:lnTo>
                  <a:lnTo>
                    <a:pt x="5850546" y="986441"/>
                  </a:lnTo>
                  <a:lnTo>
                    <a:pt x="5878973" y="993133"/>
                  </a:lnTo>
                  <a:lnTo>
                    <a:pt x="5914089" y="1003171"/>
                  </a:lnTo>
                  <a:lnTo>
                    <a:pt x="5947533" y="1013209"/>
                  </a:lnTo>
                  <a:lnTo>
                    <a:pt x="5969271" y="1036631"/>
                  </a:lnTo>
                  <a:lnTo>
                    <a:pt x="5991010" y="1058380"/>
                  </a:lnTo>
                  <a:lnTo>
                    <a:pt x="6026126" y="1060053"/>
                  </a:lnTo>
                  <a:lnTo>
                    <a:pt x="6057897" y="1063399"/>
                  </a:lnTo>
                  <a:lnTo>
                    <a:pt x="6091341" y="1065072"/>
                  </a:lnTo>
                  <a:lnTo>
                    <a:pt x="6126457" y="1066745"/>
                  </a:lnTo>
                  <a:lnTo>
                    <a:pt x="6136490" y="1075110"/>
                  </a:lnTo>
                  <a:lnTo>
                    <a:pt x="6166589" y="1080129"/>
                  </a:lnTo>
                  <a:lnTo>
                    <a:pt x="6196689" y="1086821"/>
                  </a:lnTo>
                  <a:lnTo>
                    <a:pt x="6215083" y="1095186"/>
                  </a:lnTo>
                  <a:lnTo>
                    <a:pt x="6231805" y="1083475"/>
                  </a:lnTo>
                  <a:lnTo>
                    <a:pt x="6248527" y="1073437"/>
                  </a:lnTo>
                  <a:lnTo>
                    <a:pt x="6278626" y="1070091"/>
                  </a:lnTo>
                  <a:lnTo>
                    <a:pt x="6307053" y="1068418"/>
                  </a:lnTo>
                  <a:lnTo>
                    <a:pt x="6328792" y="1048342"/>
                  </a:lnTo>
                  <a:lnTo>
                    <a:pt x="6350530" y="1029939"/>
                  </a:lnTo>
                  <a:lnTo>
                    <a:pt x="6348385" y="1028032"/>
                  </a:lnTo>
                  <a:lnTo>
                    <a:pt x="6329133" y="1044164"/>
                  </a:lnTo>
                  <a:lnTo>
                    <a:pt x="6307326" y="1064098"/>
                  </a:lnTo>
                  <a:lnTo>
                    <a:pt x="6278810" y="1065759"/>
                  </a:lnTo>
                  <a:lnTo>
                    <a:pt x="6248616" y="1069082"/>
                  </a:lnTo>
                  <a:lnTo>
                    <a:pt x="6231842" y="1079049"/>
                  </a:lnTo>
                  <a:lnTo>
                    <a:pt x="6215067" y="1090677"/>
                  </a:lnTo>
                  <a:lnTo>
                    <a:pt x="6196616" y="1082371"/>
                  </a:lnTo>
                  <a:lnTo>
                    <a:pt x="6166422" y="1075726"/>
                  </a:lnTo>
                  <a:lnTo>
                    <a:pt x="6136228" y="1070743"/>
                  </a:lnTo>
                  <a:lnTo>
                    <a:pt x="6126164" y="1062437"/>
                  </a:lnTo>
                  <a:lnTo>
                    <a:pt x="6090938" y="1060776"/>
                  </a:lnTo>
                  <a:lnTo>
                    <a:pt x="6057389" y="1059114"/>
                  </a:lnTo>
                  <a:lnTo>
                    <a:pt x="6025518" y="1055792"/>
                  </a:lnTo>
                  <a:lnTo>
                    <a:pt x="5990292" y="1054131"/>
                  </a:lnTo>
                  <a:lnTo>
                    <a:pt x="5968485" y="1032536"/>
                  </a:lnTo>
                  <a:lnTo>
                    <a:pt x="5946679" y="1009279"/>
                  </a:lnTo>
                  <a:lnTo>
                    <a:pt x="5913130" y="999312"/>
                  </a:lnTo>
                  <a:lnTo>
                    <a:pt x="5877904" y="989345"/>
                  </a:lnTo>
                  <a:lnTo>
                    <a:pt x="5849388" y="982700"/>
                  </a:lnTo>
                  <a:lnTo>
                    <a:pt x="5822549" y="979378"/>
                  </a:lnTo>
                  <a:close/>
                  <a:moveTo>
                    <a:pt x="4037795" y="952497"/>
                  </a:moveTo>
                  <a:lnTo>
                    <a:pt x="4034977" y="953227"/>
                  </a:lnTo>
                  <a:lnTo>
                    <a:pt x="4036663" y="958470"/>
                  </a:lnTo>
                  <a:lnTo>
                    <a:pt x="4036663" y="961965"/>
                  </a:lnTo>
                  <a:lnTo>
                    <a:pt x="4037508" y="962840"/>
                  </a:lnTo>
                  <a:lnTo>
                    <a:pt x="4038759" y="962326"/>
                  </a:lnTo>
                  <a:lnTo>
                    <a:pt x="4042103" y="962326"/>
                  </a:lnTo>
                  <a:lnTo>
                    <a:pt x="4038759" y="958896"/>
                  </a:lnTo>
                  <a:lnTo>
                    <a:pt x="4038759" y="955466"/>
                  </a:lnTo>
                  <a:close/>
                  <a:moveTo>
                    <a:pt x="7048513" y="947496"/>
                  </a:moveTo>
                  <a:lnTo>
                    <a:pt x="7049260" y="947839"/>
                  </a:lnTo>
                  <a:lnTo>
                    <a:pt x="7059265" y="961121"/>
                  </a:lnTo>
                  <a:close/>
                  <a:moveTo>
                    <a:pt x="1682711" y="945218"/>
                  </a:moveTo>
                  <a:lnTo>
                    <a:pt x="1684222" y="955818"/>
                  </a:lnTo>
                  <a:lnTo>
                    <a:pt x="1684370" y="955789"/>
                  </a:lnTo>
                  <a:lnTo>
                    <a:pt x="1682877" y="945329"/>
                  </a:lnTo>
                  <a:close/>
                  <a:moveTo>
                    <a:pt x="6446553" y="941171"/>
                  </a:moveTo>
                  <a:lnTo>
                    <a:pt x="6418036" y="954460"/>
                  </a:lnTo>
                  <a:lnTo>
                    <a:pt x="6413004" y="974394"/>
                  </a:lnTo>
                  <a:lnTo>
                    <a:pt x="6389520" y="981039"/>
                  </a:lnTo>
                  <a:lnTo>
                    <a:pt x="6367713" y="994329"/>
                  </a:lnTo>
                  <a:lnTo>
                    <a:pt x="6330810" y="984361"/>
                  </a:lnTo>
                  <a:lnTo>
                    <a:pt x="6331530" y="988405"/>
                  </a:lnTo>
                  <a:lnTo>
                    <a:pt x="6367252" y="998152"/>
                  </a:lnTo>
                  <a:lnTo>
                    <a:pt x="6388990" y="984768"/>
                  </a:lnTo>
                  <a:lnTo>
                    <a:pt x="6412401" y="978076"/>
                  </a:lnTo>
                  <a:lnTo>
                    <a:pt x="6417418" y="958001"/>
                  </a:lnTo>
                  <a:lnTo>
                    <a:pt x="6445845" y="944617"/>
                  </a:lnTo>
                  <a:lnTo>
                    <a:pt x="6485978" y="944617"/>
                  </a:lnTo>
                  <a:lnTo>
                    <a:pt x="6484447" y="941171"/>
                  </a:lnTo>
                  <a:close/>
                  <a:moveTo>
                    <a:pt x="4052108" y="939767"/>
                  </a:moveTo>
                  <a:lnTo>
                    <a:pt x="4056131" y="942269"/>
                  </a:lnTo>
                  <a:lnTo>
                    <a:pt x="4056274" y="942195"/>
                  </a:lnTo>
                  <a:close/>
                  <a:moveTo>
                    <a:pt x="3915719" y="934897"/>
                  </a:moveTo>
                  <a:lnTo>
                    <a:pt x="3910086" y="940634"/>
                  </a:lnTo>
                  <a:lnTo>
                    <a:pt x="3906732" y="949171"/>
                  </a:lnTo>
                  <a:lnTo>
                    <a:pt x="3888290" y="949171"/>
                  </a:lnTo>
                  <a:lnTo>
                    <a:pt x="3879996" y="960996"/>
                  </a:lnTo>
                  <a:lnTo>
                    <a:pt x="3880435" y="961308"/>
                  </a:lnTo>
                  <a:lnTo>
                    <a:pt x="3888712" y="949519"/>
                  </a:lnTo>
                  <a:lnTo>
                    <a:pt x="3906921" y="949519"/>
                  </a:lnTo>
                  <a:lnTo>
                    <a:pt x="3910231" y="941097"/>
                  </a:lnTo>
                  <a:lnTo>
                    <a:pt x="3916172" y="935053"/>
                  </a:lnTo>
                  <a:close/>
                  <a:moveTo>
                    <a:pt x="2075561" y="926867"/>
                  </a:moveTo>
                  <a:lnTo>
                    <a:pt x="2065858" y="962529"/>
                  </a:lnTo>
                  <a:lnTo>
                    <a:pt x="2065936" y="962767"/>
                  </a:lnTo>
                  <a:lnTo>
                    <a:pt x="2075690" y="926910"/>
                  </a:lnTo>
                  <a:close/>
                  <a:moveTo>
                    <a:pt x="5616679" y="924342"/>
                  </a:moveTo>
                  <a:lnTo>
                    <a:pt x="5616926" y="926320"/>
                  </a:lnTo>
                  <a:lnTo>
                    <a:pt x="5654900" y="934579"/>
                  </a:lnTo>
                  <a:lnTo>
                    <a:pt x="5676638" y="929560"/>
                  </a:lnTo>
                  <a:lnTo>
                    <a:pt x="5675987" y="927885"/>
                  </a:lnTo>
                  <a:lnTo>
                    <a:pt x="5655122" y="932701"/>
                  </a:lnTo>
                  <a:close/>
                  <a:moveTo>
                    <a:pt x="3892716" y="915780"/>
                  </a:moveTo>
                  <a:lnTo>
                    <a:pt x="3891644" y="920146"/>
                  </a:lnTo>
                  <a:lnTo>
                    <a:pt x="3891644" y="923561"/>
                  </a:lnTo>
                  <a:lnTo>
                    <a:pt x="3891644" y="925268"/>
                  </a:lnTo>
                  <a:lnTo>
                    <a:pt x="3892688" y="925268"/>
                  </a:lnTo>
                  <a:lnTo>
                    <a:pt x="3892688" y="923530"/>
                  </a:lnTo>
                  <a:lnTo>
                    <a:pt x="3892688" y="920447"/>
                  </a:lnTo>
                  <a:lnTo>
                    <a:pt x="3893153" y="921609"/>
                  </a:lnTo>
                  <a:lnTo>
                    <a:pt x="3894349" y="916664"/>
                  </a:lnTo>
                  <a:lnTo>
                    <a:pt x="3897551" y="916995"/>
                  </a:lnTo>
                  <a:close/>
                  <a:moveTo>
                    <a:pt x="6367042" y="893163"/>
                  </a:moveTo>
                  <a:lnTo>
                    <a:pt x="6361004" y="894658"/>
                  </a:lnTo>
                  <a:lnTo>
                    <a:pt x="6364634" y="896755"/>
                  </a:lnTo>
                  <a:lnTo>
                    <a:pt x="6367252" y="896100"/>
                  </a:lnTo>
                  <a:close/>
                  <a:moveTo>
                    <a:pt x="4317499" y="881173"/>
                  </a:moveTo>
                  <a:lnTo>
                    <a:pt x="4319151" y="882772"/>
                  </a:lnTo>
                  <a:lnTo>
                    <a:pt x="4317604" y="881215"/>
                  </a:lnTo>
                  <a:close/>
                  <a:moveTo>
                    <a:pt x="3988121" y="880331"/>
                  </a:moveTo>
                  <a:lnTo>
                    <a:pt x="3970170" y="895090"/>
                  </a:lnTo>
                  <a:lnTo>
                    <a:pt x="3975217" y="910304"/>
                  </a:lnTo>
                  <a:lnTo>
                    <a:pt x="3966806" y="913685"/>
                  </a:lnTo>
                  <a:lnTo>
                    <a:pt x="3938208" y="913685"/>
                  </a:lnTo>
                  <a:lnTo>
                    <a:pt x="3918022" y="913685"/>
                  </a:lnTo>
                  <a:lnTo>
                    <a:pt x="3912139" y="919596"/>
                  </a:lnTo>
                  <a:lnTo>
                    <a:pt x="3914285" y="921814"/>
                  </a:lnTo>
                  <a:lnTo>
                    <a:pt x="3920930" y="914947"/>
                  </a:lnTo>
                  <a:lnTo>
                    <a:pt x="3940866" y="914947"/>
                  </a:lnTo>
                  <a:lnTo>
                    <a:pt x="3969109" y="914947"/>
                  </a:lnTo>
                  <a:lnTo>
                    <a:pt x="3977415" y="911514"/>
                  </a:lnTo>
                  <a:lnTo>
                    <a:pt x="3972431" y="896064"/>
                  </a:lnTo>
                  <a:lnTo>
                    <a:pt x="3989451" y="881675"/>
                  </a:lnTo>
                  <a:close/>
                  <a:moveTo>
                    <a:pt x="5706063" y="872326"/>
                  </a:moveTo>
                  <a:lnTo>
                    <a:pt x="5706738" y="874351"/>
                  </a:lnTo>
                  <a:lnTo>
                    <a:pt x="5716771" y="884389"/>
                  </a:lnTo>
                  <a:lnTo>
                    <a:pt x="5750215" y="906138"/>
                  </a:lnTo>
                  <a:lnTo>
                    <a:pt x="5768609" y="909484"/>
                  </a:lnTo>
                  <a:lnTo>
                    <a:pt x="5805287" y="934504"/>
                  </a:lnTo>
                  <a:lnTo>
                    <a:pt x="5804097" y="931204"/>
                  </a:lnTo>
                  <a:lnTo>
                    <a:pt x="5767194" y="906286"/>
                  </a:lnTo>
                  <a:lnTo>
                    <a:pt x="5748742" y="902964"/>
                  </a:lnTo>
                  <a:lnTo>
                    <a:pt x="5715194" y="881368"/>
                  </a:lnTo>
                  <a:close/>
                  <a:moveTo>
                    <a:pt x="1472261" y="861604"/>
                  </a:moveTo>
                  <a:lnTo>
                    <a:pt x="1471390" y="862476"/>
                  </a:lnTo>
                  <a:lnTo>
                    <a:pt x="1469970" y="875287"/>
                  </a:lnTo>
                  <a:lnTo>
                    <a:pt x="1470721" y="875476"/>
                  </a:lnTo>
                  <a:close/>
                  <a:moveTo>
                    <a:pt x="3777896" y="841431"/>
                  </a:moveTo>
                  <a:lnTo>
                    <a:pt x="3777697" y="841464"/>
                  </a:lnTo>
                  <a:lnTo>
                    <a:pt x="3778214" y="842510"/>
                  </a:lnTo>
                  <a:lnTo>
                    <a:pt x="3778509" y="842659"/>
                  </a:lnTo>
                  <a:close/>
                  <a:moveTo>
                    <a:pt x="6411960" y="836111"/>
                  </a:moveTo>
                  <a:lnTo>
                    <a:pt x="6396077" y="853567"/>
                  </a:lnTo>
                  <a:lnTo>
                    <a:pt x="6361096" y="846910"/>
                  </a:lnTo>
                  <a:lnTo>
                    <a:pt x="6361648" y="849463"/>
                  </a:lnTo>
                  <a:lnTo>
                    <a:pt x="6395679" y="855948"/>
                  </a:lnTo>
                  <a:lnTo>
                    <a:pt x="6412401" y="837545"/>
                  </a:lnTo>
                  <a:close/>
                  <a:moveTo>
                    <a:pt x="4507237" y="831517"/>
                  </a:moveTo>
                  <a:lnTo>
                    <a:pt x="4512149" y="835636"/>
                  </a:lnTo>
                  <a:lnTo>
                    <a:pt x="4528920" y="833948"/>
                  </a:lnTo>
                  <a:lnTo>
                    <a:pt x="4562462" y="844077"/>
                  </a:lnTo>
                  <a:lnTo>
                    <a:pt x="4598816" y="855720"/>
                  </a:lnTo>
                  <a:lnTo>
                    <a:pt x="4598656" y="855239"/>
                  </a:lnTo>
                  <a:lnTo>
                    <a:pt x="4561837" y="843535"/>
                  </a:lnTo>
                  <a:lnTo>
                    <a:pt x="4528366" y="833502"/>
                  </a:lnTo>
                  <a:lnTo>
                    <a:pt x="4511630" y="835174"/>
                  </a:lnTo>
                  <a:close/>
                  <a:moveTo>
                    <a:pt x="5829412" y="825070"/>
                  </a:moveTo>
                  <a:lnTo>
                    <a:pt x="5837646" y="834855"/>
                  </a:lnTo>
                  <a:lnTo>
                    <a:pt x="5838663" y="835038"/>
                  </a:lnTo>
                  <a:lnTo>
                    <a:pt x="5830408" y="825141"/>
                  </a:lnTo>
                  <a:close/>
                  <a:moveTo>
                    <a:pt x="7243052" y="824033"/>
                  </a:moveTo>
                  <a:lnTo>
                    <a:pt x="7250584" y="825539"/>
                  </a:lnTo>
                  <a:lnTo>
                    <a:pt x="7244558" y="840604"/>
                  </a:lnTo>
                  <a:close/>
                  <a:moveTo>
                    <a:pt x="3799986" y="813305"/>
                  </a:moveTo>
                  <a:lnTo>
                    <a:pt x="3800613" y="815189"/>
                  </a:lnTo>
                  <a:lnTo>
                    <a:pt x="3805402" y="819024"/>
                  </a:lnTo>
                  <a:lnTo>
                    <a:pt x="3805490" y="817345"/>
                  </a:lnTo>
                  <a:close/>
                  <a:moveTo>
                    <a:pt x="4762666" y="810092"/>
                  </a:moveTo>
                  <a:lnTo>
                    <a:pt x="4759319" y="841862"/>
                  </a:lnTo>
                  <a:lnTo>
                    <a:pt x="4754298" y="873633"/>
                  </a:lnTo>
                  <a:lnTo>
                    <a:pt x="4782749" y="895370"/>
                  </a:lnTo>
                  <a:lnTo>
                    <a:pt x="4811200" y="917108"/>
                  </a:lnTo>
                  <a:lnTo>
                    <a:pt x="4829609" y="945534"/>
                  </a:lnTo>
                  <a:lnTo>
                    <a:pt x="4832956" y="952222"/>
                  </a:lnTo>
                  <a:lnTo>
                    <a:pt x="4821241" y="960583"/>
                  </a:lnTo>
                  <a:lnTo>
                    <a:pt x="4794464" y="970616"/>
                  </a:lnTo>
                  <a:lnTo>
                    <a:pt x="4782749" y="1000714"/>
                  </a:lnTo>
                  <a:lnTo>
                    <a:pt x="4791117" y="1007402"/>
                  </a:lnTo>
                  <a:lnTo>
                    <a:pt x="4804506" y="1030812"/>
                  </a:lnTo>
                  <a:lnTo>
                    <a:pt x="4806179" y="1022451"/>
                  </a:lnTo>
                  <a:lnTo>
                    <a:pt x="4809526" y="1042517"/>
                  </a:lnTo>
                  <a:lnTo>
                    <a:pt x="4831283" y="1064254"/>
                  </a:lnTo>
                  <a:lnTo>
                    <a:pt x="4851366" y="1087664"/>
                  </a:lnTo>
                  <a:lnTo>
                    <a:pt x="4811200" y="1080975"/>
                  </a:lnTo>
                  <a:lnTo>
                    <a:pt x="4774381" y="1065926"/>
                  </a:lnTo>
                  <a:lnTo>
                    <a:pt x="4739236" y="1052549"/>
                  </a:lnTo>
                  <a:lnTo>
                    <a:pt x="4702417" y="1037500"/>
                  </a:lnTo>
                  <a:lnTo>
                    <a:pt x="4686147" y="1030850"/>
                  </a:lnTo>
                  <a:lnTo>
                    <a:pt x="4701594" y="1037295"/>
                  </a:lnTo>
                  <a:lnTo>
                    <a:pt x="4738326" y="1052622"/>
                  </a:lnTo>
                  <a:lnTo>
                    <a:pt x="4773389" y="1066246"/>
                  </a:lnTo>
                  <a:lnTo>
                    <a:pt x="4810122" y="1081572"/>
                  </a:lnTo>
                  <a:lnTo>
                    <a:pt x="4810060" y="1081674"/>
                  </a:lnTo>
                  <a:lnTo>
                    <a:pt x="4850898" y="1088344"/>
                  </a:lnTo>
                  <a:lnTo>
                    <a:pt x="4864583" y="1106786"/>
                  </a:lnTo>
                  <a:lnTo>
                    <a:pt x="4900509" y="1126905"/>
                  </a:lnTo>
                  <a:lnTo>
                    <a:pt x="4883401" y="1131934"/>
                  </a:lnTo>
                  <a:lnTo>
                    <a:pt x="4874848" y="1165465"/>
                  </a:lnTo>
                  <a:lnTo>
                    <a:pt x="4873143" y="1185518"/>
                  </a:lnTo>
                  <a:lnTo>
                    <a:pt x="4874141" y="1186288"/>
                  </a:lnTo>
                  <a:lnTo>
                    <a:pt x="4887465" y="1212977"/>
                  </a:lnTo>
                  <a:lnTo>
                    <a:pt x="4915779" y="1224653"/>
                  </a:lnTo>
                  <a:lnTo>
                    <a:pt x="4940762" y="1232994"/>
                  </a:lnTo>
                  <a:lnTo>
                    <a:pt x="4964079" y="1239666"/>
                  </a:lnTo>
                  <a:lnTo>
                    <a:pt x="4985731" y="1236330"/>
                  </a:lnTo>
                  <a:lnTo>
                    <a:pt x="5004052" y="1232994"/>
                  </a:lnTo>
                  <a:lnTo>
                    <a:pt x="5007383" y="1227989"/>
                  </a:lnTo>
                  <a:lnTo>
                    <a:pt x="5004052" y="1217981"/>
                  </a:lnTo>
                  <a:lnTo>
                    <a:pt x="5012380" y="1217981"/>
                  </a:lnTo>
                  <a:lnTo>
                    <a:pt x="5030700" y="1199632"/>
                  </a:lnTo>
                  <a:lnTo>
                    <a:pt x="5057349" y="1196296"/>
                  </a:lnTo>
                  <a:lnTo>
                    <a:pt x="5082332" y="1194628"/>
                  </a:lnTo>
                  <a:lnTo>
                    <a:pt x="5122304" y="1207972"/>
                  </a:lnTo>
                  <a:lnTo>
                    <a:pt x="5143956" y="1222985"/>
                  </a:lnTo>
                  <a:lnTo>
                    <a:pt x="5165608" y="1236330"/>
                  </a:lnTo>
                  <a:lnTo>
                    <a:pt x="5187260" y="1239666"/>
                  </a:lnTo>
                  <a:lnTo>
                    <a:pt x="5197253" y="1269691"/>
                  </a:lnTo>
                  <a:lnTo>
                    <a:pt x="5192256" y="1304721"/>
                  </a:lnTo>
                  <a:lnTo>
                    <a:pt x="5190591" y="1308057"/>
                  </a:lnTo>
                  <a:lnTo>
                    <a:pt x="5190591" y="1324738"/>
                  </a:lnTo>
                  <a:lnTo>
                    <a:pt x="5200584" y="1333078"/>
                  </a:lnTo>
                  <a:lnTo>
                    <a:pt x="5197253" y="1338082"/>
                  </a:lnTo>
                  <a:lnTo>
                    <a:pt x="5203915" y="1363103"/>
                  </a:lnTo>
                  <a:lnTo>
                    <a:pt x="5207246" y="1388124"/>
                  </a:lnTo>
                  <a:lnTo>
                    <a:pt x="5233894" y="1396465"/>
                  </a:lnTo>
                  <a:lnTo>
                    <a:pt x="5237225" y="1408141"/>
                  </a:lnTo>
                  <a:lnTo>
                    <a:pt x="5220570" y="1443171"/>
                  </a:lnTo>
                  <a:lnTo>
                    <a:pt x="5237225" y="1463188"/>
                  </a:lnTo>
                  <a:lnTo>
                    <a:pt x="5255546" y="1483204"/>
                  </a:lnTo>
                  <a:lnTo>
                    <a:pt x="5275533" y="1493213"/>
                  </a:lnTo>
                  <a:lnTo>
                    <a:pt x="5283860" y="1523238"/>
                  </a:lnTo>
                  <a:lnTo>
                    <a:pt x="5292188" y="1526574"/>
                  </a:lnTo>
                  <a:lnTo>
                    <a:pt x="5292188" y="1537936"/>
                  </a:lnTo>
                  <a:lnTo>
                    <a:pt x="5293360" y="1537398"/>
                  </a:lnTo>
                  <a:lnTo>
                    <a:pt x="5293360" y="1525745"/>
                  </a:lnTo>
                  <a:lnTo>
                    <a:pt x="5284991" y="1522416"/>
                  </a:lnTo>
                  <a:lnTo>
                    <a:pt x="5276622" y="1492451"/>
                  </a:lnTo>
                  <a:lnTo>
                    <a:pt x="5256535" y="1482463"/>
                  </a:lnTo>
                  <a:lnTo>
                    <a:pt x="5238123" y="1462487"/>
                  </a:lnTo>
                  <a:lnTo>
                    <a:pt x="5222271" y="1443568"/>
                  </a:lnTo>
                  <a:lnTo>
                    <a:pt x="5221355" y="1443356"/>
                  </a:lnTo>
                  <a:lnTo>
                    <a:pt x="5221622" y="1442794"/>
                  </a:lnTo>
                  <a:lnTo>
                    <a:pt x="5221385" y="1442510"/>
                  </a:lnTo>
                  <a:lnTo>
                    <a:pt x="5221720" y="1442587"/>
                  </a:lnTo>
                  <a:lnTo>
                    <a:pt x="5238077" y="1408205"/>
                  </a:lnTo>
                  <a:lnTo>
                    <a:pt x="5234732" y="1396488"/>
                  </a:lnTo>
                  <a:lnTo>
                    <a:pt x="5207977" y="1388119"/>
                  </a:lnTo>
                  <a:lnTo>
                    <a:pt x="5204633" y="1363012"/>
                  </a:lnTo>
                  <a:lnTo>
                    <a:pt x="5197944" y="1337904"/>
                  </a:lnTo>
                  <a:lnTo>
                    <a:pt x="5201289" y="1332882"/>
                  </a:lnTo>
                  <a:lnTo>
                    <a:pt x="5191256" y="1324513"/>
                  </a:lnTo>
                  <a:lnTo>
                    <a:pt x="5191256" y="1307775"/>
                  </a:lnTo>
                  <a:lnTo>
                    <a:pt x="5192928" y="1304427"/>
                  </a:lnTo>
                  <a:lnTo>
                    <a:pt x="5197944" y="1269276"/>
                  </a:lnTo>
                  <a:lnTo>
                    <a:pt x="5223027" y="1277645"/>
                  </a:lnTo>
                  <a:lnTo>
                    <a:pt x="5236404" y="1279319"/>
                  </a:lnTo>
                  <a:lnTo>
                    <a:pt x="5244765" y="1265928"/>
                  </a:lnTo>
                  <a:lnTo>
                    <a:pt x="5266503" y="1254212"/>
                  </a:lnTo>
                  <a:lnTo>
                    <a:pt x="5267668" y="1251297"/>
                  </a:lnTo>
                  <a:lnTo>
                    <a:pt x="5266641" y="1253858"/>
                  </a:lnTo>
                  <a:lnTo>
                    <a:pt x="5244800" y="1265583"/>
                  </a:lnTo>
                  <a:lnTo>
                    <a:pt x="5236400" y="1278984"/>
                  </a:lnTo>
                  <a:lnTo>
                    <a:pt x="5222960" y="1277309"/>
                  </a:lnTo>
                  <a:lnTo>
                    <a:pt x="5197760" y="1268933"/>
                  </a:lnTo>
                  <a:lnTo>
                    <a:pt x="5187680" y="1238782"/>
                  </a:lnTo>
                  <a:lnTo>
                    <a:pt x="5165840" y="1235432"/>
                  </a:lnTo>
                  <a:lnTo>
                    <a:pt x="5144000" y="1222031"/>
                  </a:lnTo>
                  <a:lnTo>
                    <a:pt x="5122159" y="1206955"/>
                  </a:lnTo>
                  <a:lnTo>
                    <a:pt x="5081839" y="1193554"/>
                  </a:lnTo>
                  <a:lnTo>
                    <a:pt x="5056639" y="1195229"/>
                  </a:lnTo>
                  <a:lnTo>
                    <a:pt x="5029759" y="1198580"/>
                  </a:lnTo>
                  <a:lnTo>
                    <a:pt x="5011278" y="1217006"/>
                  </a:lnTo>
                  <a:lnTo>
                    <a:pt x="5002878" y="1217006"/>
                  </a:lnTo>
                  <a:lnTo>
                    <a:pt x="4996158" y="1193554"/>
                  </a:lnTo>
                  <a:lnTo>
                    <a:pt x="4989438" y="1166753"/>
                  </a:lnTo>
                  <a:lnTo>
                    <a:pt x="4974318" y="1156702"/>
                  </a:lnTo>
                  <a:lnTo>
                    <a:pt x="4972638" y="1158377"/>
                  </a:lnTo>
                  <a:lnTo>
                    <a:pt x="4975998" y="1153352"/>
                  </a:lnTo>
                  <a:lnTo>
                    <a:pt x="4981038" y="1148327"/>
                  </a:lnTo>
                  <a:lnTo>
                    <a:pt x="4974318" y="1138276"/>
                  </a:lnTo>
                  <a:lnTo>
                    <a:pt x="4962558" y="1141627"/>
                  </a:lnTo>
                  <a:lnTo>
                    <a:pt x="4962558" y="1143302"/>
                  </a:lnTo>
                  <a:lnTo>
                    <a:pt x="4954158" y="1113150"/>
                  </a:lnTo>
                  <a:lnTo>
                    <a:pt x="4959198" y="1111475"/>
                  </a:lnTo>
                  <a:lnTo>
                    <a:pt x="4972638" y="1111475"/>
                  </a:lnTo>
                  <a:lnTo>
                    <a:pt x="4984398" y="1118175"/>
                  </a:lnTo>
                  <a:lnTo>
                    <a:pt x="4991118" y="1116500"/>
                  </a:lnTo>
                  <a:lnTo>
                    <a:pt x="4992798" y="1113150"/>
                  </a:lnTo>
                  <a:lnTo>
                    <a:pt x="4996158" y="1104775"/>
                  </a:lnTo>
                  <a:lnTo>
                    <a:pt x="4972638" y="1077973"/>
                  </a:lnTo>
                  <a:lnTo>
                    <a:pt x="4950798" y="1076298"/>
                  </a:lnTo>
                  <a:lnTo>
                    <a:pt x="4952478" y="1101424"/>
                  </a:lnTo>
                  <a:lnTo>
                    <a:pt x="4952478" y="1104775"/>
                  </a:lnTo>
                  <a:lnTo>
                    <a:pt x="4935678" y="1072948"/>
                  </a:lnTo>
                  <a:lnTo>
                    <a:pt x="4939038" y="1057872"/>
                  </a:lnTo>
                  <a:lnTo>
                    <a:pt x="4930638" y="1054522"/>
                  </a:lnTo>
                  <a:lnTo>
                    <a:pt x="4932533" y="1054522"/>
                  </a:lnTo>
                  <a:lnTo>
                    <a:pt x="4913004" y="1046383"/>
                  </a:lnTo>
                  <a:lnTo>
                    <a:pt x="4902975" y="1041368"/>
                  </a:lnTo>
                  <a:lnTo>
                    <a:pt x="4881247" y="1011275"/>
                  </a:lnTo>
                  <a:lnTo>
                    <a:pt x="4867875" y="1002916"/>
                  </a:lnTo>
                  <a:lnTo>
                    <a:pt x="4896290" y="1001244"/>
                  </a:lnTo>
                  <a:lnTo>
                    <a:pt x="4884589" y="991214"/>
                  </a:lnTo>
                  <a:lnTo>
                    <a:pt x="4897961" y="977839"/>
                  </a:lnTo>
                  <a:lnTo>
                    <a:pt x="4928047" y="977839"/>
                  </a:lnTo>
                  <a:lnTo>
                    <a:pt x="4923033" y="966137"/>
                  </a:lnTo>
                  <a:lnTo>
                    <a:pt x="4916347" y="934372"/>
                  </a:lnTo>
                  <a:lnTo>
                    <a:pt x="4884589" y="932701"/>
                  </a:lnTo>
                  <a:lnTo>
                    <a:pt x="4864532" y="931029"/>
                  </a:lnTo>
                  <a:lnTo>
                    <a:pt x="4834446" y="944403"/>
                  </a:lnTo>
                  <a:lnTo>
                    <a:pt x="4831103" y="946075"/>
                  </a:lnTo>
                  <a:lnTo>
                    <a:pt x="4812718" y="917654"/>
                  </a:lnTo>
                  <a:lnTo>
                    <a:pt x="4784303" y="895921"/>
                  </a:lnTo>
                  <a:lnTo>
                    <a:pt x="4755889" y="874188"/>
                  </a:lnTo>
                  <a:lnTo>
                    <a:pt x="4760903" y="842423"/>
                  </a:lnTo>
                  <a:lnTo>
                    <a:pt x="4764237" y="810739"/>
                  </a:lnTo>
                  <a:close/>
                  <a:moveTo>
                    <a:pt x="2395290" y="799930"/>
                  </a:moveTo>
                  <a:lnTo>
                    <a:pt x="2405405" y="799930"/>
                  </a:lnTo>
                  <a:lnTo>
                    <a:pt x="2390226" y="806523"/>
                  </a:lnTo>
                  <a:lnTo>
                    <a:pt x="2393599" y="811468"/>
                  </a:lnTo>
                  <a:lnTo>
                    <a:pt x="2383480" y="821357"/>
                  </a:lnTo>
                  <a:lnTo>
                    <a:pt x="2354808" y="854322"/>
                  </a:lnTo>
                  <a:lnTo>
                    <a:pt x="2376734" y="839488"/>
                  </a:lnTo>
                  <a:lnTo>
                    <a:pt x="2373363" y="844433"/>
                  </a:lnTo>
                  <a:lnTo>
                    <a:pt x="2390226" y="842784"/>
                  </a:lnTo>
                  <a:lnTo>
                    <a:pt x="2375054" y="851026"/>
                  </a:lnTo>
                  <a:lnTo>
                    <a:pt x="2375054" y="855970"/>
                  </a:lnTo>
                  <a:lnTo>
                    <a:pt x="2391913" y="860915"/>
                  </a:lnTo>
                  <a:lnTo>
                    <a:pt x="2386854" y="865860"/>
                  </a:lnTo>
                  <a:lnTo>
                    <a:pt x="2410471" y="855970"/>
                  </a:lnTo>
                  <a:lnTo>
                    <a:pt x="2407092" y="862563"/>
                  </a:lnTo>
                  <a:lnTo>
                    <a:pt x="2430702" y="860915"/>
                  </a:lnTo>
                  <a:lnTo>
                    <a:pt x="2413838" y="875749"/>
                  </a:lnTo>
                  <a:lnTo>
                    <a:pt x="2417217" y="882342"/>
                  </a:lnTo>
                  <a:lnTo>
                    <a:pt x="2410471" y="888935"/>
                  </a:lnTo>
                  <a:lnTo>
                    <a:pt x="2437449" y="882342"/>
                  </a:lnTo>
                  <a:lnTo>
                    <a:pt x="2412152" y="898825"/>
                  </a:lnTo>
                  <a:lnTo>
                    <a:pt x="2413838" y="902121"/>
                  </a:lnTo>
                  <a:lnTo>
                    <a:pt x="2412152" y="902121"/>
                  </a:lnTo>
                  <a:lnTo>
                    <a:pt x="2412152" y="912011"/>
                  </a:lnTo>
                  <a:lnTo>
                    <a:pt x="2435762" y="893880"/>
                  </a:lnTo>
                  <a:lnTo>
                    <a:pt x="2423956" y="912011"/>
                  </a:lnTo>
                  <a:lnTo>
                    <a:pt x="2435762" y="905418"/>
                  </a:lnTo>
                  <a:lnTo>
                    <a:pt x="2437449" y="913659"/>
                  </a:lnTo>
                  <a:lnTo>
                    <a:pt x="2417217" y="940031"/>
                  </a:lnTo>
                  <a:lnTo>
                    <a:pt x="2407092" y="935086"/>
                  </a:lnTo>
                  <a:lnTo>
                    <a:pt x="2407092" y="925197"/>
                  </a:lnTo>
                  <a:lnTo>
                    <a:pt x="2395290" y="931790"/>
                  </a:lnTo>
                  <a:lnTo>
                    <a:pt x="2407092" y="912011"/>
                  </a:lnTo>
                  <a:lnTo>
                    <a:pt x="2402035" y="903769"/>
                  </a:lnTo>
                  <a:lnTo>
                    <a:pt x="2390226" y="918604"/>
                  </a:lnTo>
                  <a:lnTo>
                    <a:pt x="2395290" y="912011"/>
                  </a:lnTo>
                  <a:lnTo>
                    <a:pt x="2356495" y="933438"/>
                  </a:lnTo>
                  <a:lnTo>
                    <a:pt x="2356495" y="925197"/>
                  </a:lnTo>
                  <a:lnTo>
                    <a:pt x="2386854" y="910362"/>
                  </a:lnTo>
                  <a:lnTo>
                    <a:pt x="2380109" y="912011"/>
                  </a:lnTo>
                  <a:lnTo>
                    <a:pt x="2385167" y="905418"/>
                  </a:lnTo>
                  <a:lnTo>
                    <a:pt x="2373363" y="910362"/>
                  </a:lnTo>
                  <a:lnTo>
                    <a:pt x="2363241" y="915307"/>
                  </a:lnTo>
                  <a:lnTo>
                    <a:pt x="2353127" y="913659"/>
                  </a:lnTo>
                  <a:lnTo>
                    <a:pt x="2361563" y="910362"/>
                  </a:lnTo>
                  <a:lnTo>
                    <a:pt x="2363241" y="905418"/>
                  </a:lnTo>
                  <a:lnTo>
                    <a:pt x="2319390" y="912011"/>
                  </a:lnTo>
                  <a:lnTo>
                    <a:pt x="2282293" y="908714"/>
                  </a:lnTo>
                  <a:lnTo>
                    <a:pt x="2290718" y="895528"/>
                  </a:lnTo>
                  <a:lnTo>
                    <a:pt x="2309274" y="883990"/>
                  </a:lnTo>
                  <a:lnTo>
                    <a:pt x="2290718" y="883990"/>
                  </a:lnTo>
                  <a:lnTo>
                    <a:pt x="2299151" y="880694"/>
                  </a:lnTo>
                  <a:lnTo>
                    <a:pt x="2321077" y="869156"/>
                  </a:lnTo>
                  <a:lnTo>
                    <a:pt x="2322764" y="870804"/>
                  </a:lnTo>
                  <a:lnTo>
                    <a:pt x="2326137" y="864212"/>
                  </a:lnTo>
                  <a:lnTo>
                    <a:pt x="2321077" y="859267"/>
                  </a:lnTo>
                  <a:lnTo>
                    <a:pt x="2331201" y="854322"/>
                  </a:lnTo>
                  <a:lnTo>
                    <a:pt x="2354808" y="823005"/>
                  </a:lnTo>
                  <a:lnTo>
                    <a:pt x="2383480" y="801578"/>
                  </a:lnTo>
                  <a:close/>
                  <a:moveTo>
                    <a:pt x="5910740" y="783338"/>
                  </a:moveTo>
                  <a:lnTo>
                    <a:pt x="5910698" y="783587"/>
                  </a:lnTo>
                  <a:lnTo>
                    <a:pt x="5950034" y="793326"/>
                  </a:lnTo>
                  <a:lnTo>
                    <a:pt x="5990292" y="801632"/>
                  </a:lnTo>
                  <a:lnTo>
                    <a:pt x="6008744" y="819905"/>
                  </a:lnTo>
                  <a:lnTo>
                    <a:pt x="6037326" y="832771"/>
                  </a:lnTo>
                  <a:lnTo>
                    <a:pt x="6009481" y="820125"/>
                  </a:lnTo>
                  <a:lnTo>
                    <a:pt x="5991071" y="801732"/>
                  </a:lnTo>
                  <a:lnTo>
                    <a:pt x="5950906" y="793371"/>
                  </a:lnTo>
                  <a:close/>
                  <a:moveTo>
                    <a:pt x="4863081" y="781666"/>
                  </a:moveTo>
                  <a:lnTo>
                    <a:pt x="4831283" y="783338"/>
                  </a:lnTo>
                  <a:lnTo>
                    <a:pt x="4812874" y="795043"/>
                  </a:lnTo>
                  <a:lnTo>
                    <a:pt x="4794464" y="810092"/>
                  </a:lnTo>
                  <a:lnTo>
                    <a:pt x="4791135" y="821733"/>
                  </a:lnTo>
                  <a:lnTo>
                    <a:pt x="4792660" y="822362"/>
                  </a:lnTo>
                  <a:lnTo>
                    <a:pt x="4796003" y="810659"/>
                  </a:lnTo>
                  <a:lnTo>
                    <a:pt x="4814389" y="795613"/>
                  </a:lnTo>
                  <a:lnTo>
                    <a:pt x="4832775" y="783910"/>
                  </a:lnTo>
                  <a:lnTo>
                    <a:pt x="4864452" y="782243"/>
                  </a:lnTo>
                  <a:close/>
                  <a:moveTo>
                    <a:pt x="4192606" y="775426"/>
                  </a:moveTo>
                  <a:lnTo>
                    <a:pt x="4191379" y="776903"/>
                  </a:lnTo>
                  <a:lnTo>
                    <a:pt x="4206401" y="785281"/>
                  </a:lnTo>
                  <a:lnTo>
                    <a:pt x="4218084" y="817116"/>
                  </a:lnTo>
                  <a:lnTo>
                    <a:pt x="4216415" y="832196"/>
                  </a:lnTo>
                  <a:lnTo>
                    <a:pt x="4193048" y="862356"/>
                  </a:lnTo>
                  <a:lnTo>
                    <a:pt x="4189710" y="870734"/>
                  </a:lnTo>
                  <a:lnTo>
                    <a:pt x="4152992" y="862356"/>
                  </a:lnTo>
                  <a:lnTo>
                    <a:pt x="4133387" y="863996"/>
                  </a:lnTo>
                  <a:lnTo>
                    <a:pt x="4134125" y="865460"/>
                  </a:lnTo>
                  <a:lnTo>
                    <a:pt x="4154187" y="863803"/>
                  </a:lnTo>
                  <a:lnTo>
                    <a:pt x="4189892" y="871847"/>
                  </a:lnTo>
                  <a:lnTo>
                    <a:pt x="4190143" y="871086"/>
                  </a:lnTo>
                  <a:lnTo>
                    <a:pt x="4193497" y="862646"/>
                  </a:lnTo>
                  <a:lnTo>
                    <a:pt x="4216977" y="832260"/>
                  </a:lnTo>
                  <a:lnTo>
                    <a:pt x="4218654" y="817067"/>
                  </a:lnTo>
                  <a:lnTo>
                    <a:pt x="4206914" y="784994"/>
                  </a:lnTo>
                  <a:lnTo>
                    <a:pt x="4247165" y="784994"/>
                  </a:lnTo>
                  <a:lnTo>
                    <a:pt x="4284062" y="784994"/>
                  </a:lnTo>
                  <a:lnTo>
                    <a:pt x="4324312" y="793434"/>
                  </a:lnTo>
                  <a:lnTo>
                    <a:pt x="4364563" y="801875"/>
                  </a:lnTo>
                  <a:lnTo>
                    <a:pt x="4364248" y="799654"/>
                  </a:lnTo>
                  <a:lnTo>
                    <a:pt x="4324980" y="791528"/>
                  </a:lnTo>
                  <a:lnTo>
                    <a:pt x="4284380" y="783127"/>
                  </a:lnTo>
                  <a:lnTo>
                    <a:pt x="4247163" y="783127"/>
                  </a:lnTo>
                  <a:lnTo>
                    <a:pt x="4206562" y="783127"/>
                  </a:lnTo>
                  <a:close/>
                  <a:moveTo>
                    <a:pt x="4390867" y="773982"/>
                  </a:moveTo>
                  <a:lnTo>
                    <a:pt x="4363889" y="788168"/>
                  </a:lnTo>
                  <a:lnTo>
                    <a:pt x="4364070" y="789427"/>
                  </a:lnTo>
                  <a:lnTo>
                    <a:pt x="4391242" y="774948"/>
                  </a:lnTo>
                  <a:lnTo>
                    <a:pt x="4391132" y="774978"/>
                  </a:lnTo>
                  <a:close/>
                  <a:moveTo>
                    <a:pt x="3570005" y="747204"/>
                  </a:moveTo>
                  <a:lnTo>
                    <a:pt x="3574826" y="749464"/>
                  </a:lnTo>
                  <a:lnTo>
                    <a:pt x="3568800" y="750217"/>
                  </a:lnTo>
                  <a:close/>
                  <a:moveTo>
                    <a:pt x="6422854" y="744880"/>
                  </a:moveTo>
                  <a:lnTo>
                    <a:pt x="6392730" y="746552"/>
                  </a:lnTo>
                  <a:lnTo>
                    <a:pt x="6377668" y="763273"/>
                  </a:lnTo>
                  <a:lnTo>
                    <a:pt x="6378989" y="763713"/>
                  </a:lnTo>
                  <a:lnTo>
                    <a:pt x="6392335" y="748877"/>
                  </a:lnTo>
                  <a:lnTo>
                    <a:pt x="6422435" y="747204"/>
                  </a:lnTo>
                  <a:lnTo>
                    <a:pt x="6452534" y="747204"/>
                  </a:lnTo>
                  <a:lnTo>
                    <a:pt x="6511061" y="765607"/>
                  </a:lnTo>
                  <a:lnTo>
                    <a:pt x="6536143" y="787356"/>
                  </a:lnTo>
                  <a:lnTo>
                    <a:pt x="6559554" y="807432"/>
                  </a:lnTo>
                  <a:lnTo>
                    <a:pt x="6582965" y="827507"/>
                  </a:lnTo>
                  <a:lnTo>
                    <a:pt x="6608047" y="847583"/>
                  </a:lnTo>
                  <a:lnTo>
                    <a:pt x="6633130" y="857621"/>
                  </a:lnTo>
                  <a:lnTo>
                    <a:pt x="6676607" y="869332"/>
                  </a:lnTo>
                  <a:lnTo>
                    <a:pt x="6701690" y="879370"/>
                  </a:lnTo>
                  <a:lnTo>
                    <a:pt x="6731789" y="912830"/>
                  </a:lnTo>
                  <a:lnTo>
                    <a:pt x="6768577" y="907811"/>
                  </a:lnTo>
                  <a:lnTo>
                    <a:pt x="6803693" y="894427"/>
                  </a:lnTo>
                  <a:lnTo>
                    <a:pt x="6818743" y="919522"/>
                  </a:lnTo>
                  <a:lnTo>
                    <a:pt x="6822087" y="954655"/>
                  </a:lnTo>
                  <a:lnTo>
                    <a:pt x="6828272" y="987138"/>
                  </a:lnTo>
                  <a:lnTo>
                    <a:pt x="6829533" y="987337"/>
                  </a:lnTo>
                  <a:lnTo>
                    <a:pt x="6822839" y="952222"/>
                  </a:lnTo>
                  <a:lnTo>
                    <a:pt x="6819492" y="917108"/>
                  </a:lnTo>
                  <a:lnTo>
                    <a:pt x="6804430" y="892026"/>
                  </a:lnTo>
                  <a:lnTo>
                    <a:pt x="6769285" y="905403"/>
                  </a:lnTo>
                  <a:lnTo>
                    <a:pt x="6732466" y="910419"/>
                  </a:lnTo>
                  <a:lnTo>
                    <a:pt x="6702341" y="876977"/>
                  </a:lnTo>
                  <a:lnTo>
                    <a:pt x="6677238" y="866944"/>
                  </a:lnTo>
                  <a:lnTo>
                    <a:pt x="6633725" y="855239"/>
                  </a:lnTo>
                  <a:lnTo>
                    <a:pt x="6608621" y="845207"/>
                  </a:lnTo>
                  <a:lnTo>
                    <a:pt x="6583518" y="825141"/>
                  </a:lnTo>
                  <a:lnTo>
                    <a:pt x="6560088" y="805076"/>
                  </a:lnTo>
                  <a:lnTo>
                    <a:pt x="6536658" y="785010"/>
                  </a:lnTo>
                  <a:lnTo>
                    <a:pt x="6511554" y="763273"/>
                  </a:lnTo>
                  <a:lnTo>
                    <a:pt x="6452979" y="744880"/>
                  </a:lnTo>
                  <a:close/>
                  <a:moveTo>
                    <a:pt x="5042154" y="743208"/>
                  </a:moveTo>
                  <a:lnTo>
                    <a:pt x="5032112" y="776650"/>
                  </a:lnTo>
                  <a:lnTo>
                    <a:pt x="5055542" y="805076"/>
                  </a:lnTo>
                  <a:lnTo>
                    <a:pt x="5052195" y="813436"/>
                  </a:lnTo>
                  <a:lnTo>
                    <a:pt x="5007008" y="806748"/>
                  </a:lnTo>
                  <a:lnTo>
                    <a:pt x="4961822" y="806748"/>
                  </a:lnTo>
                  <a:lnTo>
                    <a:pt x="4926821" y="810078"/>
                  </a:lnTo>
                  <a:lnTo>
                    <a:pt x="4928047" y="810659"/>
                  </a:lnTo>
                  <a:lnTo>
                    <a:pt x="4963147" y="807316"/>
                  </a:lnTo>
                  <a:lnTo>
                    <a:pt x="5008276" y="807316"/>
                  </a:lnTo>
                  <a:lnTo>
                    <a:pt x="5053405" y="814003"/>
                  </a:lnTo>
                  <a:lnTo>
                    <a:pt x="5056748" y="805644"/>
                  </a:lnTo>
                  <a:lnTo>
                    <a:pt x="5033347" y="777223"/>
                  </a:lnTo>
                  <a:lnTo>
                    <a:pt x="5043376" y="743788"/>
                  </a:lnTo>
                  <a:lnTo>
                    <a:pt x="5065105" y="745460"/>
                  </a:lnTo>
                  <a:lnTo>
                    <a:pt x="5063867" y="744877"/>
                  </a:lnTo>
                  <a:close/>
                  <a:moveTo>
                    <a:pt x="4392501" y="741266"/>
                  </a:moveTo>
                  <a:lnTo>
                    <a:pt x="4385880" y="747841"/>
                  </a:lnTo>
                  <a:lnTo>
                    <a:pt x="4386010" y="748325"/>
                  </a:lnTo>
                  <a:lnTo>
                    <a:pt x="4392806" y="741536"/>
                  </a:lnTo>
                  <a:close/>
                  <a:moveTo>
                    <a:pt x="3994153" y="733058"/>
                  </a:moveTo>
                  <a:lnTo>
                    <a:pt x="3986992" y="734498"/>
                  </a:lnTo>
                  <a:lnTo>
                    <a:pt x="3990357" y="761544"/>
                  </a:lnTo>
                  <a:lnTo>
                    <a:pt x="4002132" y="793663"/>
                  </a:lnTo>
                  <a:lnTo>
                    <a:pt x="4007179" y="815638"/>
                  </a:lnTo>
                  <a:lnTo>
                    <a:pt x="4000450" y="813948"/>
                  </a:lnTo>
                  <a:lnTo>
                    <a:pt x="3948301" y="835924"/>
                  </a:lnTo>
                  <a:lnTo>
                    <a:pt x="3949950" y="838409"/>
                  </a:lnTo>
                  <a:lnTo>
                    <a:pt x="4001710" y="816501"/>
                  </a:lnTo>
                  <a:lnTo>
                    <a:pt x="4008391" y="818187"/>
                  </a:lnTo>
                  <a:lnTo>
                    <a:pt x="4011731" y="818187"/>
                  </a:lnTo>
                  <a:lnTo>
                    <a:pt x="4041795" y="828302"/>
                  </a:lnTo>
                  <a:lnTo>
                    <a:pt x="4048476" y="836731"/>
                  </a:lnTo>
                  <a:lnTo>
                    <a:pt x="4060167" y="836731"/>
                  </a:lnTo>
                  <a:lnTo>
                    <a:pt x="4076869" y="836731"/>
                  </a:lnTo>
                  <a:lnTo>
                    <a:pt x="4103593" y="856960"/>
                  </a:lnTo>
                  <a:lnTo>
                    <a:pt x="4103593" y="858646"/>
                  </a:lnTo>
                  <a:lnTo>
                    <a:pt x="4096912" y="865389"/>
                  </a:lnTo>
                  <a:lnTo>
                    <a:pt x="4090231" y="868761"/>
                  </a:lnTo>
                  <a:lnTo>
                    <a:pt x="4090231" y="872133"/>
                  </a:lnTo>
                  <a:lnTo>
                    <a:pt x="4081957" y="878814"/>
                  </a:lnTo>
                  <a:lnTo>
                    <a:pt x="4082299" y="878717"/>
                  </a:lnTo>
                  <a:lnTo>
                    <a:pt x="4090658" y="872089"/>
                  </a:lnTo>
                  <a:lnTo>
                    <a:pt x="4090658" y="868775"/>
                  </a:lnTo>
                  <a:lnTo>
                    <a:pt x="4097346" y="865460"/>
                  </a:lnTo>
                  <a:lnTo>
                    <a:pt x="4104033" y="858832"/>
                  </a:lnTo>
                  <a:lnTo>
                    <a:pt x="4104033" y="857175"/>
                  </a:lnTo>
                  <a:lnTo>
                    <a:pt x="4130361" y="858806"/>
                  </a:lnTo>
                  <a:lnTo>
                    <a:pt x="4129625" y="857329"/>
                  </a:lnTo>
                  <a:lnTo>
                    <a:pt x="4102921" y="855654"/>
                  </a:lnTo>
                  <a:lnTo>
                    <a:pt x="4076216" y="835547"/>
                  </a:lnTo>
                  <a:lnTo>
                    <a:pt x="4059526" y="835547"/>
                  </a:lnTo>
                  <a:lnTo>
                    <a:pt x="4047843" y="835547"/>
                  </a:lnTo>
                  <a:lnTo>
                    <a:pt x="4041167" y="827170"/>
                  </a:lnTo>
                  <a:lnTo>
                    <a:pt x="4011124" y="817116"/>
                  </a:lnTo>
                  <a:lnTo>
                    <a:pt x="4007786" y="817116"/>
                  </a:lnTo>
                  <a:lnTo>
                    <a:pt x="4002779" y="795334"/>
                  </a:lnTo>
                  <a:lnTo>
                    <a:pt x="3991096" y="763499"/>
                  </a:lnTo>
                  <a:lnTo>
                    <a:pt x="3987758" y="736690"/>
                  </a:lnTo>
                  <a:lnTo>
                    <a:pt x="3996103" y="735016"/>
                  </a:lnTo>
                  <a:close/>
                  <a:moveTo>
                    <a:pt x="5386030" y="730373"/>
                  </a:moveTo>
                  <a:lnTo>
                    <a:pt x="5386021" y="730414"/>
                  </a:lnTo>
                  <a:lnTo>
                    <a:pt x="5417778" y="752146"/>
                  </a:lnTo>
                  <a:lnTo>
                    <a:pt x="5447864" y="772208"/>
                  </a:lnTo>
                  <a:lnTo>
                    <a:pt x="5479621" y="793941"/>
                  </a:lnTo>
                  <a:lnTo>
                    <a:pt x="5513050" y="815675"/>
                  </a:lnTo>
                  <a:lnTo>
                    <a:pt x="5518065" y="807316"/>
                  </a:lnTo>
                  <a:lnTo>
                    <a:pt x="5534779" y="814003"/>
                  </a:lnTo>
                  <a:lnTo>
                    <a:pt x="5564865" y="810659"/>
                  </a:lnTo>
                  <a:lnTo>
                    <a:pt x="5596622" y="830721"/>
                  </a:lnTo>
                  <a:lnTo>
                    <a:pt x="5628379" y="847439"/>
                  </a:lnTo>
                  <a:lnTo>
                    <a:pt x="5658465" y="842423"/>
                  </a:lnTo>
                  <a:lnTo>
                    <a:pt x="5686880" y="870844"/>
                  </a:lnTo>
                  <a:lnTo>
                    <a:pt x="5676851" y="890906"/>
                  </a:lnTo>
                  <a:lnTo>
                    <a:pt x="5665151" y="897593"/>
                  </a:lnTo>
                  <a:lnTo>
                    <a:pt x="5665701" y="899007"/>
                  </a:lnTo>
                  <a:lnTo>
                    <a:pt x="5676638" y="892754"/>
                  </a:lnTo>
                  <a:lnTo>
                    <a:pt x="5686671" y="872678"/>
                  </a:lnTo>
                  <a:lnTo>
                    <a:pt x="5704469" y="869441"/>
                  </a:lnTo>
                  <a:lnTo>
                    <a:pt x="5703702" y="867160"/>
                  </a:lnTo>
                  <a:lnTo>
                    <a:pt x="5686480" y="870288"/>
                  </a:lnTo>
                  <a:lnTo>
                    <a:pt x="5658030" y="841862"/>
                  </a:lnTo>
                  <a:lnTo>
                    <a:pt x="5627905" y="846879"/>
                  </a:lnTo>
                  <a:lnTo>
                    <a:pt x="5596107" y="830158"/>
                  </a:lnTo>
                  <a:lnTo>
                    <a:pt x="5564309" y="810092"/>
                  </a:lnTo>
                  <a:lnTo>
                    <a:pt x="5534185" y="813436"/>
                  </a:lnTo>
                  <a:lnTo>
                    <a:pt x="5517449" y="806748"/>
                  </a:lnTo>
                  <a:lnTo>
                    <a:pt x="5512429" y="815109"/>
                  </a:lnTo>
                  <a:lnTo>
                    <a:pt x="5478957" y="793371"/>
                  </a:lnTo>
                  <a:lnTo>
                    <a:pt x="5447159" y="771633"/>
                  </a:lnTo>
                  <a:lnTo>
                    <a:pt x="5417035" y="751568"/>
                  </a:lnTo>
                  <a:close/>
                  <a:moveTo>
                    <a:pt x="6847498" y="717075"/>
                  </a:moveTo>
                  <a:lnTo>
                    <a:pt x="6877512" y="745299"/>
                  </a:lnTo>
                  <a:lnTo>
                    <a:pt x="6907526" y="773521"/>
                  </a:lnTo>
                  <a:lnTo>
                    <a:pt x="6912529" y="783482"/>
                  </a:lnTo>
                  <a:lnTo>
                    <a:pt x="6944210" y="808385"/>
                  </a:lnTo>
                  <a:lnTo>
                    <a:pt x="6974225" y="833287"/>
                  </a:lnTo>
                  <a:lnTo>
                    <a:pt x="7004239" y="858190"/>
                  </a:lnTo>
                  <a:lnTo>
                    <a:pt x="7032586" y="884753"/>
                  </a:lnTo>
                  <a:lnTo>
                    <a:pt x="7020913" y="874792"/>
                  </a:lnTo>
                  <a:lnTo>
                    <a:pt x="6992567" y="864831"/>
                  </a:lnTo>
                  <a:lnTo>
                    <a:pt x="6984229" y="864831"/>
                  </a:lnTo>
                  <a:lnTo>
                    <a:pt x="6994234" y="903015"/>
                  </a:lnTo>
                  <a:lnTo>
                    <a:pt x="7040923" y="937878"/>
                  </a:lnTo>
                  <a:lnTo>
                    <a:pt x="7048513" y="947496"/>
                  </a:lnTo>
                  <a:lnTo>
                    <a:pt x="7027583" y="937878"/>
                  </a:lnTo>
                  <a:lnTo>
                    <a:pt x="7029251" y="957801"/>
                  </a:lnTo>
                  <a:lnTo>
                    <a:pt x="7022581" y="957801"/>
                  </a:lnTo>
                  <a:lnTo>
                    <a:pt x="7002571" y="927917"/>
                  </a:lnTo>
                  <a:lnTo>
                    <a:pt x="6982562" y="904675"/>
                  </a:lnTo>
                  <a:lnTo>
                    <a:pt x="6962552" y="881432"/>
                  </a:lnTo>
                  <a:lnTo>
                    <a:pt x="6944210" y="851549"/>
                  </a:lnTo>
                  <a:lnTo>
                    <a:pt x="6922533" y="823326"/>
                  </a:lnTo>
                  <a:lnTo>
                    <a:pt x="6899189" y="798424"/>
                  </a:lnTo>
                  <a:lnTo>
                    <a:pt x="6874177" y="773521"/>
                  </a:lnTo>
                  <a:lnTo>
                    <a:pt x="6850833" y="746958"/>
                  </a:lnTo>
                  <a:lnTo>
                    <a:pt x="6862505" y="746958"/>
                  </a:lnTo>
                  <a:lnTo>
                    <a:pt x="6862505" y="736998"/>
                  </a:lnTo>
                  <a:lnTo>
                    <a:pt x="6840828" y="722056"/>
                  </a:lnTo>
                  <a:close/>
                  <a:moveTo>
                    <a:pt x="4166864" y="705108"/>
                  </a:moveTo>
                  <a:lnTo>
                    <a:pt x="4166864" y="719060"/>
                  </a:lnTo>
                  <a:lnTo>
                    <a:pt x="4188041" y="721611"/>
                  </a:lnTo>
                  <a:lnTo>
                    <a:pt x="4207387" y="755596"/>
                  </a:lnTo>
                  <a:lnTo>
                    <a:pt x="4208254" y="754562"/>
                  </a:lnTo>
                  <a:lnTo>
                    <a:pt x="4188376" y="720012"/>
                  </a:lnTo>
                  <a:lnTo>
                    <a:pt x="4188267" y="720088"/>
                  </a:lnTo>
                  <a:lnTo>
                    <a:pt x="4168077" y="718435"/>
                  </a:lnTo>
                  <a:lnTo>
                    <a:pt x="4168077" y="705208"/>
                  </a:lnTo>
                  <a:close/>
                  <a:moveTo>
                    <a:pt x="5245317" y="705003"/>
                  </a:moveTo>
                  <a:lnTo>
                    <a:pt x="5245620" y="705337"/>
                  </a:lnTo>
                  <a:lnTo>
                    <a:pt x="5289078" y="722054"/>
                  </a:lnTo>
                  <a:lnTo>
                    <a:pt x="5307463" y="730414"/>
                  </a:lnTo>
                  <a:lnTo>
                    <a:pt x="5325849" y="733757"/>
                  </a:lnTo>
                  <a:lnTo>
                    <a:pt x="5355935" y="722054"/>
                  </a:lnTo>
                  <a:lnTo>
                    <a:pt x="5384349" y="712023"/>
                  </a:lnTo>
                  <a:lnTo>
                    <a:pt x="5388571" y="714839"/>
                  </a:lnTo>
                  <a:lnTo>
                    <a:pt x="5388584" y="714782"/>
                  </a:lnTo>
                  <a:lnTo>
                    <a:pt x="5383563" y="711438"/>
                  </a:lnTo>
                  <a:lnTo>
                    <a:pt x="5355112" y="721471"/>
                  </a:lnTo>
                  <a:lnTo>
                    <a:pt x="5324988" y="733175"/>
                  </a:lnTo>
                  <a:lnTo>
                    <a:pt x="5306579" y="729831"/>
                  </a:lnTo>
                  <a:lnTo>
                    <a:pt x="5288169" y="721471"/>
                  </a:lnTo>
                  <a:close/>
                  <a:moveTo>
                    <a:pt x="3933363" y="698997"/>
                  </a:moveTo>
                  <a:lnTo>
                    <a:pt x="3936376" y="701508"/>
                  </a:lnTo>
                  <a:lnTo>
                    <a:pt x="3933363" y="706530"/>
                  </a:lnTo>
                  <a:close/>
                  <a:moveTo>
                    <a:pt x="35286" y="698997"/>
                  </a:moveTo>
                  <a:lnTo>
                    <a:pt x="43687" y="709166"/>
                  </a:lnTo>
                  <a:lnTo>
                    <a:pt x="10082" y="712555"/>
                  </a:lnTo>
                  <a:lnTo>
                    <a:pt x="0" y="710860"/>
                  </a:lnTo>
                  <a:close/>
                  <a:moveTo>
                    <a:pt x="7336453" y="689959"/>
                  </a:moveTo>
                  <a:lnTo>
                    <a:pt x="7367564" y="703014"/>
                  </a:lnTo>
                  <a:lnTo>
                    <a:pt x="7374114" y="709542"/>
                  </a:lnTo>
                  <a:close/>
                  <a:moveTo>
                    <a:pt x="3511143" y="689958"/>
                  </a:moveTo>
                  <a:lnTo>
                    <a:pt x="3507747" y="695051"/>
                  </a:lnTo>
                  <a:lnTo>
                    <a:pt x="3490765" y="715424"/>
                  </a:lnTo>
                  <a:lnTo>
                    <a:pt x="3491823" y="715713"/>
                  </a:lnTo>
                  <a:lnTo>
                    <a:pt x="3507412" y="696460"/>
                  </a:lnTo>
                  <a:lnTo>
                    <a:pt x="3526054" y="692971"/>
                  </a:lnTo>
                  <a:lnTo>
                    <a:pt x="3539612" y="710414"/>
                  </a:lnTo>
                  <a:lnTo>
                    <a:pt x="3544697" y="715647"/>
                  </a:lnTo>
                  <a:lnTo>
                    <a:pt x="3528125" y="725881"/>
                  </a:lnTo>
                  <a:lnTo>
                    <a:pt x="3528125" y="745985"/>
                  </a:lnTo>
                  <a:lnTo>
                    <a:pt x="3528125" y="769753"/>
                  </a:lnTo>
                  <a:lnTo>
                    <a:pt x="3519634" y="781637"/>
                  </a:lnTo>
                  <a:lnTo>
                    <a:pt x="3495859" y="783335"/>
                  </a:lnTo>
                  <a:lnTo>
                    <a:pt x="3473783" y="795219"/>
                  </a:lnTo>
                  <a:lnTo>
                    <a:pt x="3448310" y="796917"/>
                  </a:lnTo>
                  <a:lnTo>
                    <a:pt x="3448310" y="793521"/>
                  </a:lnTo>
                  <a:lnTo>
                    <a:pt x="3439819" y="793521"/>
                  </a:lnTo>
                  <a:lnTo>
                    <a:pt x="3444914" y="791824"/>
                  </a:lnTo>
                  <a:lnTo>
                    <a:pt x="3434725" y="786730"/>
                  </a:lnTo>
                  <a:lnTo>
                    <a:pt x="3439819" y="781637"/>
                  </a:lnTo>
                  <a:lnTo>
                    <a:pt x="3434725" y="779939"/>
                  </a:lnTo>
                  <a:lnTo>
                    <a:pt x="3444914" y="773148"/>
                  </a:lnTo>
                  <a:lnTo>
                    <a:pt x="3465292" y="762962"/>
                  </a:lnTo>
                  <a:lnTo>
                    <a:pt x="3446612" y="766357"/>
                  </a:lnTo>
                  <a:lnTo>
                    <a:pt x="3465292" y="749380"/>
                  </a:lnTo>
                  <a:lnTo>
                    <a:pt x="3438121" y="740891"/>
                  </a:lnTo>
                  <a:lnTo>
                    <a:pt x="3448310" y="730704"/>
                  </a:lnTo>
                  <a:lnTo>
                    <a:pt x="3446612" y="720518"/>
                  </a:lnTo>
                  <a:lnTo>
                    <a:pt x="3475481" y="718820"/>
                  </a:lnTo>
                  <a:lnTo>
                    <a:pt x="3483972" y="708633"/>
                  </a:lnTo>
                  <a:lnTo>
                    <a:pt x="3475481" y="703540"/>
                  </a:lnTo>
                  <a:lnTo>
                    <a:pt x="3494161" y="693354"/>
                  </a:lnTo>
                  <a:lnTo>
                    <a:pt x="3500954" y="693354"/>
                  </a:lnTo>
                  <a:close/>
                  <a:moveTo>
                    <a:pt x="3900220" y="686947"/>
                  </a:moveTo>
                  <a:lnTo>
                    <a:pt x="3906246" y="692303"/>
                  </a:lnTo>
                  <a:lnTo>
                    <a:pt x="3900220" y="698998"/>
                  </a:lnTo>
                  <a:lnTo>
                    <a:pt x="3886662" y="688286"/>
                  </a:lnTo>
                  <a:close/>
                  <a:moveTo>
                    <a:pt x="5227920" y="686356"/>
                  </a:moveTo>
                  <a:lnTo>
                    <a:pt x="5206164" y="689700"/>
                  </a:lnTo>
                  <a:lnTo>
                    <a:pt x="5177713" y="696389"/>
                  </a:lnTo>
                  <a:lnTo>
                    <a:pt x="5152610" y="704749"/>
                  </a:lnTo>
                  <a:lnTo>
                    <a:pt x="5124159" y="713110"/>
                  </a:lnTo>
                  <a:lnTo>
                    <a:pt x="5095708" y="721471"/>
                  </a:lnTo>
                  <a:lnTo>
                    <a:pt x="5065584" y="724814"/>
                  </a:lnTo>
                  <a:lnTo>
                    <a:pt x="5035459" y="731503"/>
                  </a:lnTo>
                  <a:lnTo>
                    <a:pt x="5036695" y="732084"/>
                  </a:lnTo>
                  <a:lnTo>
                    <a:pt x="5066776" y="725398"/>
                  </a:lnTo>
                  <a:lnTo>
                    <a:pt x="5096862" y="722054"/>
                  </a:lnTo>
                  <a:lnTo>
                    <a:pt x="5125277" y="713695"/>
                  </a:lnTo>
                  <a:lnTo>
                    <a:pt x="5153691" y="705337"/>
                  </a:lnTo>
                  <a:lnTo>
                    <a:pt x="5178763" y="696977"/>
                  </a:lnTo>
                  <a:lnTo>
                    <a:pt x="5207177" y="690291"/>
                  </a:lnTo>
                  <a:lnTo>
                    <a:pt x="5228513" y="687007"/>
                  </a:lnTo>
                  <a:close/>
                  <a:moveTo>
                    <a:pt x="3936526" y="668869"/>
                  </a:moveTo>
                  <a:lnTo>
                    <a:pt x="3943456" y="672217"/>
                  </a:lnTo>
                  <a:lnTo>
                    <a:pt x="3946921" y="678912"/>
                  </a:lnTo>
                  <a:lnTo>
                    <a:pt x="3938259" y="685607"/>
                  </a:lnTo>
                  <a:lnTo>
                    <a:pt x="3938259" y="692302"/>
                  </a:lnTo>
                  <a:lnTo>
                    <a:pt x="3931329" y="698997"/>
                  </a:lnTo>
                  <a:lnTo>
                    <a:pt x="3912272" y="683933"/>
                  </a:lnTo>
                  <a:lnTo>
                    <a:pt x="3912272" y="678912"/>
                  </a:lnTo>
                  <a:lnTo>
                    <a:pt x="3917469" y="672217"/>
                  </a:lnTo>
                  <a:lnTo>
                    <a:pt x="3927864" y="675564"/>
                  </a:lnTo>
                  <a:lnTo>
                    <a:pt x="3933061" y="678912"/>
                  </a:lnTo>
                  <a:close/>
                  <a:moveTo>
                    <a:pt x="746827" y="659829"/>
                  </a:moveTo>
                  <a:lnTo>
                    <a:pt x="750216" y="683828"/>
                  </a:lnTo>
                  <a:lnTo>
                    <a:pt x="746827" y="680400"/>
                  </a:lnTo>
                  <a:lnTo>
                    <a:pt x="745132" y="685543"/>
                  </a:lnTo>
                  <a:lnTo>
                    <a:pt x="738353" y="704399"/>
                  </a:lnTo>
                  <a:lnTo>
                    <a:pt x="734964" y="709542"/>
                  </a:lnTo>
                  <a:lnTo>
                    <a:pt x="733269" y="695828"/>
                  </a:lnTo>
                  <a:lnTo>
                    <a:pt x="723100" y="690686"/>
                  </a:lnTo>
                  <a:lnTo>
                    <a:pt x="733269" y="688971"/>
                  </a:lnTo>
                  <a:lnTo>
                    <a:pt x="738353" y="680400"/>
                  </a:lnTo>
                  <a:lnTo>
                    <a:pt x="728184" y="682114"/>
                  </a:lnTo>
                  <a:lnTo>
                    <a:pt x="740048" y="673543"/>
                  </a:lnTo>
                  <a:lnTo>
                    <a:pt x="738353" y="663258"/>
                  </a:lnTo>
                  <a:close/>
                  <a:moveTo>
                    <a:pt x="3534151" y="656816"/>
                  </a:moveTo>
                  <a:lnTo>
                    <a:pt x="3544696" y="659829"/>
                  </a:lnTo>
                  <a:lnTo>
                    <a:pt x="3534151" y="662842"/>
                  </a:lnTo>
                  <a:close/>
                  <a:moveTo>
                    <a:pt x="735904" y="646271"/>
                  </a:moveTo>
                  <a:lnTo>
                    <a:pt x="745696" y="652799"/>
                  </a:lnTo>
                  <a:lnTo>
                    <a:pt x="726112" y="665855"/>
                  </a:lnTo>
                  <a:close/>
                  <a:moveTo>
                    <a:pt x="754484" y="638739"/>
                  </a:moveTo>
                  <a:lnTo>
                    <a:pt x="766786" y="648325"/>
                  </a:lnTo>
                  <a:lnTo>
                    <a:pt x="765029" y="652160"/>
                  </a:lnTo>
                  <a:lnTo>
                    <a:pt x="757999" y="650243"/>
                  </a:lnTo>
                  <a:lnTo>
                    <a:pt x="754484" y="659829"/>
                  </a:lnTo>
                  <a:lnTo>
                    <a:pt x="745696" y="654077"/>
                  </a:lnTo>
                  <a:close/>
                  <a:moveTo>
                    <a:pt x="736658" y="629700"/>
                  </a:moveTo>
                  <a:lnTo>
                    <a:pt x="715568" y="665855"/>
                  </a:lnTo>
                  <a:lnTo>
                    <a:pt x="722597" y="636587"/>
                  </a:lnTo>
                  <a:close/>
                  <a:moveTo>
                    <a:pt x="3529631" y="626687"/>
                  </a:moveTo>
                  <a:lnTo>
                    <a:pt x="3535657" y="629365"/>
                  </a:lnTo>
                  <a:lnTo>
                    <a:pt x="3544696" y="634722"/>
                  </a:lnTo>
                  <a:lnTo>
                    <a:pt x="3540176" y="638739"/>
                  </a:lnTo>
                  <a:lnTo>
                    <a:pt x="3525112" y="632044"/>
                  </a:lnTo>
                  <a:close/>
                  <a:moveTo>
                    <a:pt x="3898714" y="622169"/>
                  </a:moveTo>
                  <a:lnTo>
                    <a:pt x="3890374" y="642255"/>
                  </a:lnTo>
                  <a:lnTo>
                    <a:pt x="3857017" y="643929"/>
                  </a:lnTo>
                  <a:lnTo>
                    <a:pt x="3852014" y="652297"/>
                  </a:lnTo>
                  <a:lnTo>
                    <a:pt x="3855349" y="640581"/>
                  </a:lnTo>
                  <a:lnTo>
                    <a:pt x="3877032" y="635560"/>
                  </a:lnTo>
                  <a:close/>
                  <a:moveTo>
                    <a:pt x="4076476" y="619155"/>
                  </a:moveTo>
                  <a:lnTo>
                    <a:pt x="4076476" y="624717"/>
                  </a:lnTo>
                  <a:lnTo>
                    <a:pt x="4069697" y="641405"/>
                  </a:lnTo>
                  <a:lnTo>
                    <a:pt x="4068002" y="643258"/>
                  </a:lnTo>
                  <a:lnTo>
                    <a:pt x="4062918" y="632134"/>
                  </a:lnTo>
                  <a:close/>
                  <a:moveTo>
                    <a:pt x="357521" y="616142"/>
                  </a:moveTo>
                  <a:lnTo>
                    <a:pt x="363999" y="620661"/>
                  </a:lnTo>
                  <a:lnTo>
                    <a:pt x="367238" y="620661"/>
                  </a:lnTo>
                  <a:lnTo>
                    <a:pt x="365619" y="623675"/>
                  </a:lnTo>
                  <a:lnTo>
                    <a:pt x="372096" y="625181"/>
                  </a:lnTo>
                  <a:lnTo>
                    <a:pt x="352663" y="631207"/>
                  </a:lnTo>
                  <a:lnTo>
                    <a:pt x="347805" y="632713"/>
                  </a:lnTo>
                  <a:lnTo>
                    <a:pt x="321893" y="640245"/>
                  </a:lnTo>
                  <a:lnTo>
                    <a:pt x="307318" y="649284"/>
                  </a:lnTo>
                  <a:lnTo>
                    <a:pt x="318655" y="640245"/>
                  </a:lnTo>
                  <a:lnTo>
                    <a:pt x="312177" y="640245"/>
                  </a:lnTo>
                  <a:lnTo>
                    <a:pt x="308938" y="643258"/>
                  </a:lnTo>
                  <a:lnTo>
                    <a:pt x="308938" y="634220"/>
                  </a:lnTo>
                  <a:lnTo>
                    <a:pt x="326752" y="625181"/>
                  </a:lnTo>
                  <a:lnTo>
                    <a:pt x="328371" y="634220"/>
                  </a:lnTo>
                  <a:lnTo>
                    <a:pt x="336468" y="623675"/>
                  </a:lnTo>
                  <a:lnTo>
                    <a:pt x="346185" y="622168"/>
                  </a:lnTo>
                  <a:lnTo>
                    <a:pt x="354282" y="622168"/>
                  </a:lnTo>
                  <a:close/>
                  <a:moveTo>
                    <a:pt x="763105" y="608610"/>
                  </a:moveTo>
                  <a:lnTo>
                    <a:pt x="769800" y="610343"/>
                  </a:lnTo>
                  <a:lnTo>
                    <a:pt x="768126" y="625934"/>
                  </a:lnTo>
                  <a:lnTo>
                    <a:pt x="759757" y="629399"/>
                  </a:lnTo>
                  <a:lnTo>
                    <a:pt x="739671" y="643259"/>
                  </a:lnTo>
                  <a:lnTo>
                    <a:pt x="744693" y="634597"/>
                  </a:lnTo>
                  <a:close/>
                  <a:moveTo>
                    <a:pt x="3534151" y="605597"/>
                  </a:moveTo>
                  <a:lnTo>
                    <a:pt x="3534151" y="610116"/>
                  </a:lnTo>
                  <a:lnTo>
                    <a:pt x="3517580" y="619155"/>
                  </a:lnTo>
                  <a:lnTo>
                    <a:pt x="3520593" y="611623"/>
                  </a:lnTo>
                  <a:close/>
                  <a:moveTo>
                    <a:pt x="745194" y="605597"/>
                  </a:moveTo>
                  <a:lnTo>
                    <a:pt x="740173" y="613631"/>
                  </a:lnTo>
                  <a:lnTo>
                    <a:pt x="748542" y="615238"/>
                  </a:lnTo>
                  <a:lnTo>
                    <a:pt x="750216" y="620059"/>
                  </a:lnTo>
                  <a:lnTo>
                    <a:pt x="735151" y="613631"/>
                  </a:lnTo>
                  <a:lnTo>
                    <a:pt x="740173" y="621666"/>
                  </a:lnTo>
                  <a:lnTo>
                    <a:pt x="745194" y="628093"/>
                  </a:lnTo>
                  <a:lnTo>
                    <a:pt x="730130" y="620059"/>
                  </a:lnTo>
                  <a:lnTo>
                    <a:pt x="726782" y="629700"/>
                  </a:lnTo>
                  <a:lnTo>
                    <a:pt x="720087" y="620059"/>
                  </a:lnTo>
                  <a:lnTo>
                    <a:pt x="728456" y="618452"/>
                  </a:lnTo>
                  <a:lnTo>
                    <a:pt x="730130" y="612024"/>
                  </a:lnTo>
                  <a:close/>
                  <a:moveTo>
                    <a:pt x="4166676" y="599571"/>
                  </a:moveTo>
                  <a:lnTo>
                    <a:pt x="4169877" y="601509"/>
                  </a:lnTo>
                  <a:lnTo>
                    <a:pt x="4147468" y="613129"/>
                  </a:lnTo>
                  <a:lnTo>
                    <a:pt x="4144267" y="601509"/>
                  </a:lnTo>
                  <a:close/>
                  <a:moveTo>
                    <a:pt x="3567041" y="599571"/>
                  </a:moveTo>
                  <a:lnTo>
                    <a:pt x="3602089" y="601245"/>
                  </a:lnTo>
                  <a:lnTo>
                    <a:pt x="3585400" y="621331"/>
                  </a:lnTo>
                  <a:lnTo>
                    <a:pt x="3577055" y="624679"/>
                  </a:lnTo>
                  <a:lnTo>
                    <a:pt x="3587068" y="626352"/>
                  </a:lnTo>
                  <a:lnTo>
                    <a:pt x="3630460" y="626352"/>
                  </a:lnTo>
                  <a:lnTo>
                    <a:pt x="3607096" y="659829"/>
                  </a:lnTo>
                  <a:lnTo>
                    <a:pt x="3598751" y="661503"/>
                  </a:lnTo>
                  <a:lnTo>
                    <a:pt x="3610433" y="664851"/>
                  </a:lnTo>
                  <a:lnTo>
                    <a:pt x="3592075" y="671546"/>
                  </a:lnTo>
                  <a:lnTo>
                    <a:pt x="3622116" y="674895"/>
                  </a:lnTo>
                  <a:lnTo>
                    <a:pt x="3647150" y="711719"/>
                  </a:lnTo>
                  <a:lnTo>
                    <a:pt x="3665508" y="726783"/>
                  </a:lnTo>
                  <a:lnTo>
                    <a:pt x="3667177" y="740174"/>
                  </a:lnTo>
                  <a:lnTo>
                    <a:pt x="3658832" y="736827"/>
                  </a:lnTo>
                  <a:lnTo>
                    <a:pt x="3677190" y="753565"/>
                  </a:lnTo>
                  <a:lnTo>
                    <a:pt x="3675521" y="761934"/>
                  </a:lnTo>
                  <a:lnTo>
                    <a:pt x="3700555" y="761934"/>
                  </a:lnTo>
                  <a:lnTo>
                    <a:pt x="3708900" y="771977"/>
                  </a:lnTo>
                  <a:lnTo>
                    <a:pt x="3688873" y="793737"/>
                  </a:lnTo>
                  <a:lnTo>
                    <a:pt x="3680528" y="800433"/>
                  </a:lnTo>
                  <a:lnTo>
                    <a:pt x="3700555" y="805454"/>
                  </a:lnTo>
                  <a:lnTo>
                    <a:pt x="3675521" y="822193"/>
                  </a:lnTo>
                  <a:lnTo>
                    <a:pt x="3635467" y="822193"/>
                  </a:lnTo>
                  <a:lnTo>
                    <a:pt x="3608764" y="823866"/>
                  </a:lnTo>
                  <a:lnTo>
                    <a:pt x="3588737" y="827214"/>
                  </a:lnTo>
                  <a:lnTo>
                    <a:pt x="3580393" y="835583"/>
                  </a:lnTo>
                  <a:lnTo>
                    <a:pt x="3552021" y="840605"/>
                  </a:lnTo>
                  <a:lnTo>
                    <a:pt x="3547014" y="840605"/>
                  </a:lnTo>
                  <a:lnTo>
                    <a:pt x="3538670" y="837257"/>
                  </a:lnTo>
                  <a:lnTo>
                    <a:pt x="3560366" y="823866"/>
                  </a:lnTo>
                  <a:lnTo>
                    <a:pt x="3582062" y="807128"/>
                  </a:lnTo>
                  <a:lnTo>
                    <a:pt x="3602089" y="803780"/>
                  </a:lnTo>
                  <a:lnTo>
                    <a:pt x="3612102" y="793737"/>
                  </a:lnTo>
                  <a:lnTo>
                    <a:pt x="3587068" y="802106"/>
                  </a:lnTo>
                  <a:lnTo>
                    <a:pt x="3577055" y="795411"/>
                  </a:lnTo>
                  <a:lnTo>
                    <a:pt x="3552021" y="792063"/>
                  </a:lnTo>
                  <a:lnTo>
                    <a:pt x="3557028" y="785368"/>
                  </a:lnTo>
                  <a:lnTo>
                    <a:pt x="3577055" y="770303"/>
                  </a:lnTo>
                  <a:lnTo>
                    <a:pt x="3570379" y="760260"/>
                  </a:lnTo>
                  <a:lnTo>
                    <a:pt x="3565372" y="760260"/>
                  </a:lnTo>
                  <a:lnTo>
                    <a:pt x="3595413" y="746869"/>
                  </a:lnTo>
                  <a:lnTo>
                    <a:pt x="3602089" y="745196"/>
                  </a:lnTo>
                  <a:lnTo>
                    <a:pt x="3600420" y="721762"/>
                  </a:lnTo>
                  <a:lnTo>
                    <a:pt x="3590406" y="710045"/>
                  </a:lnTo>
                  <a:lnTo>
                    <a:pt x="3597082" y="700002"/>
                  </a:lnTo>
                  <a:lnTo>
                    <a:pt x="3572048" y="705023"/>
                  </a:lnTo>
                  <a:lnTo>
                    <a:pt x="3560366" y="710045"/>
                  </a:lnTo>
                  <a:lnTo>
                    <a:pt x="3558697" y="694981"/>
                  </a:lnTo>
                  <a:lnTo>
                    <a:pt x="3562035" y="681589"/>
                  </a:lnTo>
                  <a:lnTo>
                    <a:pt x="3565372" y="673220"/>
                  </a:lnTo>
                  <a:lnTo>
                    <a:pt x="3560366" y="671546"/>
                  </a:lnTo>
                  <a:lnTo>
                    <a:pt x="3552021" y="671546"/>
                  </a:lnTo>
                  <a:lnTo>
                    <a:pt x="3540339" y="691633"/>
                  </a:lnTo>
                  <a:lnTo>
                    <a:pt x="3552021" y="653134"/>
                  </a:lnTo>
                  <a:lnTo>
                    <a:pt x="3555359" y="651460"/>
                  </a:lnTo>
                  <a:lnTo>
                    <a:pt x="3538670" y="654808"/>
                  </a:lnTo>
                  <a:lnTo>
                    <a:pt x="3542008" y="653134"/>
                  </a:lnTo>
                  <a:lnTo>
                    <a:pt x="3538670" y="649787"/>
                  </a:lnTo>
                  <a:lnTo>
                    <a:pt x="3547014" y="636396"/>
                  </a:lnTo>
                  <a:lnTo>
                    <a:pt x="3547014" y="633048"/>
                  </a:lnTo>
                  <a:lnTo>
                    <a:pt x="3547014" y="629701"/>
                  </a:lnTo>
                  <a:lnTo>
                    <a:pt x="3548683" y="619657"/>
                  </a:lnTo>
                  <a:lnTo>
                    <a:pt x="3557028" y="616310"/>
                  </a:lnTo>
                  <a:lnTo>
                    <a:pt x="3558697" y="606266"/>
                  </a:lnTo>
                  <a:close/>
                  <a:moveTo>
                    <a:pt x="4151388" y="589026"/>
                  </a:moveTo>
                  <a:lnTo>
                    <a:pt x="4163851" y="592039"/>
                  </a:lnTo>
                  <a:lnTo>
                    <a:pt x="4144267" y="592039"/>
                  </a:lnTo>
                  <a:close/>
                  <a:moveTo>
                    <a:pt x="7184300" y="578480"/>
                  </a:moveTo>
                  <a:lnTo>
                    <a:pt x="7193339" y="584232"/>
                  </a:lnTo>
                  <a:lnTo>
                    <a:pt x="7184300" y="599570"/>
                  </a:lnTo>
                  <a:lnTo>
                    <a:pt x="7176768" y="588067"/>
                  </a:lnTo>
                  <a:close/>
                  <a:moveTo>
                    <a:pt x="722498" y="556211"/>
                  </a:moveTo>
                  <a:lnTo>
                    <a:pt x="719463" y="557727"/>
                  </a:lnTo>
                  <a:lnTo>
                    <a:pt x="724483" y="564415"/>
                  </a:lnTo>
                  <a:lnTo>
                    <a:pt x="724483" y="592838"/>
                  </a:lnTo>
                  <a:lnTo>
                    <a:pt x="744566" y="584478"/>
                  </a:lnTo>
                  <a:lnTo>
                    <a:pt x="759628" y="576119"/>
                  </a:lnTo>
                  <a:lnTo>
                    <a:pt x="789751" y="566087"/>
                  </a:lnTo>
                  <a:lnTo>
                    <a:pt x="798119" y="596182"/>
                  </a:lnTo>
                  <a:lnTo>
                    <a:pt x="793098" y="622933"/>
                  </a:lnTo>
                  <a:lnTo>
                    <a:pt x="786404" y="648012"/>
                  </a:lnTo>
                  <a:lnTo>
                    <a:pt x="798119" y="663059"/>
                  </a:lnTo>
                  <a:lnTo>
                    <a:pt x="808160" y="674763"/>
                  </a:lnTo>
                  <a:lnTo>
                    <a:pt x="807792" y="675268"/>
                  </a:lnTo>
                  <a:lnTo>
                    <a:pt x="810311" y="672385"/>
                  </a:lnTo>
                  <a:lnTo>
                    <a:pt x="800283" y="660663"/>
                  </a:lnTo>
                  <a:lnTo>
                    <a:pt x="788581" y="645593"/>
                  </a:lnTo>
                  <a:lnTo>
                    <a:pt x="795268" y="620475"/>
                  </a:lnTo>
                  <a:lnTo>
                    <a:pt x="800283" y="593683"/>
                  </a:lnTo>
                  <a:lnTo>
                    <a:pt x="791924" y="563542"/>
                  </a:lnTo>
                  <a:lnTo>
                    <a:pt x="761844" y="573589"/>
                  </a:lnTo>
                  <a:lnTo>
                    <a:pt x="746792" y="581961"/>
                  </a:lnTo>
                  <a:lnTo>
                    <a:pt x="726733" y="590334"/>
                  </a:lnTo>
                  <a:lnTo>
                    <a:pt x="726733" y="561867"/>
                  </a:lnTo>
                  <a:close/>
                  <a:moveTo>
                    <a:pt x="690662" y="550145"/>
                  </a:moveTo>
                  <a:lnTo>
                    <a:pt x="687666" y="552711"/>
                  </a:lnTo>
                  <a:lnTo>
                    <a:pt x="726627" y="552711"/>
                  </a:lnTo>
                  <a:lnTo>
                    <a:pt x="731752" y="550145"/>
                  </a:lnTo>
                  <a:close/>
                  <a:moveTo>
                    <a:pt x="156672" y="548351"/>
                  </a:moveTo>
                  <a:lnTo>
                    <a:pt x="156672" y="560214"/>
                  </a:lnTo>
                  <a:lnTo>
                    <a:pt x="145572" y="561909"/>
                  </a:lnTo>
                  <a:lnTo>
                    <a:pt x="126543" y="555130"/>
                  </a:lnTo>
                  <a:close/>
                  <a:moveTo>
                    <a:pt x="3639603" y="545338"/>
                  </a:moveTo>
                  <a:lnTo>
                    <a:pt x="3645629" y="545338"/>
                  </a:lnTo>
                  <a:lnTo>
                    <a:pt x="3639603" y="558896"/>
                  </a:lnTo>
                  <a:lnTo>
                    <a:pt x="3638097" y="553812"/>
                  </a:lnTo>
                  <a:lnTo>
                    <a:pt x="3639603" y="550422"/>
                  </a:lnTo>
                  <a:close/>
                  <a:moveTo>
                    <a:pt x="3919372" y="459520"/>
                  </a:moveTo>
                  <a:lnTo>
                    <a:pt x="3918636" y="459992"/>
                  </a:lnTo>
                  <a:lnTo>
                    <a:pt x="3920304" y="485235"/>
                  </a:lnTo>
                  <a:lnTo>
                    <a:pt x="3920304" y="512160"/>
                  </a:lnTo>
                  <a:lnTo>
                    <a:pt x="3936985" y="522257"/>
                  </a:lnTo>
                  <a:lnTo>
                    <a:pt x="3928645" y="530671"/>
                  </a:lnTo>
                  <a:lnTo>
                    <a:pt x="3928645" y="539085"/>
                  </a:lnTo>
                  <a:lnTo>
                    <a:pt x="3925308" y="562644"/>
                  </a:lnTo>
                  <a:lnTo>
                    <a:pt x="3912163" y="589168"/>
                  </a:lnTo>
                  <a:lnTo>
                    <a:pt x="3912625" y="588937"/>
                  </a:lnTo>
                  <a:lnTo>
                    <a:pt x="3926090" y="561998"/>
                  </a:lnTo>
                  <a:lnTo>
                    <a:pt x="3929456" y="538426"/>
                  </a:lnTo>
                  <a:lnTo>
                    <a:pt x="3929456" y="530008"/>
                  </a:lnTo>
                  <a:lnTo>
                    <a:pt x="3937871" y="521589"/>
                  </a:lnTo>
                  <a:lnTo>
                    <a:pt x="3921040" y="511487"/>
                  </a:lnTo>
                  <a:lnTo>
                    <a:pt x="3921040" y="484549"/>
                  </a:lnTo>
                  <a:close/>
                  <a:moveTo>
                    <a:pt x="157585" y="457964"/>
                  </a:moveTo>
                  <a:lnTo>
                    <a:pt x="181871" y="457964"/>
                  </a:lnTo>
                  <a:lnTo>
                    <a:pt x="207891" y="469468"/>
                  </a:lnTo>
                  <a:lnTo>
                    <a:pt x="178401" y="479054"/>
                  </a:lnTo>
                  <a:lnTo>
                    <a:pt x="173197" y="471385"/>
                  </a:lnTo>
                  <a:lnTo>
                    <a:pt x="150646" y="469468"/>
                  </a:lnTo>
                  <a:close/>
                  <a:moveTo>
                    <a:pt x="3910295" y="424654"/>
                  </a:moveTo>
                  <a:lnTo>
                    <a:pt x="3900288" y="429702"/>
                  </a:lnTo>
                  <a:lnTo>
                    <a:pt x="3900288" y="428020"/>
                  </a:lnTo>
                  <a:close/>
                  <a:moveTo>
                    <a:pt x="1952025" y="402225"/>
                  </a:moveTo>
                  <a:lnTo>
                    <a:pt x="1963540" y="409092"/>
                  </a:lnTo>
                  <a:lnTo>
                    <a:pt x="1960250" y="419392"/>
                  </a:lnTo>
                  <a:lnTo>
                    <a:pt x="1971765" y="414242"/>
                  </a:lnTo>
                  <a:lnTo>
                    <a:pt x="2009602" y="439992"/>
                  </a:lnTo>
                  <a:lnTo>
                    <a:pt x="1996440" y="453725"/>
                  </a:lnTo>
                  <a:lnTo>
                    <a:pt x="2026049" y="453725"/>
                  </a:lnTo>
                  <a:lnTo>
                    <a:pt x="2027697" y="460592"/>
                  </a:lnTo>
                  <a:lnTo>
                    <a:pt x="2003020" y="467459"/>
                  </a:lnTo>
                  <a:lnTo>
                    <a:pt x="1986577" y="457159"/>
                  </a:lnTo>
                  <a:lnTo>
                    <a:pt x="1971765" y="453725"/>
                  </a:lnTo>
                  <a:lnTo>
                    <a:pt x="1973411" y="450292"/>
                  </a:lnTo>
                  <a:lnTo>
                    <a:pt x="1961899" y="453725"/>
                  </a:lnTo>
                  <a:lnTo>
                    <a:pt x="1914196" y="476043"/>
                  </a:lnTo>
                  <a:lnTo>
                    <a:pt x="1914196" y="462309"/>
                  </a:lnTo>
                  <a:lnTo>
                    <a:pt x="1884588" y="462309"/>
                  </a:lnTo>
                  <a:lnTo>
                    <a:pt x="1914196" y="446859"/>
                  </a:lnTo>
                  <a:lnTo>
                    <a:pt x="1932292" y="424542"/>
                  </a:lnTo>
                  <a:close/>
                  <a:moveTo>
                    <a:pt x="88478" y="398487"/>
                  </a:moveTo>
                  <a:lnTo>
                    <a:pt x="57247" y="420806"/>
                  </a:lnTo>
                  <a:lnTo>
                    <a:pt x="73975" y="405740"/>
                  </a:lnTo>
                  <a:close/>
                  <a:moveTo>
                    <a:pt x="3958314" y="394123"/>
                  </a:moveTo>
                  <a:lnTo>
                    <a:pt x="3957001" y="394363"/>
                  </a:lnTo>
                  <a:lnTo>
                    <a:pt x="3960338" y="401095"/>
                  </a:lnTo>
                  <a:lnTo>
                    <a:pt x="3945325" y="434750"/>
                  </a:lnTo>
                  <a:lnTo>
                    <a:pt x="3954900" y="444410"/>
                  </a:lnTo>
                  <a:lnTo>
                    <a:pt x="3956385" y="444140"/>
                  </a:lnTo>
                  <a:lnTo>
                    <a:pt x="3946286" y="434038"/>
                  </a:lnTo>
                  <a:lnTo>
                    <a:pt x="3961434" y="400364"/>
                  </a:lnTo>
                  <a:close/>
                  <a:moveTo>
                    <a:pt x="3214956" y="385654"/>
                  </a:moveTo>
                  <a:lnTo>
                    <a:pt x="3243147" y="402288"/>
                  </a:lnTo>
                  <a:lnTo>
                    <a:pt x="3236514" y="408941"/>
                  </a:lnTo>
                  <a:lnTo>
                    <a:pt x="3244805" y="415595"/>
                  </a:lnTo>
                  <a:lnTo>
                    <a:pt x="3256413" y="410605"/>
                  </a:lnTo>
                  <a:lnTo>
                    <a:pt x="3268021" y="395634"/>
                  </a:lnTo>
                  <a:lnTo>
                    <a:pt x="3279629" y="402288"/>
                  </a:lnTo>
                  <a:lnTo>
                    <a:pt x="3286262" y="395634"/>
                  </a:lnTo>
                  <a:lnTo>
                    <a:pt x="3304503" y="402288"/>
                  </a:lnTo>
                  <a:lnTo>
                    <a:pt x="3306161" y="405615"/>
                  </a:lnTo>
                  <a:lnTo>
                    <a:pt x="3307820" y="393971"/>
                  </a:lnTo>
                  <a:lnTo>
                    <a:pt x="3322744" y="398961"/>
                  </a:lnTo>
                  <a:lnTo>
                    <a:pt x="3339327" y="392307"/>
                  </a:lnTo>
                  <a:lnTo>
                    <a:pt x="3344302" y="385654"/>
                  </a:lnTo>
                  <a:lnTo>
                    <a:pt x="3362543" y="392307"/>
                  </a:lnTo>
                  <a:lnTo>
                    <a:pt x="3377467" y="388981"/>
                  </a:lnTo>
                  <a:lnTo>
                    <a:pt x="3369176" y="398961"/>
                  </a:lnTo>
                  <a:lnTo>
                    <a:pt x="3369176" y="405615"/>
                  </a:lnTo>
                  <a:lnTo>
                    <a:pt x="3379125" y="408941"/>
                  </a:lnTo>
                  <a:lnTo>
                    <a:pt x="3375809" y="412268"/>
                  </a:lnTo>
                  <a:lnTo>
                    <a:pt x="3394050" y="412268"/>
                  </a:lnTo>
                  <a:lnTo>
                    <a:pt x="3394050" y="415595"/>
                  </a:lnTo>
                  <a:lnTo>
                    <a:pt x="3384100" y="420585"/>
                  </a:lnTo>
                  <a:lnTo>
                    <a:pt x="3394050" y="423912"/>
                  </a:lnTo>
                  <a:lnTo>
                    <a:pt x="3387417" y="425575"/>
                  </a:lnTo>
                  <a:lnTo>
                    <a:pt x="3377467" y="432229"/>
                  </a:lnTo>
                  <a:lnTo>
                    <a:pt x="3357568" y="443872"/>
                  </a:lnTo>
                  <a:lnTo>
                    <a:pt x="3326061" y="453852"/>
                  </a:lnTo>
                  <a:lnTo>
                    <a:pt x="3294553" y="465496"/>
                  </a:lnTo>
                  <a:lnTo>
                    <a:pt x="3248122" y="458842"/>
                  </a:lnTo>
                  <a:lnTo>
                    <a:pt x="3219931" y="455516"/>
                  </a:lnTo>
                  <a:lnTo>
                    <a:pt x="3205007" y="452189"/>
                  </a:lnTo>
                  <a:lnTo>
                    <a:pt x="3223248" y="443872"/>
                  </a:lnTo>
                  <a:lnTo>
                    <a:pt x="3226564" y="440546"/>
                  </a:lnTo>
                  <a:lnTo>
                    <a:pt x="3219931" y="440546"/>
                  </a:lnTo>
                  <a:lnTo>
                    <a:pt x="3226564" y="435555"/>
                  </a:lnTo>
                  <a:lnTo>
                    <a:pt x="3216615" y="433892"/>
                  </a:lnTo>
                  <a:lnTo>
                    <a:pt x="3185108" y="425575"/>
                  </a:lnTo>
                  <a:lnTo>
                    <a:pt x="3224906" y="422249"/>
                  </a:lnTo>
                  <a:lnTo>
                    <a:pt x="3218273" y="418921"/>
                  </a:lnTo>
                  <a:lnTo>
                    <a:pt x="3226564" y="412268"/>
                  </a:lnTo>
                  <a:lnTo>
                    <a:pt x="3180133" y="410605"/>
                  </a:lnTo>
                  <a:lnTo>
                    <a:pt x="3193399" y="408941"/>
                  </a:lnTo>
                  <a:lnTo>
                    <a:pt x="3186766" y="403951"/>
                  </a:lnTo>
                  <a:lnTo>
                    <a:pt x="3203349" y="403951"/>
                  </a:lnTo>
                  <a:lnTo>
                    <a:pt x="3205007" y="403951"/>
                  </a:lnTo>
                  <a:lnTo>
                    <a:pt x="3200032" y="402288"/>
                  </a:lnTo>
                  <a:lnTo>
                    <a:pt x="3200032" y="398961"/>
                  </a:lnTo>
                  <a:lnTo>
                    <a:pt x="3206665" y="393971"/>
                  </a:lnTo>
                  <a:lnTo>
                    <a:pt x="3223248" y="402288"/>
                  </a:lnTo>
                  <a:lnTo>
                    <a:pt x="3218273" y="392307"/>
                  </a:lnTo>
                  <a:close/>
                  <a:moveTo>
                    <a:pt x="3996649" y="348496"/>
                  </a:moveTo>
                  <a:lnTo>
                    <a:pt x="3995367" y="348926"/>
                  </a:lnTo>
                  <a:lnTo>
                    <a:pt x="3985358" y="374168"/>
                  </a:lnTo>
                  <a:lnTo>
                    <a:pt x="3975691" y="390424"/>
                  </a:lnTo>
                  <a:lnTo>
                    <a:pt x="3976582" y="390263"/>
                  </a:lnTo>
                  <a:lnTo>
                    <a:pt x="3986680" y="373425"/>
                  </a:lnTo>
                  <a:close/>
                  <a:moveTo>
                    <a:pt x="2187228" y="337447"/>
                  </a:moveTo>
                  <a:lnTo>
                    <a:pt x="2205456" y="342764"/>
                  </a:lnTo>
                  <a:lnTo>
                    <a:pt x="2200485" y="356942"/>
                  </a:lnTo>
                  <a:lnTo>
                    <a:pt x="2162371" y="367576"/>
                  </a:lnTo>
                  <a:lnTo>
                    <a:pt x="2155748" y="351627"/>
                  </a:lnTo>
                  <a:close/>
                  <a:moveTo>
                    <a:pt x="4022055" y="332098"/>
                  </a:moveTo>
                  <a:lnTo>
                    <a:pt x="4020433" y="340283"/>
                  </a:lnTo>
                  <a:lnTo>
                    <a:pt x="4022025" y="339751"/>
                  </a:lnTo>
                  <a:lnTo>
                    <a:pt x="4023555" y="332098"/>
                  </a:lnTo>
                  <a:close/>
                  <a:moveTo>
                    <a:pt x="3976203" y="325395"/>
                  </a:moveTo>
                  <a:lnTo>
                    <a:pt x="3977615" y="330752"/>
                  </a:lnTo>
                  <a:lnTo>
                    <a:pt x="3986089" y="329414"/>
                  </a:lnTo>
                  <a:lnTo>
                    <a:pt x="3977615" y="337448"/>
                  </a:lnTo>
                  <a:lnTo>
                    <a:pt x="3971966" y="334770"/>
                  </a:lnTo>
                  <a:lnTo>
                    <a:pt x="3963492" y="337448"/>
                  </a:lnTo>
                  <a:lnTo>
                    <a:pt x="3969141" y="334770"/>
                  </a:lnTo>
                  <a:close/>
                  <a:moveTo>
                    <a:pt x="196082" y="325395"/>
                  </a:moveTo>
                  <a:lnTo>
                    <a:pt x="207790" y="340460"/>
                  </a:lnTo>
                  <a:lnTo>
                    <a:pt x="207790" y="335440"/>
                  </a:lnTo>
                  <a:lnTo>
                    <a:pt x="226189" y="352177"/>
                  </a:lnTo>
                  <a:lnTo>
                    <a:pt x="226189" y="365568"/>
                  </a:lnTo>
                  <a:lnTo>
                    <a:pt x="211130" y="382307"/>
                  </a:lnTo>
                  <a:lnTo>
                    <a:pt x="202773" y="392349"/>
                  </a:lnTo>
                  <a:lnTo>
                    <a:pt x="212808" y="392349"/>
                  </a:lnTo>
                  <a:lnTo>
                    <a:pt x="214481" y="385654"/>
                  </a:lnTo>
                  <a:lnTo>
                    <a:pt x="227858" y="375611"/>
                  </a:lnTo>
                  <a:lnTo>
                    <a:pt x="247933" y="373937"/>
                  </a:lnTo>
                  <a:lnTo>
                    <a:pt x="254623" y="377285"/>
                  </a:lnTo>
                  <a:lnTo>
                    <a:pt x="254623" y="373937"/>
                  </a:lnTo>
                  <a:lnTo>
                    <a:pt x="266332" y="375611"/>
                  </a:lnTo>
                  <a:lnTo>
                    <a:pt x="278040" y="387329"/>
                  </a:lnTo>
                  <a:lnTo>
                    <a:pt x="284730" y="397371"/>
                  </a:lnTo>
                  <a:lnTo>
                    <a:pt x="256296" y="407414"/>
                  </a:lnTo>
                  <a:lnTo>
                    <a:pt x="237895" y="407414"/>
                  </a:lnTo>
                  <a:lnTo>
                    <a:pt x="231207" y="412436"/>
                  </a:lnTo>
                  <a:lnTo>
                    <a:pt x="216149" y="414109"/>
                  </a:lnTo>
                  <a:lnTo>
                    <a:pt x="214481" y="407414"/>
                  </a:lnTo>
                  <a:lnTo>
                    <a:pt x="211130" y="415784"/>
                  </a:lnTo>
                  <a:lnTo>
                    <a:pt x="201100" y="420806"/>
                  </a:lnTo>
                  <a:lnTo>
                    <a:pt x="172666" y="434195"/>
                  </a:lnTo>
                  <a:lnTo>
                    <a:pt x="174338" y="437543"/>
                  </a:lnTo>
                  <a:lnTo>
                    <a:pt x="164303" y="442565"/>
                  </a:lnTo>
                  <a:lnTo>
                    <a:pt x="147577" y="445912"/>
                  </a:lnTo>
                  <a:lnTo>
                    <a:pt x="154267" y="440892"/>
                  </a:lnTo>
                  <a:lnTo>
                    <a:pt x="140886" y="437543"/>
                  </a:lnTo>
                  <a:lnTo>
                    <a:pt x="122487" y="432521"/>
                  </a:lnTo>
                  <a:lnTo>
                    <a:pt x="134196" y="414109"/>
                  </a:lnTo>
                  <a:lnTo>
                    <a:pt x="94053" y="414109"/>
                  </a:lnTo>
                  <a:lnTo>
                    <a:pt x="95722" y="404066"/>
                  </a:lnTo>
                  <a:lnTo>
                    <a:pt x="115797" y="394024"/>
                  </a:lnTo>
                  <a:lnTo>
                    <a:pt x="110779" y="395697"/>
                  </a:lnTo>
                  <a:lnTo>
                    <a:pt x="110779" y="390675"/>
                  </a:lnTo>
                  <a:lnTo>
                    <a:pt x="100743" y="395697"/>
                  </a:lnTo>
                  <a:lnTo>
                    <a:pt x="90704" y="397371"/>
                  </a:lnTo>
                  <a:lnTo>
                    <a:pt x="88478" y="398487"/>
                  </a:lnTo>
                  <a:lnTo>
                    <a:pt x="92377" y="395697"/>
                  </a:lnTo>
                  <a:lnTo>
                    <a:pt x="125833" y="372263"/>
                  </a:lnTo>
                  <a:lnTo>
                    <a:pt x="162630" y="350504"/>
                  </a:lnTo>
                  <a:close/>
                  <a:moveTo>
                    <a:pt x="4722500" y="321834"/>
                  </a:moveTo>
                  <a:lnTo>
                    <a:pt x="4706721" y="326134"/>
                  </a:lnTo>
                  <a:lnTo>
                    <a:pt x="4705765" y="325179"/>
                  </a:lnTo>
                  <a:close/>
                  <a:moveTo>
                    <a:pt x="4055416" y="318635"/>
                  </a:moveTo>
                  <a:lnTo>
                    <a:pt x="4056990" y="331333"/>
                  </a:lnTo>
                  <a:lnTo>
                    <a:pt x="4059053" y="331333"/>
                  </a:lnTo>
                  <a:lnTo>
                    <a:pt x="4057466" y="318635"/>
                  </a:lnTo>
                  <a:close/>
                  <a:moveTo>
                    <a:pt x="4609385" y="307319"/>
                  </a:moveTo>
                  <a:lnTo>
                    <a:pt x="4639891" y="317864"/>
                  </a:lnTo>
                  <a:lnTo>
                    <a:pt x="4609385" y="328408"/>
                  </a:lnTo>
                  <a:lnTo>
                    <a:pt x="4599217" y="314349"/>
                  </a:lnTo>
                  <a:close/>
                  <a:moveTo>
                    <a:pt x="6875476" y="298280"/>
                  </a:moveTo>
                  <a:lnTo>
                    <a:pt x="6903883" y="298280"/>
                  </a:lnTo>
                  <a:lnTo>
                    <a:pt x="6908618" y="300288"/>
                  </a:lnTo>
                  <a:lnTo>
                    <a:pt x="6903883" y="304306"/>
                  </a:lnTo>
                  <a:close/>
                  <a:moveTo>
                    <a:pt x="1796378" y="298280"/>
                  </a:moveTo>
                  <a:lnTo>
                    <a:pt x="1817558" y="313070"/>
                  </a:lnTo>
                  <a:lnTo>
                    <a:pt x="1815930" y="318001"/>
                  </a:lnTo>
                  <a:lnTo>
                    <a:pt x="1817558" y="324574"/>
                  </a:lnTo>
                  <a:lnTo>
                    <a:pt x="1827335" y="324574"/>
                  </a:lnTo>
                  <a:lnTo>
                    <a:pt x="1793122" y="334435"/>
                  </a:lnTo>
                  <a:lnTo>
                    <a:pt x="1747492" y="321287"/>
                  </a:lnTo>
                  <a:lnTo>
                    <a:pt x="1776825" y="313070"/>
                  </a:lnTo>
                  <a:lnTo>
                    <a:pt x="1781717" y="304854"/>
                  </a:lnTo>
                  <a:lnTo>
                    <a:pt x="1783340" y="308140"/>
                  </a:lnTo>
                  <a:close/>
                  <a:moveTo>
                    <a:pt x="4192197" y="291710"/>
                  </a:moveTo>
                  <a:lnTo>
                    <a:pt x="4165508" y="303491"/>
                  </a:lnTo>
                  <a:lnTo>
                    <a:pt x="4158836" y="322001"/>
                  </a:lnTo>
                  <a:lnTo>
                    <a:pt x="4147159" y="328732"/>
                  </a:lnTo>
                  <a:lnTo>
                    <a:pt x="4120471" y="328732"/>
                  </a:lnTo>
                  <a:lnTo>
                    <a:pt x="4098786" y="323685"/>
                  </a:lnTo>
                  <a:lnTo>
                    <a:pt x="4077101" y="310222"/>
                  </a:lnTo>
                  <a:lnTo>
                    <a:pt x="4066496" y="317864"/>
                  </a:lnTo>
                  <a:lnTo>
                    <a:pt x="4067468" y="317864"/>
                  </a:lnTo>
                  <a:lnTo>
                    <a:pt x="4070875" y="319310"/>
                  </a:lnTo>
                  <a:lnTo>
                    <a:pt x="4079029" y="313485"/>
                  </a:lnTo>
                  <a:lnTo>
                    <a:pt x="4100559" y="326734"/>
                  </a:lnTo>
                  <a:lnTo>
                    <a:pt x="4122088" y="331703"/>
                  </a:lnTo>
                  <a:lnTo>
                    <a:pt x="4148586" y="331703"/>
                  </a:lnTo>
                  <a:lnTo>
                    <a:pt x="4160179" y="325078"/>
                  </a:lnTo>
                  <a:lnTo>
                    <a:pt x="4166803" y="306860"/>
                  </a:lnTo>
                  <a:lnTo>
                    <a:pt x="4193301" y="295268"/>
                  </a:lnTo>
                  <a:lnTo>
                    <a:pt x="4225558" y="304944"/>
                  </a:lnTo>
                  <a:lnTo>
                    <a:pt x="4225558" y="301808"/>
                  </a:lnTo>
                  <a:close/>
                  <a:moveTo>
                    <a:pt x="2636156" y="287734"/>
                  </a:moveTo>
                  <a:lnTo>
                    <a:pt x="2676976" y="305812"/>
                  </a:lnTo>
                  <a:lnTo>
                    <a:pt x="2632754" y="314850"/>
                  </a:lnTo>
                  <a:lnTo>
                    <a:pt x="2637856" y="311235"/>
                  </a:lnTo>
                  <a:lnTo>
                    <a:pt x="2627651" y="305812"/>
                  </a:lnTo>
                  <a:lnTo>
                    <a:pt x="2624250" y="302196"/>
                  </a:lnTo>
                  <a:lnTo>
                    <a:pt x="2625951" y="294965"/>
                  </a:lnTo>
                  <a:lnTo>
                    <a:pt x="2624250" y="294965"/>
                  </a:lnTo>
                  <a:close/>
                  <a:moveTo>
                    <a:pt x="4784995" y="284721"/>
                  </a:moveTo>
                  <a:lnTo>
                    <a:pt x="4826692" y="298280"/>
                  </a:lnTo>
                  <a:lnTo>
                    <a:pt x="4810013" y="298280"/>
                  </a:lnTo>
                  <a:lnTo>
                    <a:pt x="4779992" y="289241"/>
                  </a:lnTo>
                  <a:close/>
                  <a:moveTo>
                    <a:pt x="4195533" y="268151"/>
                  </a:moveTo>
                  <a:lnTo>
                    <a:pt x="4197201" y="276566"/>
                  </a:lnTo>
                  <a:lnTo>
                    <a:pt x="4198869" y="278247"/>
                  </a:lnTo>
                  <a:lnTo>
                    <a:pt x="4200537" y="281614"/>
                  </a:lnTo>
                  <a:lnTo>
                    <a:pt x="4202205" y="290028"/>
                  </a:lnTo>
                  <a:lnTo>
                    <a:pt x="4207209" y="278247"/>
                  </a:lnTo>
                  <a:lnTo>
                    <a:pt x="4218886" y="273200"/>
                  </a:lnTo>
                  <a:lnTo>
                    <a:pt x="4238902" y="278247"/>
                  </a:lnTo>
                  <a:lnTo>
                    <a:pt x="4257251" y="286663"/>
                  </a:lnTo>
                  <a:lnTo>
                    <a:pt x="4218886" y="290028"/>
                  </a:lnTo>
                  <a:lnTo>
                    <a:pt x="4235566" y="300125"/>
                  </a:lnTo>
                  <a:lnTo>
                    <a:pt x="4245574" y="298442"/>
                  </a:lnTo>
                  <a:lnTo>
                    <a:pt x="4257251" y="298442"/>
                  </a:lnTo>
                  <a:lnTo>
                    <a:pt x="4257251" y="306855"/>
                  </a:lnTo>
                  <a:lnTo>
                    <a:pt x="4245574" y="306855"/>
                  </a:lnTo>
                  <a:lnTo>
                    <a:pt x="4226423" y="318126"/>
                  </a:lnTo>
                  <a:lnTo>
                    <a:pt x="4226423" y="321765"/>
                  </a:lnTo>
                  <a:lnTo>
                    <a:pt x="4226423" y="326734"/>
                  </a:lnTo>
                  <a:lnTo>
                    <a:pt x="4226423" y="343296"/>
                  </a:lnTo>
                  <a:lnTo>
                    <a:pt x="4256233" y="359858"/>
                  </a:lnTo>
                  <a:lnTo>
                    <a:pt x="4242984" y="379731"/>
                  </a:lnTo>
                  <a:lnTo>
                    <a:pt x="4267826" y="406230"/>
                  </a:lnTo>
                  <a:lnTo>
                    <a:pt x="4269482" y="431072"/>
                  </a:lnTo>
                  <a:lnTo>
                    <a:pt x="4277762" y="439353"/>
                  </a:lnTo>
                  <a:lnTo>
                    <a:pt x="4289355" y="450947"/>
                  </a:lnTo>
                  <a:lnTo>
                    <a:pt x="4279418" y="459228"/>
                  </a:lnTo>
                  <a:lnTo>
                    <a:pt x="4317509" y="480757"/>
                  </a:lnTo>
                  <a:lnTo>
                    <a:pt x="4300948" y="495663"/>
                  </a:lnTo>
                  <a:lnTo>
                    <a:pt x="4287699" y="512224"/>
                  </a:lnTo>
                  <a:lnTo>
                    <a:pt x="4271138" y="528786"/>
                  </a:lnTo>
                  <a:lnTo>
                    <a:pt x="4256233" y="543692"/>
                  </a:lnTo>
                  <a:lnTo>
                    <a:pt x="4228079" y="543692"/>
                  </a:lnTo>
                  <a:lnTo>
                    <a:pt x="4218142" y="548660"/>
                  </a:lnTo>
                  <a:lnTo>
                    <a:pt x="4166803" y="558598"/>
                  </a:lnTo>
                  <a:lnTo>
                    <a:pt x="4160179" y="561909"/>
                  </a:lnTo>
                  <a:lnTo>
                    <a:pt x="4151898" y="550316"/>
                  </a:lnTo>
                  <a:lnTo>
                    <a:pt x="4143618" y="551973"/>
                  </a:lnTo>
                  <a:lnTo>
                    <a:pt x="4141962" y="548660"/>
                  </a:lnTo>
                  <a:lnTo>
                    <a:pt x="4120432" y="540379"/>
                  </a:lnTo>
                  <a:lnTo>
                    <a:pt x="4113808" y="505600"/>
                  </a:lnTo>
                  <a:lnTo>
                    <a:pt x="4110496" y="475789"/>
                  </a:lnTo>
                  <a:lnTo>
                    <a:pt x="4127057" y="469165"/>
                  </a:lnTo>
                  <a:lnTo>
                    <a:pt x="4140305" y="454258"/>
                  </a:lnTo>
                  <a:lnTo>
                    <a:pt x="4176740" y="429416"/>
                  </a:lnTo>
                  <a:lnTo>
                    <a:pt x="4170115" y="409542"/>
                  </a:lnTo>
                  <a:lnTo>
                    <a:pt x="4160179" y="402918"/>
                  </a:lnTo>
                  <a:lnTo>
                    <a:pt x="4151898" y="404573"/>
                  </a:lnTo>
                  <a:lnTo>
                    <a:pt x="4150830" y="401903"/>
                  </a:lnTo>
                  <a:lnTo>
                    <a:pt x="4124692" y="400364"/>
                  </a:lnTo>
                  <a:lnTo>
                    <a:pt x="4117960" y="403733"/>
                  </a:lnTo>
                  <a:lnTo>
                    <a:pt x="4114594" y="408782"/>
                  </a:lnTo>
                  <a:lnTo>
                    <a:pt x="4111228" y="407100"/>
                  </a:lnTo>
                  <a:lnTo>
                    <a:pt x="4101129" y="413833"/>
                  </a:lnTo>
                  <a:lnTo>
                    <a:pt x="4097763" y="428987"/>
                  </a:lnTo>
                  <a:lnTo>
                    <a:pt x="4102812" y="440773"/>
                  </a:lnTo>
                  <a:lnTo>
                    <a:pt x="4079249" y="460977"/>
                  </a:lnTo>
                  <a:lnTo>
                    <a:pt x="4060736" y="471079"/>
                  </a:lnTo>
                  <a:lnTo>
                    <a:pt x="4050637" y="477814"/>
                  </a:lnTo>
                  <a:lnTo>
                    <a:pt x="4038856" y="479497"/>
                  </a:lnTo>
                  <a:lnTo>
                    <a:pt x="4033806" y="491284"/>
                  </a:lnTo>
                  <a:lnTo>
                    <a:pt x="4030440" y="494651"/>
                  </a:lnTo>
                  <a:lnTo>
                    <a:pt x="4028757" y="511487"/>
                  </a:lnTo>
                  <a:lnTo>
                    <a:pt x="4037173" y="541794"/>
                  </a:lnTo>
                  <a:lnTo>
                    <a:pt x="4060736" y="551896"/>
                  </a:lnTo>
                  <a:lnTo>
                    <a:pt x="4070834" y="563681"/>
                  </a:lnTo>
                  <a:lnTo>
                    <a:pt x="4048954" y="575468"/>
                  </a:lnTo>
                  <a:lnTo>
                    <a:pt x="4040539" y="568733"/>
                  </a:lnTo>
                  <a:lnTo>
                    <a:pt x="4042222" y="572100"/>
                  </a:lnTo>
                  <a:lnTo>
                    <a:pt x="4013609" y="573784"/>
                  </a:lnTo>
                  <a:lnTo>
                    <a:pt x="4062419" y="578835"/>
                  </a:lnTo>
                  <a:lnTo>
                    <a:pt x="4048954" y="588937"/>
                  </a:lnTo>
                  <a:lnTo>
                    <a:pt x="4047271" y="583886"/>
                  </a:lnTo>
                  <a:lnTo>
                    <a:pt x="4032123" y="599039"/>
                  </a:lnTo>
                  <a:lnTo>
                    <a:pt x="4022025" y="595671"/>
                  </a:lnTo>
                  <a:lnTo>
                    <a:pt x="4030440" y="602407"/>
                  </a:lnTo>
                  <a:lnTo>
                    <a:pt x="4028757" y="604090"/>
                  </a:lnTo>
                  <a:lnTo>
                    <a:pt x="4027074" y="614192"/>
                  </a:lnTo>
                  <a:lnTo>
                    <a:pt x="4030440" y="622611"/>
                  </a:lnTo>
                  <a:lnTo>
                    <a:pt x="4028757" y="620927"/>
                  </a:lnTo>
                  <a:lnTo>
                    <a:pt x="4023708" y="642815"/>
                  </a:lnTo>
                  <a:lnTo>
                    <a:pt x="4020342" y="664704"/>
                  </a:lnTo>
                  <a:lnTo>
                    <a:pt x="3983314" y="673122"/>
                  </a:lnTo>
                  <a:lnTo>
                    <a:pt x="3979948" y="689959"/>
                  </a:lnTo>
                  <a:lnTo>
                    <a:pt x="3956385" y="686591"/>
                  </a:lnTo>
                  <a:lnTo>
                    <a:pt x="3947969" y="664704"/>
                  </a:lnTo>
                  <a:lnTo>
                    <a:pt x="3942920" y="646183"/>
                  </a:lnTo>
                  <a:lnTo>
                    <a:pt x="3921040" y="615877"/>
                  </a:lnTo>
                  <a:lnTo>
                    <a:pt x="3922723" y="609141"/>
                  </a:lnTo>
                  <a:lnTo>
                    <a:pt x="3917674" y="605774"/>
                  </a:lnTo>
                  <a:lnTo>
                    <a:pt x="3915991" y="605774"/>
                  </a:lnTo>
                  <a:lnTo>
                    <a:pt x="3909259" y="590621"/>
                  </a:lnTo>
                  <a:lnTo>
                    <a:pt x="3911706" y="589396"/>
                  </a:lnTo>
                  <a:lnTo>
                    <a:pt x="3901956" y="582838"/>
                  </a:lnTo>
                  <a:lnTo>
                    <a:pt x="3896952" y="564328"/>
                  </a:lnTo>
                  <a:lnTo>
                    <a:pt x="3888611" y="569376"/>
                  </a:lnTo>
                  <a:lnTo>
                    <a:pt x="3888611" y="584522"/>
                  </a:lnTo>
                  <a:lnTo>
                    <a:pt x="3875267" y="584522"/>
                  </a:lnTo>
                  <a:lnTo>
                    <a:pt x="3840238" y="613129"/>
                  </a:lnTo>
                  <a:lnTo>
                    <a:pt x="3810213" y="611447"/>
                  </a:lnTo>
                  <a:lnTo>
                    <a:pt x="3791864" y="601350"/>
                  </a:lnTo>
                  <a:lnTo>
                    <a:pt x="3790196" y="589570"/>
                  </a:lnTo>
                  <a:lnTo>
                    <a:pt x="3800205" y="586205"/>
                  </a:lnTo>
                  <a:lnTo>
                    <a:pt x="3801873" y="579472"/>
                  </a:lnTo>
                  <a:lnTo>
                    <a:pt x="3800205" y="572742"/>
                  </a:lnTo>
                  <a:lnTo>
                    <a:pt x="3795200" y="574425"/>
                  </a:lnTo>
                  <a:lnTo>
                    <a:pt x="3785192" y="579472"/>
                  </a:lnTo>
                  <a:lnTo>
                    <a:pt x="3785192" y="571059"/>
                  </a:lnTo>
                  <a:lnTo>
                    <a:pt x="3796868" y="566010"/>
                  </a:lnTo>
                  <a:lnTo>
                    <a:pt x="3795200" y="564328"/>
                  </a:lnTo>
                  <a:lnTo>
                    <a:pt x="3805209" y="549182"/>
                  </a:lnTo>
                  <a:lnTo>
                    <a:pt x="3806877" y="555913"/>
                  </a:lnTo>
                  <a:lnTo>
                    <a:pt x="3811881" y="545817"/>
                  </a:lnTo>
                  <a:lnTo>
                    <a:pt x="3801873" y="549182"/>
                  </a:lnTo>
                  <a:lnTo>
                    <a:pt x="3791864" y="559279"/>
                  </a:lnTo>
                  <a:lnTo>
                    <a:pt x="3788528" y="552548"/>
                  </a:lnTo>
                  <a:lnTo>
                    <a:pt x="3778520" y="554230"/>
                  </a:lnTo>
                  <a:lnTo>
                    <a:pt x="3785192" y="549182"/>
                  </a:lnTo>
                  <a:lnTo>
                    <a:pt x="3788528" y="542451"/>
                  </a:lnTo>
                  <a:lnTo>
                    <a:pt x="3775184" y="540768"/>
                  </a:lnTo>
                  <a:lnTo>
                    <a:pt x="3780188" y="540768"/>
                  </a:lnTo>
                  <a:lnTo>
                    <a:pt x="3778520" y="539085"/>
                  </a:lnTo>
                  <a:lnTo>
                    <a:pt x="3775184" y="534037"/>
                  </a:lnTo>
                  <a:lnTo>
                    <a:pt x="3801873" y="530671"/>
                  </a:lnTo>
                  <a:lnTo>
                    <a:pt x="3818553" y="534037"/>
                  </a:lnTo>
                  <a:lnTo>
                    <a:pt x="3825225" y="530671"/>
                  </a:lnTo>
                  <a:lnTo>
                    <a:pt x="3821889" y="522257"/>
                  </a:lnTo>
                  <a:lnTo>
                    <a:pt x="3820221" y="523940"/>
                  </a:lnTo>
                  <a:lnTo>
                    <a:pt x="3806877" y="523940"/>
                  </a:lnTo>
                  <a:lnTo>
                    <a:pt x="3776852" y="528988"/>
                  </a:lnTo>
                  <a:lnTo>
                    <a:pt x="3780188" y="522257"/>
                  </a:lnTo>
                  <a:lnTo>
                    <a:pt x="3778520" y="522257"/>
                  </a:lnTo>
                  <a:lnTo>
                    <a:pt x="3785192" y="520574"/>
                  </a:lnTo>
                  <a:lnTo>
                    <a:pt x="3775184" y="512160"/>
                  </a:lnTo>
                  <a:lnTo>
                    <a:pt x="3805209" y="510477"/>
                  </a:lnTo>
                  <a:lnTo>
                    <a:pt x="3776852" y="508794"/>
                  </a:lnTo>
                  <a:lnTo>
                    <a:pt x="3776852" y="502063"/>
                  </a:lnTo>
                  <a:lnTo>
                    <a:pt x="3781856" y="503746"/>
                  </a:lnTo>
                  <a:lnTo>
                    <a:pt x="3795200" y="502063"/>
                  </a:lnTo>
                  <a:lnTo>
                    <a:pt x="3790196" y="500380"/>
                  </a:lnTo>
                  <a:lnTo>
                    <a:pt x="3801873" y="498697"/>
                  </a:lnTo>
                  <a:lnTo>
                    <a:pt x="3800205" y="493649"/>
                  </a:lnTo>
                  <a:lnTo>
                    <a:pt x="3815217" y="500380"/>
                  </a:lnTo>
                  <a:lnTo>
                    <a:pt x="3816885" y="498697"/>
                  </a:lnTo>
                  <a:lnTo>
                    <a:pt x="3801873" y="491967"/>
                  </a:lnTo>
                  <a:lnTo>
                    <a:pt x="3820221" y="488600"/>
                  </a:lnTo>
                  <a:lnTo>
                    <a:pt x="3828561" y="485235"/>
                  </a:lnTo>
                  <a:lnTo>
                    <a:pt x="3820221" y="485235"/>
                  </a:lnTo>
                  <a:lnTo>
                    <a:pt x="3811881" y="485235"/>
                  </a:lnTo>
                  <a:lnTo>
                    <a:pt x="3815217" y="478504"/>
                  </a:lnTo>
                  <a:lnTo>
                    <a:pt x="3841906" y="485235"/>
                  </a:lnTo>
                  <a:lnTo>
                    <a:pt x="3836902" y="480186"/>
                  </a:lnTo>
                  <a:lnTo>
                    <a:pt x="3840238" y="481869"/>
                  </a:lnTo>
                  <a:lnTo>
                    <a:pt x="3838570" y="478504"/>
                  </a:lnTo>
                  <a:lnTo>
                    <a:pt x="3845242" y="471772"/>
                  </a:lnTo>
                  <a:lnTo>
                    <a:pt x="3855250" y="465041"/>
                  </a:lnTo>
                  <a:lnTo>
                    <a:pt x="3856918" y="463359"/>
                  </a:lnTo>
                  <a:lnTo>
                    <a:pt x="3871931" y="465041"/>
                  </a:lnTo>
                  <a:lnTo>
                    <a:pt x="3880271" y="465041"/>
                  </a:lnTo>
                  <a:lnTo>
                    <a:pt x="3896952" y="459992"/>
                  </a:lnTo>
                  <a:lnTo>
                    <a:pt x="3896952" y="451579"/>
                  </a:lnTo>
                  <a:lnTo>
                    <a:pt x="3888611" y="454944"/>
                  </a:lnTo>
                  <a:lnTo>
                    <a:pt x="3876935" y="463359"/>
                  </a:lnTo>
                  <a:lnTo>
                    <a:pt x="3868595" y="458309"/>
                  </a:lnTo>
                  <a:lnTo>
                    <a:pt x="3875267" y="451579"/>
                  </a:lnTo>
                  <a:lnTo>
                    <a:pt x="3886943" y="439799"/>
                  </a:lnTo>
                  <a:lnTo>
                    <a:pt x="3895283" y="438116"/>
                  </a:lnTo>
                  <a:lnTo>
                    <a:pt x="3905292" y="433068"/>
                  </a:lnTo>
                  <a:lnTo>
                    <a:pt x="3910295" y="424654"/>
                  </a:lnTo>
                  <a:lnTo>
                    <a:pt x="3910296" y="424653"/>
                  </a:lnTo>
                  <a:lnTo>
                    <a:pt x="3925308" y="419605"/>
                  </a:lnTo>
                  <a:lnTo>
                    <a:pt x="3920304" y="417923"/>
                  </a:lnTo>
                  <a:lnTo>
                    <a:pt x="3920304" y="411191"/>
                  </a:lnTo>
                  <a:lnTo>
                    <a:pt x="3920304" y="404459"/>
                  </a:lnTo>
                  <a:lnTo>
                    <a:pt x="3925308" y="397729"/>
                  </a:lnTo>
                  <a:lnTo>
                    <a:pt x="3941989" y="390998"/>
                  </a:lnTo>
                  <a:lnTo>
                    <a:pt x="3930313" y="390998"/>
                  </a:lnTo>
                  <a:lnTo>
                    <a:pt x="3926976" y="389314"/>
                  </a:lnTo>
                  <a:lnTo>
                    <a:pt x="3931981" y="382583"/>
                  </a:lnTo>
                  <a:lnTo>
                    <a:pt x="3930313" y="382583"/>
                  </a:lnTo>
                  <a:lnTo>
                    <a:pt x="3940321" y="377535"/>
                  </a:lnTo>
                  <a:lnTo>
                    <a:pt x="3957001" y="370804"/>
                  </a:lnTo>
                  <a:lnTo>
                    <a:pt x="3972014" y="370804"/>
                  </a:lnTo>
                  <a:lnTo>
                    <a:pt x="3958669" y="364071"/>
                  </a:lnTo>
                  <a:lnTo>
                    <a:pt x="3960338" y="360707"/>
                  </a:lnTo>
                  <a:lnTo>
                    <a:pt x="3972014" y="360707"/>
                  </a:lnTo>
                  <a:lnTo>
                    <a:pt x="3975350" y="360707"/>
                  </a:lnTo>
                  <a:lnTo>
                    <a:pt x="3970346" y="357341"/>
                  </a:lnTo>
                  <a:lnTo>
                    <a:pt x="3977018" y="352292"/>
                  </a:lnTo>
                  <a:lnTo>
                    <a:pt x="3958669" y="353974"/>
                  </a:lnTo>
                  <a:lnTo>
                    <a:pt x="3972014" y="343879"/>
                  </a:lnTo>
                  <a:lnTo>
                    <a:pt x="3978686" y="342195"/>
                  </a:lnTo>
                  <a:lnTo>
                    <a:pt x="3985358" y="348926"/>
                  </a:lnTo>
                  <a:lnTo>
                    <a:pt x="3985358" y="347244"/>
                  </a:lnTo>
                  <a:lnTo>
                    <a:pt x="3988694" y="340513"/>
                  </a:lnTo>
                  <a:lnTo>
                    <a:pt x="3990362" y="338830"/>
                  </a:lnTo>
                  <a:lnTo>
                    <a:pt x="4005375" y="340513"/>
                  </a:lnTo>
                  <a:lnTo>
                    <a:pt x="4008711" y="333782"/>
                  </a:lnTo>
                  <a:lnTo>
                    <a:pt x="3987026" y="332098"/>
                  </a:lnTo>
                  <a:lnTo>
                    <a:pt x="4008711" y="328732"/>
                  </a:lnTo>
                  <a:lnTo>
                    <a:pt x="4012047" y="327050"/>
                  </a:lnTo>
                  <a:lnTo>
                    <a:pt x="4010379" y="316954"/>
                  </a:lnTo>
                  <a:lnTo>
                    <a:pt x="4017051" y="310222"/>
                  </a:lnTo>
                  <a:lnTo>
                    <a:pt x="4027060" y="311905"/>
                  </a:lnTo>
                  <a:lnTo>
                    <a:pt x="4025392" y="308538"/>
                  </a:lnTo>
                  <a:lnTo>
                    <a:pt x="4038736" y="310222"/>
                  </a:lnTo>
                  <a:lnTo>
                    <a:pt x="4037068" y="303491"/>
                  </a:lnTo>
                  <a:lnTo>
                    <a:pt x="4040404" y="298442"/>
                  </a:lnTo>
                  <a:lnTo>
                    <a:pt x="4045408" y="306855"/>
                  </a:lnTo>
                  <a:lnTo>
                    <a:pt x="4050412" y="303491"/>
                  </a:lnTo>
                  <a:lnTo>
                    <a:pt x="4052080" y="296758"/>
                  </a:lnTo>
                  <a:lnTo>
                    <a:pt x="4052080" y="311905"/>
                  </a:lnTo>
                  <a:lnTo>
                    <a:pt x="4060421" y="303491"/>
                  </a:lnTo>
                  <a:lnTo>
                    <a:pt x="4072097" y="298442"/>
                  </a:lnTo>
                  <a:lnTo>
                    <a:pt x="4085441" y="298442"/>
                  </a:lnTo>
                  <a:lnTo>
                    <a:pt x="4088778" y="293394"/>
                  </a:lnTo>
                  <a:lnTo>
                    <a:pt x="4075433" y="290028"/>
                  </a:lnTo>
                  <a:lnTo>
                    <a:pt x="4097118" y="288345"/>
                  </a:lnTo>
                  <a:lnTo>
                    <a:pt x="4095450" y="291710"/>
                  </a:lnTo>
                  <a:lnTo>
                    <a:pt x="4108794" y="291710"/>
                  </a:lnTo>
                  <a:lnTo>
                    <a:pt x="4130479" y="278247"/>
                  </a:lnTo>
                  <a:lnTo>
                    <a:pt x="4130479" y="273200"/>
                  </a:lnTo>
                  <a:lnTo>
                    <a:pt x="4145491" y="273200"/>
                  </a:lnTo>
                  <a:lnTo>
                    <a:pt x="4150495" y="276566"/>
                  </a:lnTo>
                  <a:lnTo>
                    <a:pt x="4142155" y="291710"/>
                  </a:lnTo>
                  <a:lnTo>
                    <a:pt x="4165508" y="271517"/>
                  </a:lnTo>
                  <a:lnTo>
                    <a:pt x="4170512" y="286663"/>
                  </a:lnTo>
                  <a:lnTo>
                    <a:pt x="4182188" y="271517"/>
                  </a:lnTo>
                  <a:close/>
                  <a:moveTo>
                    <a:pt x="7034452" y="257606"/>
                  </a:moveTo>
                  <a:lnTo>
                    <a:pt x="7059264" y="272519"/>
                  </a:lnTo>
                  <a:lnTo>
                    <a:pt x="7045086" y="274177"/>
                  </a:lnTo>
                  <a:lnTo>
                    <a:pt x="7029135" y="267548"/>
                  </a:lnTo>
                  <a:close/>
                  <a:moveTo>
                    <a:pt x="308187" y="257606"/>
                  </a:moveTo>
                  <a:lnTo>
                    <a:pt x="337447" y="262690"/>
                  </a:lnTo>
                  <a:lnTo>
                    <a:pt x="334012" y="267774"/>
                  </a:lnTo>
                  <a:lnTo>
                    <a:pt x="277197" y="271164"/>
                  </a:lnTo>
                  <a:close/>
                  <a:moveTo>
                    <a:pt x="1903519" y="250408"/>
                  </a:moveTo>
                  <a:lnTo>
                    <a:pt x="1911876" y="250408"/>
                  </a:lnTo>
                  <a:lnTo>
                    <a:pt x="1923585" y="258781"/>
                  </a:lnTo>
                  <a:lnTo>
                    <a:pt x="1915222" y="273852"/>
                  </a:lnTo>
                  <a:lnTo>
                    <a:pt x="1923585" y="288922"/>
                  </a:lnTo>
                  <a:lnTo>
                    <a:pt x="1913549" y="288922"/>
                  </a:lnTo>
                  <a:lnTo>
                    <a:pt x="1913549" y="292271"/>
                  </a:lnTo>
                  <a:lnTo>
                    <a:pt x="1898511" y="300644"/>
                  </a:lnTo>
                  <a:lnTo>
                    <a:pt x="1900184" y="302318"/>
                  </a:lnTo>
                  <a:lnTo>
                    <a:pt x="1921913" y="303993"/>
                  </a:lnTo>
                  <a:lnTo>
                    <a:pt x="1933607" y="309016"/>
                  </a:lnTo>
                  <a:lnTo>
                    <a:pt x="1913549" y="312365"/>
                  </a:lnTo>
                  <a:lnTo>
                    <a:pt x="1921913" y="319063"/>
                  </a:lnTo>
                  <a:lnTo>
                    <a:pt x="1911876" y="340832"/>
                  </a:lnTo>
                  <a:lnTo>
                    <a:pt x="1948651" y="314040"/>
                  </a:lnTo>
                  <a:lnTo>
                    <a:pt x="1965371" y="322413"/>
                  </a:lnTo>
                  <a:lnTo>
                    <a:pt x="1953665" y="340832"/>
                  </a:lnTo>
                  <a:lnTo>
                    <a:pt x="1945315" y="344182"/>
                  </a:lnTo>
                  <a:lnTo>
                    <a:pt x="1950322" y="364276"/>
                  </a:lnTo>
                  <a:lnTo>
                    <a:pt x="1965371" y="362600"/>
                  </a:lnTo>
                  <a:lnTo>
                    <a:pt x="2010502" y="327436"/>
                  </a:lnTo>
                  <a:lnTo>
                    <a:pt x="2028887" y="327436"/>
                  </a:lnTo>
                  <a:lnTo>
                    <a:pt x="2030558" y="322413"/>
                  </a:lnTo>
                  <a:lnTo>
                    <a:pt x="2028887" y="317389"/>
                  </a:lnTo>
                  <a:lnTo>
                    <a:pt x="2033903" y="302318"/>
                  </a:lnTo>
                  <a:lnTo>
                    <a:pt x="2092406" y="303993"/>
                  </a:lnTo>
                  <a:lnTo>
                    <a:pt x="2070675" y="307342"/>
                  </a:lnTo>
                  <a:lnTo>
                    <a:pt x="2102436" y="314040"/>
                  </a:lnTo>
                  <a:lnTo>
                    <a:pt x="2082379" y="322413"/>
                  </a:lnTo>
                  <a:lnTo>
                    <a:pt x="2095749" y="327436"/>
                  </a:lnTo>
                  <a:lnTo>
                    <a:pt x="2072347" y="334135"/>
                  </a:lnTo>
                  <a:lnTo>
                    <a:pt x="2070675" y="342507"/>
                  </a:lnTo>
                  <a:lnTo>
                    <a:pt x="2072347" y="357577"/>
                  </a:lnTo>
                  <a:lnTo>
                    <a:pt x="2063996" y="369299"/>
                  </a:lnTo>
                  <a:lnTo>
                    <a:pt x="2015520" y="387719"/>
                  </a:lnTo>
                  <a:lnTo>
                    <a:pt x="2008828" y="379346"/>
                  </a:lnTo>
                  <a:lnTo>
                    <a:pt x="2002141" y="377672"/>
                  </a:lnTo>
                  <a:lnTo>
                    <a:pt x="1992118" y="374323"/>
                  </a:lnTo>
                  <a:lnTo>
                    <a:pt x="2002141" y="389393"/>
                  </a:lnTo>
                  <a:lnTo>
                    <a:pt x="1988772" y="391067"/>
                  </a:lnTo>
                  <a:lnTo>
                    <a:pt x="1975396" y="384370"/>
                  </a:lnTo>
                  <a:lnTo>
                    <a:pt x="1948651" y="382694"/>
                  </a:lnTo>
                  <a:lnTo>
                    <a:pt x="1958680" y="392742"/>
                  </a:lnTo>
                  <a:lnTo>
                    <a:pt x="1911876" y="414511"/>
                  </a:lnTo>
                  <a:lnTo>
                    <a:pt x="1898511" y="407813"/>
                  </a:lnTo>
                  <a:lnTo>
                    <a:pt x="1850035" y="399440"/>
                  </a:lnTo>
                  <a:lnTo>
                    <a:pt x="1875109" y="411161"/>
                  </a:lnTo>
                  <a:lnTo>
                    <a:pt x="1918567" y="417860"/>
                  </a:lnTo>
                  <a:lnTo>
                    <a:pt x="1911876" y="424558"/>
                  </a:lnTo>
                  <a:lnTo>
                    <a:pt x="1865073" y="449675"/>
                  </a:lnTo>
                  <a:lnTo>
                    <a:pt x="1853380" y="444651"/>
                  </a:lnTo>
                  <a:lnTo>
                    <a:pt x="1853380" y="451350"/>
                  </a:lnTo>
                  <a:lnTo>
                    <a:pt x="1841670" y="448001"/>
                  </a:lnTo>
                  <a:lnTo>
                    <a:pt x="1834984" y="451350"/>
                  </a:lnTo>
                  <a:lnTo>
                    <a:pt x="1824960" y="459722"/>
                  </a:lnTo>
                  <a:lnTo>
                    <a:pt x="1793195" y="453025"/>
                  </a:lnTo>
                  <a:lnTo>
                    <a:pt x="1763106" y="448001"/>
                  </a:lnTo>
                  <a:lnTo>
                    <a:pt x="1763106" y="454698"/>
                  </a:lnTo>
                  <a:lnTo>
                    <a:pt x="1788180" y="459722"/>
                  </a:lnTo>
                  <a:lnTo>
                    <a:pt x="1783165" y="461397"/>
                  </a:lnTo>
                  <a:lnTo>
                    <a:pt x="1808239" y="468095"/>
                  </a:lnTo>
                  <a:lnTo>
                    <a:pt x="1804904" y="474792"/>
                  </a:lnTo>
                  <a:lnTo>
                    <a:pt x="1771465" y="481491"/>
                  </a:lnTo>
                  <a:lnTo>
                    <a:pt x="1769793" y="488189"/>
                  </a:lnTo>
                  <a:lnTo>
                    <a:pt x="1758101" y="489863"/>
                  </a:lnTo>
                  <a:lnTo>
                    <a:pt x="1748064" y="498236"/>
                  </a:lnTo>
                  <a:lnTo>
                    <a:pt x="1739705" y="494887"/>
                  </a:lnTo>
                  <a:lnTo>
                    <a:pt x="1743048" y="498236"/>
                  </a:lnTo>
                  <a:lnTo>
                    <a:pt x="1721317" y="504934"/>
                  </a:lnTo>
                  <a:lnTo>
                    <a:pt x="1719646" y="513306"/>
                  </a:lnTo>
                  <a:lnTo>
                    <a:pt x="1672842" y="543448"/>
                  </a:lnTo>
                  <a:lnTo>
                    <a:pt x="1642754" y="583636"/>
                  </a:lnTo>
                  <a:lnTo>
                    <a:pt x="1644425" y="593683"/>
                  </a:lnTo>
                  <a:lnTo>
                    <a:pt x="1637746" y="608753"/>
                  </a:lnTo>
                  <a:lnTo>
                    <a:pt x="1644425" y="598706"/>
                  </a:lnTo>
                  <a:lnTo>
                    <a:pt x="1664484" y="593683"/>
                  </a:lnTo>
                  <a:lnTo>
                    <a:pt x="1667827" y="610428"/>
                  </a:lnTo>
                  <a:lnTo>
                    <a:pt x="1649440" y="643918"/>
                  </a:lnTo>
                  <a:lnTo>
                    <a:pt x="1654457" y="642244"/>
                  </a:lnTo>
                  <a:lnTo>
                    <a:pt x="1652784" y="643918"/>
                  </a:lnTo>
                  <a:lnTo>
                    <a:pt x="1691229" y="633871"/>
                  </a:lnTo>
                  <a:lnTo>
                    <a:pt x="1721317" y="643918"/>
                  </a:lnTo>
                  <a:lnTo>
                    <a:pt x="1744720" y="669036"/>
                  </a:lnTo>
                  <a:lnTo>
                    <a:pt x="1768121" y="679083"/>
                  </a:lnTo>
                  <a:lnTo>
                    <a:pt x="1788180" y="689130"/>
                  </a:lnTo>
                  <a:lnTo>
                    <a:pt x="1778156" y="695828"/>
                  </a:lnTo>
                  <a:lnTo>
                    <a:pt x="1784837" y="692479"/>
                  </a:lnTo>
                  <a:lnTo>
                    <a:pt x="1813254" y="692479"/>
                  </a:lnTo>
                  <a:lnTo>
                    <a:pt x="1841670" y="694154"/>
                  </a:lnTo>
                  <a:lnTo>
                    <a:pt x="1829969" y="722620"/>
                  </a:lnTo>
                  <a:lnTo>
                    <a:pt x="1819941" y="751086"/>
                  </a:lnTo>
                  <a:lnTo>
                    <a:pt x="1821615" y="771180"/>
                  </a:lnTo>
                  <a:lnTo>
                    <a:pt x="1818268" y="779553"/>
                  </a:lnTo>
                  <a:lnTo>
                    <a:pt x="1834984" y="799647"/>
                  </a:lnTo>
                  <a:lnTo>
                    <a:pt x="1818268" y="813043"/>
                  </a:lnTo>
                  <a:lnTo>
                    <a:pt x="1834984" y="802996"/>
                  </a:lnTo>
                  <a:lnTo>
                    <a:pt x="1851708" y="821416"/>
                  </a:lnTo>
                  <a:lnTo>
                    <a:pt x="1848362" y="813043"/>
                  </a:lnTo>
                  <a:lnTo>
                    <a:pt x="1863401" y="794624"/>
                  </a:lnTo>
                  <a:lnTo>
                    <a:pt x="1868418" y="804671"/>
                  </a:lnTo>
                  <a:lnTo>
                    <a:pt x="1873436" y="799647"/>
                  </a:lnTo>
                  <a:lnTo>
                    <a:pt x="1881788" y="784577"/>
                  </a:lnTo>
                  <a:lnTo>
                    <a:pt x="1893492" y="769506"/>
                  </a:lnTo>
                  <a:lnTo>
                    <a:pt x="1901847" y="729318"/>
                  </a:lnTo>
                  <a:lnTo>
                    <a:pt x="1900184" y="709224"/>
                  </a:lnTo>
                  <a:lnTo>
                    <a:pt x="1915222" y="702526"/>
                  </a:lnTo>
                  <a:lnTo>
                    <a:pt x="1948651" y="689130"/>
                  </a:lnTo>
                  <a:lnTo>
                    <a:pt x="1980411" y="672385"/>
                  </a:lnTo>
                  <a:lnTo>
                    <a:pt x="1992118" y="648942"/>
                  </a:lnTo>
                  <a:lnTo>
                    <a:pt x="2005484" y="623824"/>
                  </a:lnTo>
                  <a:lnTo>
                    <a:pt x="1982083" y="598706"/>
                  </a:lnTo>
                  <a:lnTo>
                    <a:pt x="2015520" y="570240"/>
                  </a:lnTo>
                  <a:lnTo>
                    <a:pt x="2020528" y="568565"/>
                  </a:lnTo>
                  <a:lnTo>
                    <a:pt x="2030558" y="558518"/>
                  </a:lnTo>
                  <a:lnTo>
                    <a:pt x="2035576" y="538424"/>
                  </a:lnTo>
                  <a:lnTo>
                    <a:pt x="2030558" y="538424"/>
                  </a:lnTo>
                  <a:lnTo>
                    <a:pt x="2043930" y="520004"/>
                  </a:lnTo>
                  <a:lnTo>
                    <a:pt x="2042267" y="511632"/>
                  </a:lnTo>
                  <a:lnTo>
                    <a:pt x="2060650" y="491538"/>
                  </a:lnTo>
                  <a:lnTo>
                    <a:pt x="2100764" y="498236"/>
                  </a:lnTo>
                  <a:lnTo>
                    <a:pt x="2092406" y="499910"/>
                  </a:lnTo>
                  <a:lnTo>
                    <a:pt x="2115808" y="499910"/>
                  </a:lnTo>
                  <a:lnTo>
                    <a:pt x="2140881" y="491538"/>
                  </a:lnTo>
                  <a:lnTo>
                    <a:pt x="2160949" y="501585"/>
                  </a:lnTo>
                  <a:lnTo>
                    <a:pt x="2159276" y="504934"/>
                  </a:lnTo>
                  <a:lnTo>
                    <a:pt x="2165955" y="514981"/>
                  </a:lnTo>
                  <a:lnTo>
                    <a:pt x="2174314" y="513306"/>
                  </a:lnTo>
                  <a:lnTo>
                    <a:pt x="2165955" y="521679"/>
                  </a:lnTo>
                  <a:lnTo>
                    <a:pt x="2196043" y="533401"/>
                  </a:lnTo>
                  <a:lnTo>
                    <a:pt x="2204406" y="533401"/>
                  </a:lnTo>
                  <a:lnTo>
                    <a:pt x="2201061" y="540098"/>
                  </a:lnTo>
                  <a:lnTo>
                    <a:pt x="2196043" y="553494"/>
                  </a:lnTo>
                  <a:lnTo>
                    <a:pt x="2164283" y="555169"/>
                  </a:lnTo>
                  <a:lnTo>
                    <a:pt x="2191029" y="560193"/>
                  </a:lnTo>
                  <a:lnTo>
                    <a:pt x="2182678" y="571914"/>
                  </a:lnTo>
                  <a:lnTo>
                    <a:pt x="2189357" y="575263"/>
                  </a:lnTo>
                  <a:lnTo>
                    <a:pt x="2181005" y="590334"/>
                  </a:lnTo>
                  <a:lnTo>
                    <a:pt x="2172642" y="588659"/>
                  </a:lnTo>
                  <a:lnTo>
                    <a:pt x="2162612" y="593683"/>
                  </a:lnTo>
                  <a:lnTo>
                    <a:pt x="2169298" y="593683"/>
                  </a:lnTo>
                  <a:lnTo>
                    <a:pt x="2196043" y="588659"/>
                  </a:lnTo>
                  <a:lnTo>
                    <a:pt x="2200791" y="604514"/>
                  </a:lnTo>
                  <a:lnTo>
                    <a:pt x="2199280" y="606251"/>
                  </a:lnTo>
                  <a:lnTo>
                    <a:pt x="2169298" y="620475"/>
                  </a:lnTo>
                  <a:lnTo>
                    <a:pt x="2192700" y="613777"/>
                  </a:lnTo>
                  <a:lnTo>
                    <a:pt x="2199280" y="606251"/>
                  </a:lnTo>
                  <a:lnTo>
                    <a:pt x="2201061" y="605404"/>
                  </a:lnTo>
                  <a:lnTo>
                    <a:pt x="2200791" y="604514"/>
                  </a:lnTo>
                  <a:lnTo>
                    <a:pt x="2204406" y="600381"/>
                  </a:lnTo>
                  <a:lnTo>
                    <a:pt x="2201061" y="610428"/>
                  </a:lnTo>
                  <a:lnTo>
                    <a:pt x="2209416" y="605404"/>
                  </a:lnTo>
                  <a:lnTo>
                    <a:pt x="2206079" y="615452"/>
                  </a:lnTo>
                  <a:lnTo>
                    <a:pt x="2222790" y="603730"/>
                  </a:lnTo>
                  <a:lnTo>
                    <a:pt x="2244519" y="592008"/>
                  </a:lnTo>
                  <a:lnTo>
                    <a:pt x="2249537" y="603730"/>
                  </a:lnTo>
                  <a:lnTo>
                    <a:pt x="2252883" y="595357"/>
                  </a:lnTo>
                  <a:lnTo>
                    <a:pt x="2264577" y="583636"/>
                  </a:lnTo>
                  <a:lnTo>
                    <a:pt x="2272939" y="578612"/>
                  </a:lnTo>
                  <a:lnTo>
                    <a:pt x="2281294" y="573589"/>
                  </a:lnTo>
                  <a:lnTo>
                    <a:pt x="2274612" y="565216"/>
                  </a:lnTo>
                  <a:lnTo>
                    <a:pt x="2286308" y="565216"/>
                  </a:lnTo>
                  <a:lnTo>
                    <a:pt x="2286308" y="558518"/>
                  </a:lnTo>
                  <a:lnTo>
                    <a:pt x="2301359" y="551820"/>
                  </a:lnTo>
                  <a:lnTo>
                    <a:pt x="2294668" y="558518"/>
                  </a:lnTo>
                  <a:lnTo>
                    <a:pt x="2303032" y="555169"/>
                  </a:lnTo>
                  <a:lnTo>
                    <a:pt x="2303032" y="561867"/>
                  </a:lnTo>
                  <a:lnTo>
                    <a:pt x="2309710" y="573589"/>
                  </a:lnTo>
                  <a:lnTo>
                    <a:pt x="2313053" y="578612"/>
                  </a:lnTo>
                  <a:lnTo>
                    <a:pt x="2304695" y="585310"/>
                  </a:lnTo>
                  <a:lnTo>
                    <a:pt x="2313053" y="585310"/>
                  </a:lnTo>
                  <a:lnTo>
                    <a:pt x="2321415" y="592008"/>
                  </a:lnTo>
                  <a:lnTo>
                    <a:pt x="2299686" y="605404"/>
                  </a:lnTo>
                  <a:lnTo>
                    <a:pt x="2319742" y="600381"/>
                  </a:lnTo>
                  <a:lnTo>
                    <a:pt x="2321415" y="605404"/>
                  </a:lnTo>
                  <a:lnTo>
                    <a:pt x="2304695" y="612102"/>
                  </a:lnTo>
                  <a:lnTo>
                    <a:pt x="2316397" y="610428"/>
                  </a:lnTo>
                  <a:lnTo>
                    <a:pt x="2319742" y="613777"/>
                  </a:lnTo>
                  <a:lnTo>
                    <a:pt x="2326434" y="620475"/>
                  </a:lnTo>
                  <a:lnTo>
                    <a:pt x="2319742" y="628848"/>
                  </a:lnTo>
                  <a:lnTo>
                    <a:pt x="2324761" y="632196"/>
                  </a:lnTo>
                  <a:lnTo>
                    <a:pt x="2333112" y="640569"/>
                  </a:lnTo>
                  <a:lnTo>
                    <a:pt x="2316397" y="650616"/>
                  </a:lnTo>
                  <a:lnTo>
                    <a:pt x="2309710" y="645593"/>
                  </a:lnTo>
                  <a:lnTo>
                    <a:pt x="2304695" y="645593"/>
                  </a:lnTo>
                  <a:lnTo>
                    <a:pt x="2314725" y="652291"/>
                  </a:lnTo>
                  <a:lnTo>
                    <a:pt x="2309710" y="652291"/>
                  </a:lnTo>
                  <a:lnTo>
                    <a:pt x="2316397" y="653965"/>
                  </a:lnTo>
                  <a:lnTo>
                    <a:pt x="2311382" y="655640"/>
                  </a:lnTo>
                  <a:lnTo>
                    <a:pt x="2319742" y="662338"/>
                  </a:lnTo>
                  <a:lnTo>
                    <a:pt x="2306367" y="662338"/>
                  </a:lnTo>
                  <a:lnTo>
                    <a:pt x="2321415" y="665687"/>
                  </a:lnTo>
                  <a:lnTo>
                    <a:pt x="2331441" y="679083"/>
                  </a:lnTo>
                  <a:lnTo>
                    <a:pt x="2329769" y="682432"/>
                  </a:lnTo>
                  <a:lnTo>
                    <a:pt x="2336455" y="675734"/>
                  </a:lnTo>
                  <a:lnTo>
                    <a:pt x="2334784" y="685781"/>
                  </a:lnTo>
                  <a:lnTo>
                    <a:pt x="2331441" y="692479"/>
                  </a:lnTo>
                  <a:lnTo>
                    <a:pt x="2324761" y="695828"/>
                  </a:lnTo>
                  <a:lnTo>
                    <a:pt x="2339798" y="690804"/>
                  </a:lnTo>
                  <a:lnTo>
                    <a:pt x="2334784" y="695828"/>
                  </a:lnTo>
                  <a:lnTo>
                    <a:pt x="2346490" y="692479"/>
                  </a:lnTo>
                  <a:lnTo>
                    <a:pt x="2349836" y="694154"/>
                  </a:lnTo>
                  <a:lnTo>
                    <a:pt x="2339798" y="702526"/>
                  </a:lnTo>
                  <a:lnTo>
                    <a:pt x="2359857" y="692479"/>
                  </a:lnTo>
                  <a:lnTo>
                    <a:pt x="2351508" y="699177"/>
                  </a:lnTo>
                  <a:lnTo>
                    <a:pt x="2359857" y="699177"/>
                  </a:lnTo>
                  <a:lnTo>
                    <a:pt x="2391620" y="710899"/>
                  </a:lnTo>
                  <a:lnTo>
                    <a:pt x="2339798" y="725970"/>
                  </a:lnTo>
                  <a:lnTo>
                    <a:pt x="2366546" y="720946"/>
                  </a:lnTo>
                  <a:lnTo>
                    <a:pt x="2324761" y="736017"/>
                  </a:lnTo>
                  <a:lnTo>
                    <a:pt x="2309710" y="734341"/>
                  </a:lnTo>
                  <a:lnTo>
                    <a:pt x="2321415" y="741040"/>
                  </a:lnTo>
                  <a:lnTo>
                    <a:pt x="2311382" y="746064"/>
                  </a:lnTo>
                  <a:lnTo>
                    <a:pt x="2341471" y="736017"/>
                  </a:lnTo>
                  <a:lnTo>
                    <a:pt x="2376573" y="724295"/>
                  </a:lnTo>
                  <a:lnTo>
                    <a:pt x="2366546" y="724295"/>
                  </a:lnTo>
                  <a:lnTo>
                    <a:pt x="2386603" y="722620"/>
                  </a:lnTo>
                  <a:lnTo>
                    <a:pt x="2383259" y="739365"/>
                  </a:lnTo>
                  <a:lnTo>
                    <a:pt x="2399975" y="734341"/>
                  </a:lnTo>
                  <a:lnTo>
                    <a:pt x="2396639" y="736017"/>
                  </a:lnTo>
                  <a:lnTo>
                    <a:pt x="2413349" y="744388"/>
                  </a:lnTo>
                  <a:lnTo>
                    <a:pt x="2410004" y="752761"/>
                  </a:lnTo>
                  <a:lnTo>
                    <a:pt x="2404989" y="761133"/>
                  </a:lnTo>
                  <a:lnTo>
                    <a:pt x="2404989" y="764482"/>
                  </a:lnTo>
                  <a:lnTo>
                    <a:pt x="2393293" y="766157"/>
                  </a:lnTo>
                  <a:lnTo>
                    <a:pt x="2410004" y="771180"/>
                  </a:lnTo>
                  <a:lnTo>
                    <a:pt x="2396639" y="772855"/>
                  </a:lnTo>
                  <a:lnTo>
                    <a:pt x="2410004" y="779553"/>
                  </a:lnTo>
                  <a:lnTo>
                    <a:pt x="2364873" y="801322"/>
                  </a:lnTo>
                  <a:lnTo>
                    <a:pt x="2324761" y="811369"/>
                  </a:lnTo>
                  <a:lnTo>
                    <a:pt x="2282965" y="834812"/>
                  </a:lnTo>
                  <a:lnTo>
                    <a:pt x="2236161" y="834812"/>
                  </a:lnTo>
                  <a:lnTo>
                    <a:pt x="2186014" y="836486"/>
                  </a:lnTo>
                  <a:lnTo>
                    <a:pt x="2135874" y="836486"/>
                  </a:lnTo>
                  <a:lnTo>
                    <a:pt x="2110799" y="861604"/>
                  </a:lnTo>
                  <a:lnTo>
                    <a:pt x="2074019" y="873326"/>
                  </a:lnTo>
                  <a:lnTo>
                    <a:pt x="2041171" y="896360"/>
                  </a:lnTo>
                  <a:lnTo>
                    <a:pt x="2015520" y="886722"/>
                  </a:lnTo>
                  <a:lnTo>
                    <a:pt x="2040594" y="896769"/>
                  </a:lnTo>
                  <a:lnTo>
                    <a:pt x="2041171" y="896360"/>
                  </a:lnTo>
                  <a:lnTo>
                    <a:pt x="2042267" y="896769"/>
                  </a:lnTo>
                  <a:lnTo>
                    <a:pt x="2020528" y="915188"/>
                  </a:lnTo>
                  <a:lnTo>
                    <a:pt x="1995463" y="935282"/>
                  </a:lnTo>
                  <a:lnTo>
                    <a:pt x="2032230" y="915188"/>
                  </a:lnTo>
                  <a:lnTo>
                    <a:pt x="2058977" y="900118"/>
                  </a:lnTo>
                  <a:lnTo>
                    <a:pt x="2082379" y="883373"/>
                  </a:lnTo>
                  <a:lnTo>
                    <a:pt x="2115808" y="873326"/>
                  </a:lnTo>
                  <a:lnTo>
                    <a:pt x="2150912" y="863279"/>
                  </a:lnTo>
                  <a:lnTo>
                    <a:pt x="2175986" y="873326"/>
                  </a:lnTo>
                  <a:lnTo>
                    <a:pt x="2179332" y="880024"/>
                  </a:lnTo>
                  <a:lnTo>
                    <a:pt x="2172642" y="880024"/>
                  </a:lnTo>
                  <a:lnTo>
                    <a:pt x="2170970" y="890071"/>
                  </a:lnTo>
                  <a:lnTo>
                    <a:pt x="2140881" y="900118"/>
                  </a:lnTo>
                  <a:lnTo>
                    <a:pt x="2115808" y="900118"/>
                  </a:lnTo>
                  <a:lnTo>
                    <a:pt x="2110799" y="901792"/>
                  </a:lnTo>
                  <a:lnTo>
                    <a:pt x="2132528" y="905141"/>
                  </a:lnTo>
                  <a:lnTo>
                    <a:pt x="2134201" y="911839"/>
                  </a:lnTo>
                  <a:lnTo>
                    <a:pt x="2154257" y="910165"/>
                  </a:lnTo>
                  <a:lnTo>
                    <a:pt x="2135874" y="930259"/>
                  </a:lnTo>
                  <a:lnTo>
                    <a:pt x="2145896" y="931933"/>
                  </a:lnTo>
                  <a:lnTo>
                    <a:pt x="2145896" y="953702"/>
                  </a:lnTo>
                  <a:lnTo>
                    <a:pt x="2159276" y="957051"/>
                  </a:lnTo>
                  <a:lnTo>
                    <a:pt x="2174314" y="965424"/>
                  </a:lnTo>
                  <a:lnTo>
                    <a:pt x="2194372" y="967098"/>
                  </a:lnTo>
                  <a:lnTo>
                    <a:pt x="2204406" y="963749"/>
                  </a:lnTo>
                  <a:lnTo>
                    <a:pt x="2216102" y="975471"/>
                  </a:lnTo>
                  <a:lnTo>
                    <a:pt x="2209416" y="977145"/>
                  </a:lnTo>
                  <a:lnTo>
                    <a:pt x="2216102" y="982169"/>
                  </a:lnTo>
                  <a:lnTo>
                    <a:pt x="2186014" y="992216"/>
                  </a:lnTo>
                  <a:lnTo>
                    <a:pt x="2155930" y="1002263"/>
                  </a:lnTo>
                  <a:lnTo>
                    <a:pt x="2152585" y="1000588"/>
                  </a:lnTo>
                  <a:lnTo>
                    <a:pt x="2144224" y="1003937"/>
                  </a:lnTo>
                  <a:lnTo>
                    <a:pt x="2140881" y="1000588"/>
                  </a:lnTo>
                  <a:lnTo>
                    <a:pt x="2105781" y="1027380"/>
                  </a:lnTo>
                  <a:lnTo>
                    <a:pt x="2092406" y="1032404"/>
                  </a:lnTo>
                  <a:lnTo>
                    <a:pt x="2084052" y="1015659"/>
                  </a:lnTo>
                  <a:lnTo>
                    <a:pt x="2095371" y="1002695"/>
                  </a:lnTo>
                  <a:lnTo>
                    <a:pt x="2110799" y="995565"/>
                  </a:lnTo>
                  <a:lnTo>
                    <a:pt x="2104108" y="997239"/>
                  </a:lnTo>
                  <a:lnTo>
                    <a:pt x="2140881" y="980494"/>
                  </a:lnTo>
                  <a:lnTo>
                    <a:pt x="2142553" y="985518"/>
                  </a:lnTo>
                  <a:lnTo>
                    <a:pt x="2164283" y="977145"/>
                  </a:lnTo>
                  <a:lnTo>
                    <a:pt x="2129183" y="975471"/>
                  </a:lnTo>
                  <a:lnTo>
                    <a:pt x="2145896" y="963749"/>
                  </a:lnTo>
                  <a:lnTo>
                    <a:pt x="2140881" y="963749"/>
                  </a:lnTo>
                  <a:lnTo>
                    <a:pt x="2139210" y="957051"/>
                  </a:lnTo>
                  <a:lnTo>
                    <a:pt x="2132528" y="970447"/>
                  </a:lnTo>
                  <a:lnTo>
                    <a:pt x="2099092" y="980494"/>
                  </a:lnTo>
                  <a:lnTo>
                    <a:pt x="2100764" y="977145"/>
                  </a:lnTo>
                  <a:lnTo>
                    <a:pt x="2079034" y="987192"/>
                  </a:lnTo>
                  <a:lnTo>
                    <a:pt x="2072786" y="984063"/>
                  </a:lnTo>
                  <a:lnTo>
                    <a:pt x="2074227" y="992728"/>
                  </a:lnTo>
                  <a:lnTo>
                    <a:pt x="2044098" y="1006150"/>
                  </a:lnTo>
                  <a:lnTo>
                    <a:pt x="2032381" y="1004473"/>
                  </a:lnTo>
                  <a:lnTo>
                    <a:pt x="2025685" y="1004473"/>
                  </a:lnTo>
                  <a:lnTo>
                    <a:pt x="2025685" y="1002795"/>
                  </a:lnTo>
                  <a:lnTo>
                    <a:pt x="2003925" y="1022928"/>
                  </a:lnTo>
                  <a:lnTo>
                    <a:pt x="2000578" y="1021250"/>
                  </a:lnTo>
                  <a:lnTo>
                    <a:pt x="1992208" y="1024605"/>
                  </a:lnTo>
                  <a:lnTo>
                    <a:pt x="1963753" y="1054804"/>
                  </a:lnTo>
                  <a:lnTo>
                    <a:pt x="1962079" y="1061515"/>
                  </a:lnTo>
                  <a:lnTo>
                    <a:pt x="1960406" y="1076615"/>
                  </a:lnTo>
                  <a:lnTo>
                    <a:pt x="1973281" y="1083068"/>
                  </a:lnTo>
                  <a:lnTo>
                    <a:pt x="1973796" y="1086681"/>
                  </a:lnTo>
                  <a:lnTo>
                    <a:pt x="1958732" y="1095070"/>
                  </a:lnTo>
                  <a:lnTo>
                    <a:pt x="1952036" y="1093392"/>
                  </a:lnTo>
                  <a:lnTo>
                    <a:pt x="1941993" y="1086681"/>
                  </a:lnTo>
                  <a:lnTo>
                    <a:pt x="1938645" y="1086681"/>
                  </a:lnTo>
                  <a:lnTo>
                    <a:pt x="1931950" y="1095070"/>
                  </a:lnTo>
                  <a:lnTo>
                    <a:pt x="1905169" y="1101781"/>
                  </a:lnTo>
                  <a:lnTo>
                    <a:pt x="1878387" y="1106814"/>
                  </a:lnTo>
                  <a:lnTo>
                    <a:pt x="1870019" y="1111847"/>
                  </a:lnTo>
                  <a:lnTo>
                    <a:pt x="1871692" y="1101781"/>
                  </a:lnTo>
                  <a:lnTo>
                    <a:pt x="1859975" y="1123591"/>
                  </a:lnTo>
                  <a:lnTo>
                    <a:pt x="1854954" y="1143724"/>
                  </a:lnTo>
                  <a:lnTo>
                    <a:pt x="1854954" y="1140369"/>
                  </a:lnTo>
                  <a:lnTo>
                    <a:pt x="1824824" y="1167212"/>
                  </a:lnTo>
                  <a:lnTo>
                    <a:pt x="1828172" y="1160501"/>
                  </a:lnTo>
                  <a:lnTo>
                    <a:pt x="1819802" y="1149316"/>
                  </a:lnTo>
                  <a:lnTo>
                    <a:pt x="1829846" y="1140369"/>
                  </a:lnTo>
                  <a:lnTo>
                    <a:pt x="1818129" y="1147079"/>
                  </a:lnTo>
                  <a:lnTo>
                    <a:pt x="1819802" y="1149316"/>
                  </a:lnTo>
                  <a:lnTo>
                    <a:pt x="1814781" y="1153790"/>
                  </a:lnTo>
                  <a:lnTo>
                    <a:pt x="1818129" y="1183989"/>
                  </a:lnTo>
                  <a:lnTo>
                    <a:pt x="1798043" y="1204122"/>
                  </a:lnTo>
                  <a:lnTo>
                    <a:pt x="1794695" y="1197411"/>
                  </a:lnTo>
                  <a:lnTo>
                    <a:pt x="1799717" y="1190700"/>
                  </a:lnTo>
                  <a:lnTo>
                    <a:pt x="1791347" y="1185667"/>
                  </a:lnTo>
                  <a:lnTo>
                    <a:pt x="1793021" y="1177279"/>
                  </a:lnTo>
                  <a:lnTo>
                    <a:pt x="1798043" y="1170568"/>
                  </a:lnTo>
                  <a:lnTo>
                    <a:pt x="1808086" y="1153790"/>
                  </a:lnTo>
                  <a:lnTo>
                    <a:pt x="1791347" y="1160501"/>
                  </a:lnTo>
                  <a:lnTo>
                    <a:pt x="1787999" y="1185667"/>
                  </a:lnTo>
                  <a:lnTo>
                    <a:pt x="1781305" y="1175601"/>
                  </a:lnTo>
                  <a:lnTo>
                    <a:pt x="1784652" y="1192378"/>
                  </a:lnTo>
                  <a:lnTo>
                    <a:pt x="1771261" y="1183989"/>
                  </a:lnTo>
                  <a:lnTo>
                    <a:pt x="1774609" y="1172245"/>
                  </a:lnTo>
                  <a:lnTo>
                    <a:pt x="1762892" y="1183989"/>
                  </a:lnTo>
                  <a:lnTo>
                    <a:pt x="1771261" y="1183989"/>
                  </a:lnTo>
                  <a:lnTo>
                    <a:pt x="1782978" y="1204122"/>
                  </a:lnTo>
                  <a:lnTo>
                    <a:pt x="1767914" y="1194056"/>
                  </a:lnTo>
                  <a:lnTo>
                    <a:pt x="1779631" y="1217544"/>
                  </a:lnTo>
                  <a:lnTo>
                    <a:pt x="1769587" y="1210833"/>
                  </a:lnTo>
                  <a:lnTo>
                    <a:pt x="1777957" y="1224255"/>
                  </a:lnTo>
                  <a:lnTo>
                    <a:pt x="1759544" y="1215866"/>
                  </a:lnTo>
                  <a:lnTo>
                    <a:pt x="1767914" y="1225933"/>
                  </a:lnTo>
                  <a:lnTo>
                    <a:pt x="1777957" y="1227610"/>
                  </a:lnTo>
                  <a:lnTo>
                    <a:pt x="1781871" y="1248208"/>
                  </a:lnTo>
                  <a:lnTo>
                    <a:pt x="1781305" y="1254454"/>
                  </a:lnTo>
                  <a:lnTo>
                    <a:pt x="1777957" y="1252776"/>
                  </a:lnTo>
                  <a:lnTo>
                    <a:pt x="1769587" y="1254454"/>
                  </a:lnTo>
                  <a:lnTo>
                    <a:pt x="1759544" y="1252776"/>
                  </a:lnTo>
                  <a:lnTo>
                    <a:pt x="1757871" y="1252776"/>
                  </a:lnTo>
                  <a:lnTo>
                    <a:pt x="1764566" y="1256132"/>
                  </a:lnTo>
                  <a:lnTo>
                    <a:pt x="1772935" y="1262843"/>
                  </a:lnTo>
                  <a:lnTo>
                    <a:pt x="1779631" y="1257810"/>
                  </a:lnTo>
                  <a:lnTo>
                    <a:pt x="1771261" y="1272909"/>
                  </a:lnTo>
                  <a:lnTo>
                    <a:pt x="1744480" y="1271231"/>
                  </a:lnTo>
                  <a:lnTo>
                    <a:pt x="1757871" y="1277942"/>
                  </a:lnTo>
                  <a:lnTo>
                    <a:pt x="1752849" y="1284653"/>
                  </a:lnTo>
                  <a:lnTo>
                    <a:pt x="1741132" y="1282975"/>
                  </a:lnTo>
                  <a:lnTo>
                    <a:pt x="1759544" y="1288009"/>
                  </a:lnTo>
                  <a:lnTo>
                    <a:pt x="1729415" y="1298075"/>
                  </a:lnTo>
                  <a:lnTo>
                    <a:pt x="1711003" y="1316530"/>
                  </a:lnTo>
                  <a:lnTo>
                    <a:pt x="1700960" y="1321563"/>
                  </a:lnTo>
                  <a:lnTo>
                    <a:pt x="1674178" y="1338340"/>
                  </a:lnTo>
                  <a:lnTo>
                    <a:pt x="1670830" y="1338340"/>
                  </a:lnTo>
                  <a:lnTo>
                    <a:pt x="1637354" y="1363506"/>
                  </a:lnTo>
                  <a:lnTo>
                    <a:pt x="1628985" y="1365184"/>
                  </a:lnTo>
                  <a:lnTo>
                    <a:pt x="1627311" y="1366862"/>
                  </a:lnTo>
                  <a:lnTo>
                    <a:pt x="1618941" y="1381961"/>
                  </a:lnTo>
                  <a:lnTo>
                    <a:pt x="1608898" y="1395383"/>
                  </a:lnTo>
                  <a:lnTo>
                    <a:pt x="1607224" y="1398739"/>
                  </a:lnTo>
                  <a:lnTo>
                    <a:pt x="1598856" y="1405450"/>
                  </a:lnTo>
                  <a:lnTo>
                    <a:pt x="1600530" y="1428938"/>
                  </a:lnTo>
                  <a:lnTo>
                    <a:pt x="1602203" y="1454104"/>
                  </a:lnTo>
                  <a:lnTo>
                    <a:pt x="1603877" y="1477592"/>
                  </a:lnTo>
                  <a:lnTo>
                    <a:pt x="1607224" y="1502758"/>
                  </a:lnTo>
                  <a:lnTo>
                    <a:pt x="1602203" y="1477592"/>
                  </a:lnTo>
                  <a:lnTo>
                    <a:pt x="1607224" y="1504436"/>
                  </a:lnTo>
                  <a:lnTo>
                    <a:pt x="1610572" y="1529602"/>
                  </a:lnTo>
                  <a:lnTo>
                    <a:pt x="1602203" y="1554767"/>
                  </a:lnTo>
                  <a:lnTo>
                    <a:pt x="1593834" y="1578256"/>
                  </a:lnTo>
                  <a:lnTo>
                    <a:pt x="1578769" y="1583289"/>
                  </a:lnTo>
                  <a:lnTo>
                    <a:pt x="1567052" y="1559801"/>
                  </a:lnTo>
                  <a:lnTo>
                    <a:pt x="1562031" y="1544701"/>
                  </a:lnTo>
                  <a:lnTo>
                    <a:pt x="1567052" y="1536312"/>
                  </a:lnTo>
                  <a:lnTo>
                    <a:pt x="1560358" y="1543023"/>
                  </a:lnTo>
                  <a:lnTo>
                    <a:pt x="1560358" y="1532957"/>
                  </a:lnTo>
                  <a:lnTo>
                    <a:pt x="1557009" y="1529602"/>
                  </a:lnTo>
                  <a:lnTo>
                    <a:pt x="1550314" y="1517857"/>
                  </a:lnTo>
                  <a:lnTo>
                    <a:pt x="1553661" y="1499402"/>
                  </a:lnTo>
                  <a:lnTo>
                    <a:pt x="1548640" y="1507791"/>
                  </a:lnTo>
                  <a:lnTo>
                    <a:pt x="1553661" y="1474236"/>
                  </a:lnTo>
                  <a:lnTo>
                    <a:pt x="1541945" y="1454104"/>
                  </a:lnTo>
                  <a:lnTo>
                    <a:pt x="1528554" y="1435649"/>
                  </a:lnTo>
                  <a:lnTo>
                    <a:pt x="1491729" y="1447393"/>
                  </a:lnTo>
                  <a:lnTo>
                    <a:pt x="1486708" y="1433971"/>
                  </a:lnTo>
                  <a:lnTo>
                    <a:pt x="1491729" y="1437326"/>
                  </a:lnTo>
                  <a:lnTo>
                    <a:pt x="1488382" y="1428938"/>
                  </a:lnTo>
                  <a:lnTo>
                    <a:pt x="1481686" y="1428938"/>
                  </a:lnTo>
                  <a:lnTo>
                    <a:pt x="1469412" y="1425862"/>
                  </a:lnTo>
                  <a:lnTo>
                    <a:pt x="1473318" y="1425582"/>
                  </a:lnTo>
                  <a:lnTo>
                    <a:pt x="1468296" y="1425582"/>
                  </a:lnTo>
                  <a:lnTo>
                    <a:pt x="1469412" y="1425862"/>
                  </a:lnTo>
                  <a:lnTo>
                    <a:pt x="1449883" y="1427260"/>
                  </a:lnTo>
                  <a:lnTo>
                    <a:pt x="1456579" y="1423905"/>
                  </a:lnTo>
                  <a:lnTo>
                    <a:pt x="1441514" y="1427260"/>
                  </a:lnTo>
                  <a:lnTo>
                    <a:pt x="1429797" y="1428938"/>
                  </a:lnTo>
                  <a:lnTo>
                    <a:pt x="1431471" y="1415516"/>
                  </a:lnTo>
                  <a:lnTo>
                    <a:pt x="1426450" y="1427260"/>
                  </a:lnTo>
                  <a:lnTo>
                    <a:pt x="1382930" y="1432293"/>
                  </a:lnTo>
                  <a:lnTo>
                    <a:pt x="1366191" y="1432293"/>
                  </a:lnTo>
                  <a:lnTo>
                    <a:pt x="1382930" y="1435649"/>
                  </a:lnTo>
                  <a:lnTo>
                    <a:pt x="1386278" y="1437326"/>
                  </a:lnTo>
                  <a:lnTo>
                    <a:pt x="1389625" y="1439004"/>
                  </a:lnTo>
                  <a:lnTo>
                    <a:pt x="1381256" y="1445715"/>
                  </a:lnTo>
                  <a:lnTo>
                    <a:pt x="1391300" y="1459137"/>
                  </a:lnTo>
                  <a:lnTo>
                    <a:pt x="1387437" y="1463783"/>
                  </a:lnTo>
                  <a:lnTo>
                    <a:pt x="1367865" y="1449071"/>
                  </a:lnTo>
                  <a:lnTo>
                    <a:pt x="1369539" y="1462492"/>
                  </a:lnTo>
                  <a:lnTo>
                    <a:pt x="1356148" y="1459137"/>
                  </a:lnTo>
                  <a:lnTo>
                    <a:pt x="1339410" y="1455781"/>
                  </a:lnTo>
                  <a:lnTo>
                    <a:pt x="1331041" y="1445715"/>
                  </a:lnTo>
                  <a:lnTo>
                    <a:pt x="1319323" y="1447393"/>
                  </a:lnTo>
                  <a:lnTo>
                    <a:pt x="1297564" y="1445715"/>
                  </a:lnTo>
                  <a:lnTo>
                    <a:pt x="1277477" y="1442360"/>
                  </a:lnTo>
                  <a:lnTo>
                    <a:pt x="1272456" y="1442360"/>
                  </a:lnTo>
                  <a:lnTo>
                    <a:pt x="1255508" y="1452269"/>
                  </a:lnTo>
                  <a:lnTo>
                    <a:pt x="1249022" y="1447393"/>
                  </a:lnTo>
                  <a:lnTo>
                    <a:pt x="1245675" y="1455781"/>
                  </a:lnTo>
                  <a:lnTo>
                    <a:pt x="1215545" y="1475914"/>
                  </a:lnTo>
                  <a:lnTo>
                    <a:pt x="1220567" y="1475914"/>
                  </a:lnTo>
                  <a:lnTo>
                    <a:pt x="1207176" y="1484303"/>
                  </a:lnTo>
                  <a:lnTo>
                    <a:pt x="1212197" y="1477592"/>
                  </a:lnTo>
                  <a:lnTo>
                    <a:pt x="1200481" y="1477592"/>
                  </a:lnTo>
                  <a:lnTo>
                    <a:pt x="1200481" y="1482625"/>
                  </a:lnTo>
                  <a:lnTo>
                    <a:pt x="1192111" y="1487658"/>
                  </a:lnTo>
                  <a:lnTo>
                    <a:pt x="1178721" y="1497725"/>
                  </a:lnTo>
                  <a:lnTo>
                    <a:pt x="1172026" y="1502758"/>
                  </a:lnTo>
                  <a:lnTo>
                    <a:pt x="1168678" y="1517857"/>
                  </a:lnTo>
                  <a:lnTo>
                    <a:pt x="1160308" y="1514502"/>
                  </a:lnTo>
                  <a:lnTo>
                    <a:pt x="1161982" y="1519535"/>
                  </a:lnTo>
                  <a:lnTo>
                    <a:pt x="1165330" y="1524568"/>
                  </a:lnTo>
                  <a:lnTo>
                    <a:pt x="1167004" y="1558123"/>
                  </a:lnTo>
                  <a:lnTo>
                    <a:pt x="1135201" y="1554767"/>
                  </a:lnTo>
                  <a:lnTo>
                    <a:pt x="1119091" y="1540235"/>
                  </a:lnTo>
                  <a:lnTo>
                    <a:pt x="1119229" y="1540713"/>
                  </a:lnTo>
                  <a:lnTo>
                    <a:pt x="1136020" y="1555732"/>
                  </a:lnTo>
                  <a:lnTo>
                    <a:pt x="1167921" y="1559069"/>
                  </a:lnTo>
                  <a:lnTo>
                    <a:pt x="1151130" y="1599118"/>
                  </a:lnTo>
                  <a:lnTo>
                    <a:pt x="1136020" y="1639166"/>
                  </a:lnTo>
                  <a:lnTo>
                    <a:pt x="1130984" y="1679215"/>
                  </a:lnTo>
                  <a:lnTo>
                    <a:pt x="1139384" y="1709251"/>
                  </a:lnTo>
                  <a:lnTo>
                    <a:pt x="1149457" y="1735950"/>
                  </a:lnTo>
                  <a:lnTo>
                    <a:pt x="1157847" y="1755975"/>
                  </a:lnTo>
                  <a:lnTo>
                    <a:pt x="1166243" y="1774330"/>
                  </a:lnTo>
                  <a:lnTo>
                    <a:pt x="1167921" y="1775999"/>
                  </a:lnTo>
                  <a:lnTo>
                    <a:pt x="1196465" y="1789348"/>
                  </a:lnTo>
                  <a:lnTo>
                    <a:pt x="1219971" y="1787680"/>
                  </a:lnTo>
                  <a:lnTo>
                    <a:pt x="1248516" y="1781005"/>
                  </a:lnTo>
                  <a:lnTo>
                    <a:pt x="1266988" y="1781005"/>
                  </a:lnTo>
                  <a:lnTo>
                    <a:pt x="1278737" y="1784342"/>
                  </a:lnTo>
                  <a:lnTo>
                    <a:pt x="1287134" y="1777668"/>
                  </a:lnTo>
                  <a:lnTo>
                    <a:pt x="1282097" y="1770993"/>
                  </a:lnTo>
                  <a:lnTo>
                    <a:pt x="1303924" y="1749300"/>
                  </a:lnTo>
                  <a:lnTo>
                    <a:pt x="1317356" y="1714257"/>
                  </a:lnTo>
                  <a:lnTo>
                    <a:pt x="1344226" y="1699239"/>
                  </a:lnTo>
                  <a:lnTo>
                    <a:pt x="1369409" y="1695902"/>
                  </a:lnTo>
                  <a:lnTo>
                    <a:pt x="1394591" y="1694233"/>
                  </a:lnTo>
                  <a:lnTo>
                    <a:pt x="1401306" y="1694233"/>
                  </a:lnTo>
                  <a:lnTo>
                    <a:pt x="1411382" y="1699239"/>
                  </a:lnTo>
                  <a:lnTo>
                    <a:pt x="1413064" y="1704245"/>
                  </a:lnTo>
                  <a:lnTo>
                    <a:pt x="1389555" y="1740956"/>
                  </a:lnTo>
                  <a:lnTo>
                    <a:pt x="1384518" y="1750969"/>
                  </a:lnTo>
                  <a:lnTo>
                    <a:pt x="1384518" y="1755975"/>
                  </a:lnTo>
                  <a:lnTo>
                    <a:pt x="1384518" y="1759312"/>
                  </a:lnTo>
                  <a:lnTo>
                    <a:pt x="1372772" y="1787680"/>
                  </a:lnTo>
                  <a:lnTo>
                    <a:pt x="1367727" y="1777668"/>
                  </a:lnTo>
                  <a:lnTo>
                    <a:pt x="1362689" y="1784342"/>
                  </a:lnTo>
                  <a:lnTo>
                    <a:pt x="1360887" y="1785879"/>
                  </a:lnTo>
                  <a:lnTo>
                    <a:pt x="1361841" y="1788658"/>
                  </a:lnTo>
                  <a:lnTo>
                    <a:pt x="1354955" y="1817052"/>
                  </a:lnTo>
                  <a:lnTo>
                    <a:pt x="1348075" y="1847115"/>
                  </a:lnTo>
                  <a:lnTo>
                    <a:pt x="1334297" y="1860477"/>
                  </a:lnTo>
                  <a:lnTo>
                    <a:pt x="1327518" y="1860477"/>
                  </a:lnTo>
                  <a:lnTo>
                    <a:pt x="1327466" y="1860869"/>
                  </a:lnTo>
                  <a:lnTo>
                    <a:pt x="1335916" y="1860869"/>
                  </a:lnTo>
                  <a:lnTo>
                    <a:pt x="1346046" y="1864171"/>
                  </a:lnTo>
                  <a:lnTo>
                    <a:pt x="1352446" y="1867299"/>
                  </a:lnTo>
                  <a:lnTo>
                    <a:pt x="1355018" y="1867299"/>
                  </a:lnTo>
                  <a:lnTo>
                    <a:pt x="1380150" y="1863888"/>
                  </a:lnTo>
                  <a:lnTo>
                    <a:pt x="1406966" y="1860477"/>
                  </a:lnTo>
                  <a:lnTo>
                    <a:pt x="1427065" y="1863888"/>
                  </a:lnTo>
                  <a:lnTo>
                    <a:pt x="1448847" y="1863888"/>
                  </a:lnTo>
                  <a:lnTo>
                    <a:pt x="1465606" y="1875826"/>
                  </a:lnTo>
                  <a:lnTo>
                    <a:pt x="1460575" y="1874120"/>
                  </a:lnTo>
                  <a:lnTo>
                    <a:pt x="1462250" y="1879237"/>
                  </a:lnTo>
                  <a:lnTo>
                    <a:pt x="1472304" y="1879237"/>
                  </a:lnTo>
                  <a:lnTo>
                    <a:pt x="1482358" y="1889469"/>
                  </a:lnTo>
                  <a:lnTo>
                    <a:pt x="1460575" y="1891175"/>
                  </a:lnTo>
                  <a:lnTo>
                    <a:pt x="1438793" y="1896291"/>
                  </a:lnTo>
                  <a:lnTo>
                    <a:pt x="1406966" y="1921872"/>
                  </a:lnTo>
                  <a:lnTo>
                    <a:pt x="1396911" y="1925283"/>
                  </a:lnTo>
                  <a:lnTo>
                    <a:pt x="1385183" y="1932105"/>
                  </a:lnTo>
                  <a:lnTo>
                    <a:pt x="1375254" y="1950624"/>
                  </a:lnTo>
                  <a:lnTo>
                    <a:pt x="1375524" y="1950624"/>
                  </a:lnTo>
                  <a:lnTo>
                    <a:pt x="1385543" y="1932286"/>
                  </a:lnTo>
                  <a:lnTo>
                    <a:pt x="1397223" y="1925617"/>
                  </a:lnTo>
                  <a:lnTo>
                    <a:pt x="1407239" y="1922283"/>
                  </a:lnTo>
                  <a:lnTo>
                    <a:pt x="1438956" y="1897275"/>
                  </a:lnTo>
                  <a:lnTo>
                    <a:pt x="1460659" y="1892274"/>
                  </a:lnTo>
                  <a:lnTo>
                    <a:pt x="1482358" y="1890607"/>
                  </a:lnTo>
                  <a:lnTo>
                    <a:pt x="1475682" y="1895608"/>
                  </a:lnTo>
                  <a:lnTo>
                    <a:pt x="1475682" y="1918948"/>
                  </a:lnTo>
                  <a:lnTo>
                    <a:pt x="1470678" y="1942288"/>
                  </a:lnTo>
                  <a:lnTo>
                    <a:pt x="1467335" y="1965628"/>
                  </a:lnTo>
                  <a:lnTo>
                    <a:pt x="1465666" y="1958960"/>
                  </a:lnTo>
                  <a:lnTo>
                    <a:pt x="1460659" y="1977298"/>
                  </a:lnTo>
                  <a:lnTo>
                    <a:pt x="1458988" y="1992303"/>
                  </a:lnTo>
                  <a:lnTo>
                    <a:pt x="1458988" y="2010396"/>
                  </a:lnTo>
                  <a:lnTo>
                    <a:pt x="1459993" y="2010192"/>
                  </a:lnTo>
                  <a:lnTo>
                    <a:pt x="1473435" y="2030571"/>
                  </a:lnTo>
                  <a:lnTo>
                    <a:pt x="1486885" y="2050949"/>
                  </a:lnTo>
                  <a:lnTo>
                    <a:pt x="1476796" y="2054345"/>
                  </a:lnTo>
                  <a:lnTo>
                    <a:pt x="1476850" y="2054994"/>
                  </a:lnTo>
                  <a:lnTo>
                    <a:pt x="1486275" y="2051798"/>
                  </a:lnTo>
                  <a:lnTo>
                    <a:pt x="1492911" y="2065284"/>
                  </a:lnTo>
                  <a:lnTo>
                    <a:pt x="1506168" y="2068656"/>
                  </a:lnTo>
                  <a:lnTo>
                    <a:pt x="1512789" y="2077085"/>
                  </a:lnTo>
                  <a:lnTo>
                    <a:pt x="1549247" y="2061913"/>
                  </a:lnTo>
                  <a:lnTo>
                    <a:pt x="1552559" y="2066970"/>
                  </a:lnTo>
                  <a:lnTo>
                    <a:pt x="1559194" y="2075399"/>
                  </a:lnTo>
                  <a:lnTo>
                    <a:pt x="1539302" y="2092257"/>
                  </a:lnTo>
                  <a:lnTo>
                    <a:pt x="1550902" y="2112487"/>
                  </a:lnTo>
                  <a:lnTo>
                    <a:pt x="1527703" y="2122602"/>
                  </a:lnTo>
                  <a:lnTo>
                    <a:pt x="1522734" y="2105744"/>
                  </a:lnTo>
                  <a:lnTo>
                    <a:pt x="1519424" y="2110801"/>
                  </a:lnTo>
                  <a:lnTo>
                    <a:pt x="1507822" y="2099001"/>
                  </a:lnTo>
                  <a:lnTo>
                    <a:pt x="1481308" y="2090571"/>
                  </a:lnTo>
                  <a:lnTo>
                    <a:pt x="1476818" y="2098177"/>
                  </a:lnTo>
                  <a:lnTo>
                    <a:pt x="1476796" y="2098498"/>
                  </a:lnTo>
                  <a:lnTo>
                    <a:pt x="1476704" y="2098373"/>
                  </a:lnTo>
                  <a:lnTo>
                    <a:pt x="1476333" y="2099001"/>
                  </a:lnTo>
                  <a:lnTo>
                    <a:pt x="1476405" y="2097971"/>
                  </a:lnTo>
                  <a:lnTo>
                    <a:pt x="1461673" y="2078120"/>
                  </a:lnTo>
                  <a:lnTo>
                    <a:pt x="1461673" y="2086611"/>
                  </a:lnTo>
                  <a:lnTo>
                    <a:pt x="1458321" y="2076422"/>
                  </a:lnTo>
                  <a:lnTo>
                    <a:pt x="1449911" y="2059440"/>
                  </a:lnTo>
                  <a:lnTo>
                    <a:pt x="1431429" y="2045854"/>
                  </a:lnTo>
                  <a:lnTo>
                    <a:pt x="1416305" y="2030571"/>
                  </a:lnTo>
                  <a:lnTo>
                    <a:pt x="1421346" y="2045854"/>
                  </a:lnTo>
                  <a:lnTo>
                    <a:pt x="1419667" y="2050949"/>
                  </a:lnTo>
                  <a:lnTo>
                    <a:pt x="1399503" y="2027174"/>
                  </a:lnTo>
                  <a:lnTo>
                    <a:pt x="1402865" y="2013589"/>
                  </a:lnTo>
                  <a:lnTo>
                    <a:pt x="1402865" y="2008494"/>
                  </a:lnTo>
                  <a:lnTo>
                    <a:pt x="1406229" y="2006228"/>
                  </a:lnTo>
                  <a:lnTo>
                    <a:pt x="1382199" y="1980633"/>
                  </a:lnTo>
                  <a:lnTo>
                    <a:pt x="1358832" y="1952291"/>
                  </a:lnTo>
                  <a:lnTo>
                    <a:pt x="1368374" y="1950702"/>
                  </a:lnTo>
                  <a:lnTo>
                    <a:pt x="1365073" y="1938927"/>
                  </a:lnTo>
                  <a:lnTo>
                    <a:pt x="1355018" y="1937221"/>
                  </a:lnTo>
                  <a:lnTo>
                    <a:pt x="1356691" y="1921872"/>
                  </a:lnTo>
                  <a:lnTo>
                    <a:pt x="1355648" y="1921708"/>
                  </a:lnTo>
                  <a:lnTo>
                    <a:pt x="1354141" y="1935997"/>
                  </a:lnTo>
                  <a:lnTo>
                    <a:pt x="1347446" y="1944839"/>
                  </a:lnTo>
                  <a:lnTo>
                    <a:pt x="1334063" y="1939534"/>
                  </a:lnTo>
                  <a:lnTo>
                    <a:pt x="1315644" y="1934228"/>
                  </a:lnTo>
                  <a:lnTo>
                    <a:pt x="1295556" y="1925386"/>
                  </a:lnTo>
                  <a:lnTo>
                    <a:pt x="1296019" y="1924939"/>
                  </a:lnTo>
                  <a:lnTo>
                    <a:pt x="1275105" y="1918651"/>
                  </a:lnTo>
                  <a:lnTo>
                    <a:pt x="1251464" y="1910397"/>
                  </a:lnTo>
                  <a:lnTo>
                    <a:pt x="1241324" y="1900491"/>
                  </a:lnTo>
                  <a:lnTo>
                    <a:pt x="1241627" y="1899311"/>
                  </a:lnTo>
                  <a:lnTo>
                    <a:pt x="1218295" y="1876120"/>
                  </a:lnTo>
                  <a:lnTo>
                    <a:pt x="1201063" y="1857853"/>
                  </a:lnTo>
                  <a:lnTo>
                    <a:pt x="1203186" y="1859434"/>
                  </a:lnTo>
                  <a:lnTo>
                    <a:pt x="1193113" y="1849421"/>
                  </a:lnTo>
                  <a:lnTo>
                    <a:pt x="1201063" y="1857853"/>
                  </a:lnTo>
                  <a:lnTo>
                    <a:pt x="1189749" y="1849421"/>
                  </a:lnTo>
                  <a:lnTo>
                    <a:pt x="1176316" y="1851090"/>
                  </a:lnTo>
                  <a:lnTo>
                    <a:pt x="1181353" y="1851090"/>
                  </a:lnTo>
                  <a:lnTo>
                    <a:pt x="1156168" y="1859434"/>
                  </a:lnTo>
                  <a:lnTo>
                    <a:pt x="1129312" y="1867777"/>
                  </a:lnTo>
                  <a:lnTo>
                    <a:pt x="1100765" y="1854427"/>
                  </a:lnTo>
                  <a:lnTo>
                    <a:pt x="1070536" y="1839409"/>
                  </a:lnTo>
                  <a:lnTo>
                    <a:pt x="1042000" y="1826060"/>
                  </a:lnTo>
                  <a:lnTo>
                    <a:pt x="1011770" y="1814379"/>
                  </a:lnTo>
                  <a:lnTo>
                    <a:pt x="996660" y="1801029"/>
                  </a:lnTo>
                  <a:lnTo>
                    <a:pt x="978198" y="1791017"/>
                  </a:lnTo>
                  <a:lnTo>
                    <a:pt x="958040" y="1781005"/>
                  </a:lnTo>
                  <a:lnTo>
                    <a:pt x="939579" y="1764318"/>
                  </a:lnTo>
                  <a:lnTo>
                    <a:pt x="921106" y="1745962"/>
                  </a:lnTo>
                  <a:lnTo>
                    <a:pt x="917744" y="1724269"/>
                  </a:lnTo>
                  <a:lnTo>
                    <a:pt x="927819" y="1719263"/>
                  </a:lnTo>
                  <a:lnTo>
                    <a:pt x="924460" y="1710920"/>
                  </a:lnTo>
                  <a:lnTo>
                    <a:pt x="931179" y="1694233"/>
                  </a:lnTo>
                  <a:lnTo>
                    <a:pt x="921106" y="1669203"/>
                  </a:lnTo>
                  <a:lnTo>
                    <a:pt x="914396" y="1647510"/>
                  </a:lnTo>
                  <a:lnTo>
                    <a:pt x="897596" y="1625817"/>
                  </a:lnTo>
                  <a:lnTo>
                    <a:pt x="880814" y="1605792"/>
                  </a:lnTo>
                  <a:lnTo>
                    <a:pt x="889202" y="1607461"/>
                  </a:lnTo>
                  <a:lnTo>
                    <a:pt x="877450" y="1590774"/>
                  </a:lnTo>
                  <a:lnTo>
                    <a:pt x="874090" y="1587437"/>
                  </a:lnTo>
                  <a:lnTo>
                    <a:pt x="875777" y="1585768"/>
                  </a:lnTo>
                  <a:lnTo>
                    <a:pt x="857305" y="1575756"/>
                  </a:lnTo>
                  <a:lnTo>
                    <a:pt x="860657" y="1567412"/>
                  </a:lnTo>
                  <a:lnTo>
                    <a:pt x="850582" y="1567412"/>
                  </a:lnTo>
                  <a:lnTo>
                    <a:pt x="858978" y="1549057"/>
                  </a:lnTo>
                  <a:lnTo>
                    <a:pt x="848904" y="1539045"/>
                  </a:lnTo>
                  <a:lnTo>
                    <a:pt x="830436" y="1509008"/>
                  </a:lnTo>
                  <a:lnTo>
                    <a:pt x="830436" y="1500665"/>
                  </a:lnTo>
                  <a:lnTo>
                    <a:pt x="815324" y="1488984"/>
                  </a:lnTo>
                  <a:lnTo>
                    <a:pt x="805249" y="1463953"/>
                  </a:lnTo>
                  <a:lnTo>
                    <a:pt x="795175" y="1437254"/>
                  </a:lnTo>
                  <a:lnTo>
                    <a:pt x="795175" y="1403881"/>
                  </a:lnTo>
                  <a:lnTo>
                    <a:pt x="778393" y="1395537"/>
                  </a:lnTo>
                  <a:lnTo>
                    <a:pt x="758236" y="1383856"/>
                  </a:lnTo>
                  <a:lnTo>
                    <a:pt x="754883" y="1413893"/>
                  </a:lnTo>
                  <a:lnTo>
                    <a:pt x="753199" y="1445598"/>
                  </a:lnTo>
                  <a:lnTo>
                    <a:pt x="764956" y="1468960"/>
                  </a:lnTo>
                  <a:lnTo>
                    <a:pt x="778393" y="1495659"/>
                  </a:lnTo>
                  <a:lnTo>
                    <a:pt x="786780" y="1517352"/>
                  </a:lnTo>
                  <a:lnTo>
                    <a:pt x="793503" y="1537376"/>
                  </a:lnTo>
                  <a:lnTo>
                    <a:pt x="796854" y="1535707"/>
                  </a:lnTo>
                  <a:lnTo>
                    <a:pt x="800211" y="1569081"/>
                  </a:lnTo>
                  <a:lnTo>
                    <a:pt x="806927" y="1605792"/>
                  </a:lnTo>
                  <a:lnTo>
                    <a:pt x="815324" y="1610798"/>
                  </a:lnTo>
                  <a:lnTo>
                    <a:pt x="827085" y="1627485"/>
                  </a:lnTo>
                  <a:lnTo>
                    <a:pt x="833794" y="1640835"/>
                  </a:lnTo>
                  <a:lnTo>
                    <a:pt x="815324" y="1649178"/>
                  </a:lnTo>
                  <a:lnTo>
                    <a:pt x="798539" y="1620811"/>
                  </a:lnTo>
                  <a:lnTo>
                    <a:pt x="775030" y="1595780"/>
                  </a:lnTo>
                  <a:lnTo>
                    <a:pt x="776706" y="1570750"/>
                  </a:lnTo>
                  <a:lnTo>
                    <a:pt x="768310" y="1549057"/>
                  </a:lnTo>
                  <a:lnTo>
                    <a:pt x="759920" y="1534039"/>
                  </a:lnTo>
                  <a:lnTo>
                    <a:pt x="744810" y="1530701"/>
                  </a:lnTo>
                  <a:lnTo>
                    <a:pt x="733051" y="1517352"/>
                  </a:lnTo>
                  <a:lnTo>
                    <a:pt x="719628" y="1504002"/>
                  </a:lnTo>
                  <a:lnTo>
                    <a:pt x="739774" y="1507339"/>
                  </a:lnTo>
                  <a:lnTo>
                    <a:pt x="746483" y="1477303"/>
                  </a:lnTo>
                  <a:lnTo>
                    <a:pt x="733051" y="1457279"/>
                  </a:lnTo>
                  <a:lnTo>
                    <a:pt x="717939" y="1437254"/>
                  </a:lnTo>
                  <a:lnTo>
                    <a:pt x="714582" y="1400543"/>
                  </a:lnTo>
                  <a:lnTo>
                    <a:pt x="709544" y="1363832"/>
                  </a:lnTo>
                  <a:lnTo>
                    <a:pt x="739774" y="1360495"/>
                  </a:lnTo>
                  <a:lnTo>
                    <a:pt x="773347" y="1358826"/>
                  </a:lnTo>
                  <a:lnTo>
                    <a:pt x="790139" y="1368838"/>
                  </a:lnTo>
                  <a:lnTo>
                    <a:pt x="810287" y="1378850"/>
                  </a:lnTo>
                  <a:lnTo>
                    <a:pt x="830436" y="1388862"/>
                  </a:lnTo>
                  <a:lnTo>
                    <a:pt x="850582" y="1398874"/>
                  </a:lnTo>
                  <a:lnTo>
                    <a:pt x="887524" y="1398874"/>
                  </a:lnTo>
                  <a:lnTo>
                    <a:pt x="924460" y="1398874"/>
                  </a:lnTo>
                  <a:lnTo>
                    <a:pt x="929506" y="1385525"/>
                  </a:lnTo>
                  <a:lnTo>
                    <a:pt x="971474" y="1385525"/>
                  </a:lnTo>
                  <a:lnTo>
                    <a:pt x="994980" y="1415561"/>
                  </a:lnTo>
                  <a:lnTo>
                    <a:pt x="994599" y="1413838"/>
                  </a:lnTo>
                  <a:lnTo>
                    <a:pt x="971164" y="1383639"/>
                  </a:lnTo>
                  <a:lnTo>
                    <a:pt x="929318" y="1383639"/>
                  </a:lnTo>
                  <a:lnTo>
                    <a:pt x="924297" y="1397061"/>
                  </a:lnTo>
                  <a:lnTo>
                    <a:pt x="887473" y="1397061"/>
                  </a:lnTo>
                  <a:lnTo>
                    <a:pt x="850648" y="1397061"/>
                  </a:lnTo>
                  <a:lnTo>
                    <a:pt x="830562" y="1386995"/>
                  </a:lnTo>
                  <a:lnTo>
                    <a:pt x="810475" y="1376928"/>
                  </a:lnTo>
                  <a:lnTo>
                    <a:pt x="790390" y="1366862"/>
                  </a:lnTo>
                  <a:lnTo>
                    <a:pt x="773651" y="1356796"/>
                  </a:lnTo>
                  <a:lnTo>
                    <a:pt x="740174" y="1358473"/>
                  </a:lnTo>
                  <a:lnTo>
                    <a:pt x="710045" y="1361829"/>
                  </a:lnTo>
                  <a:lnTo>
                    <a:pt x="710045" y="1336663"/>
                  </a:lnTo>
                  <a:lnTo>
                    <a:pt x="684938" y="1316530"/>
                  </a:lnTo>
                  <a:lnTo>
                    <a:pt x="658156" y="1303108"/>
                  </a:lnTo>
                  <a:lnTo>
                    <a:pt x="644765" y="1301430"/>
                  </a:lnTo>
                  <a:lnTo>
                    <a:pt x="649786" y="1274587"/>
                  </a:lnTo>
                  <a:lnTo>
                    <a:pt x="644765" y="1256132"/>
                  </a:lnTo>
                  <a:lnTo>
                    <a:pt x="638070" y="1241032"/>
                  </a:lnTo>
                  <a:lnTo>
                    <a:pt x="646439" y="1227610"/>
                  </a:lnTo>
                  <a:lnTo>
                    <a:pt x="638070" y="1212511"/>
                  </a:lnTo>
                  <a:lnTo>
                    <a:pt x="643091" y="1207478"/>
                  </a:lnTo>
                  <a:lnTo>
                    <a:pt x="648113" y="1212511"/>
                  </a:lnTo>
                  <a:lnTo>
                    <a:pt x="653134" y="1195734"/>
                  </a:lnTo>
                  <a:lnTo>
                    <a:pt x="646439" y="1195734"/>
                  </a:lnTo>
                  <a:lnTo>
                    <a:pt x="634722" y="1195734"/>
                  </a:lnTo>
                  <a:lnTo>
                    <a:pt x="636396" y="1190700"/>
                  </a:lnTo>
                  <a:lnTo>
                    <a:pt x="638070" y="1194056"/>
                  </a:lnTo>
                  <a:lnTo>
                    <a:pt x="634722" y="1175601"/>
                  </a:lnTo>
                  <a:lnTo>
                    <a:pt x="629701" y="1155468"/>
                  </a:lnTo>
                  <a:lnTo>
                    <a:pt x="634722" y="1133658"/>
                  </a:lnTo>
                  <a:lnTo>
                    <a:pt x="633049" y="1123591"/>
                  </a:lnTo>
                  <a:lnTo>
                    <a:pt x="658156" y="1095070"/>
                  </a:lnTo>
                  <a:lnTo>
                    <a:pt x="666525" y="1071582"/>
                  </a:lnTo>
                  <a:lnTo>
                    <a:pt x="674895" y="1046416"/>
                  </a:lnTo>
                  <a:lnTo>
                    <a:pt x="703349" y="1006150"/>
                  </a:lnTo>
                  <a:lnTo>
                    <a:pt x="733479" y="969240"/>
                  </a:lnTo>
                  <a:lnTo>
                    <a:pt x="745196" y="954141"/>
                  </a:lnTo>
                  <a:lnTo>
                    <a:pt x="756913" y="954141"/>
                  </a:lnTo>
                  <a:lnTo>
                    <a:pt x="740174" y="950785"/>
                  </a:lnTo>
                  <a:lnTo>
                    <a:pt x="746870" y="939041"/>
                  </a:lnTo>
                  <a:lnTo>
                    <a:pt x="748544" y="942397"/>
                  </a:lnTo>
                  <a:lnTo>
                    <a:pt x="750218" y="939041"/>
                  </a:lnTo>
                  <a:lnTo>
                    <a:pt x="753565" y="932330"/>
                  </a:lnTo>
                  <a:lnTo>
                    <a:pt x="756913" y="928975"/>
                  </a:lnTo>
                  <a:lnTo>
                    <a:pt x="768629" y="888709"/>
                  </a:lnTo>
                  <a:lnTo>
                    <a:pt x="805454" y="895420"/>
                  </a:lnTo>
                  <a:lnTo>
                    <a:pt x="797084" y="905487"/>
                  </a:lnTo>
                  <a:lnTo>
                    <a:pt x="783694" y="918908"/>
                  </a:lnTo>
                  <a:lnTo>
                    <a:pt x="785368" y="918908"/>
                  </a:lnTo>
                  <a:lnTo>
                    <a:pt x="807127" y="902131"/>
                  </a:lnTo>
                  <a:lnTo>
                    <a:pt x="789144" y="923434"/>
                  </a:lnTo>
                  <a:lnTo>
                    <a:pt x="788576" y="923662"/>
                  </a:lnTo>
                  <a:lnTo>
                    <a:pt x="787042" y="920586"/>
                  </a:lnTo>
                  <a:lnTo>
                    <a:pt x="783694" y="925619"/>
                  </a:lnTo>
                  <a:lnTo>
                    <a:pt x="788576" y="923662"/>
                  </a:lnTo>
                  <a:lnTo>
                    <a:pt x="788716" y="923942"/>
                  </a:lnTo>
                  <a:lnTo>
                    <a:pt x="789144" y="923434"/>
                  </a:lnTo>
                  <a:lnTo>
                    <a:pt x="800432" y="918908"/>
                  </a:lnTo>
                  <a:lnTo>
                    <a:pt x="813823" y="893742"/>
                  </a:lnTo>
                  <a:lnTo>
                    <a:pt x="820454" y="870480"/>
                  </a:lnTo>
                  <a:lnTo>
                    <a:pt x="815326" y="866628"/>
                  </a:lnTo>
                  <a:lnTo>
                    <a:pt x="825358" y="863279"/>
                  </a:lnTo>
                  <a:lnTo>
                    <a:pt x="816997" y="861604"/>
                  </a:lnTo>
                  <a:lnTo>
                    <a:pt x="825358" y="853231"/>
                  </a:lnTo>
                  <a:lnTo>
                    <a:pt x="815326" y="856580"/>
                  </a:lnTo>
                  <a:lnTo>
                    <a:pt x="805302" y="853231"/>
                  </a:lnTo>
                  <a:lnTo>
                    <a:pt x="810311" y="853231"/>
                  </a:lnTo>
                  <a:lnTo>
                    <a:pt x="818669" y="834812"/>
                  </a:lnTo>
                  <a:lnTo>
                    <a:pt x="806976" y="846533"/>
                  </a:lnTo>
                  <a:lnTo>
                    <a:pt x="795268" y="841510"/>
                  </a:lnTo>
                  <a:lnTo>
                    <a:pt x="816997" y="826439"/>
                  </a:lnTo>
                  <a:lnTo>
                    <a:pt x="800283" y="833137"/>
                  </a:lnTo>
                  <a:lnTo>
                    <a:pt x="808648" y="819741"/>
                  </a:lnTo>
                  <a:lnTo>
                    <a:pt x="791924" y="829788"/>
                  </a:lnTo>
                  <a:lnTo>
                    <a:pt x="791924" y="823090"/>
                  </a:lnTo>
                  <a:lnTo>
                    <a:pt x="777026" y="829727"/>
                  </a:lnTo>
                  <a:lnTo>
                    <a:pt x="777620" y="829875"/>
                  </a:lnTo>
                  <a:lnTo>
                    <a:pt x="784479" y="843691"/>
                  </a:lnTo>
                  <a:lnTo>
                    <a:pt x="796496" y="862687"/>
                  </a:lnTo>
                  <a:lnTo>
                    <a:pt x="798215" y="883410"/>
                  </a:lnTo>
                  <a:lnTo>
                    <a:pt x="799930" y="890318"/>
                  </a:lnTo>
                  <a:lnTo>
                    <a:pt x="763880" y="879956"/>
                  </a:lnTo>
                  <a:lnTo>
                    <a:pt x="772601" y="871189"/>
                  </a:lnTo>
                  <a:lnTo>
                    <a:pt x="774184" y="871322"/>
                  </a:lnTo>
                  <a:lnTo>
                    <a:pt x="777620" y="866141"/>
                  </a:lnTo>
                  <a:lnTo>
                    <a:pt x="772601" y="871189"/>
                  </a:lnTo>
                  <a:lnTo>
                    <a:pt x="753587" y="869595"/>
                  </a:lnTo>
                  <a:lnTo>
                    <a:pt x="758733" y="864414"/>
                  </a:lnTo>
                  <a:lnTo>
                    <a:pt x="750153" y="862687"/>
                  </a:lnTo>
                  <a:lnTo>
                    <a:pt x="739847" y="859233"/>
                  </a:lnTo>
                  <a:lnTo>
                    <a:pt x="757013" y="852325"/>
                  </a:lnTo>
                  <a:lnTo>
                    <a:pt x="739847" y="845418"/>
                  </a:lnTo>
                  <a:lnTo>
                    <a:pt x="739847" y="840237"/>
                  </a:lnTo>
                  <a:lnTo>
                    <a:pt x="729547" y="838510"/>
                  </a:lnTo>
                  <a:lnTo>
                    <a:pt x="727830" y="833329"/>
                  </a:lnTo>
                  <a:lnTo>
                    <a:pt x="739847" y="824695"/>
                  </a:lnTo>
                  <a:lnTo>
                    <a:pt x="734701" y="828149"/>
                  </a:lnTo>
                  <a:lnTo>
                    <a:pt x="726120" y="819514"/>
                  </a:lnTo>
                  <a:lnTo>
                    <a:pt x="750153" y="822968"/>
                  </a:lnTo>
                  <a:lnTo>
                    <a:pt x="776905" y="829697"/>
                  </a:lnTo>
                  <a:lnTo>
                    <a:pt x="778555" y="823090"/>
                  </a:lnTo>
                  <a:lnTo>
                    <a:pt x="788581" y="823090"/>
                  </a:lnTo>
                  <a:lnTo>
                    <a:pt x="796027" y="816697"/>
                  </a:lnTo>
                  <a:lnTo>
                    <a:pt x="796939" y="816392"/>
                  </a:lnTo>
                  <a:lnTo>
                    <a:pt x="800283" y="813043"/>
                  </a:lnTo>
                  <a:lnTo>
                    <a:pt x="796027" y="816697"/>
                  </a:lnTo>
                  <a:lnTo>
                    <a:pt x="776882" y="823090"/>
                  </a:lnTo>
                  <a:lnTo>
                    <a:pt x="785247" y="819741"/>
                  </a:lnTo>
                  <a:lnTo>
                    <a:pt x="775209" y="819741"/>
                  </a:lnTo>
                  <a:lnTo>
                    <a:pt x="781901" y="814718"/>
                  </a:lnTo>
                  <a:lnTo>
                    <a:pt x="776882" y="813043"/>
                  </a:lnTo>
                  <a:lnTo>
                    <a:pt x="770194" y="816392"/>
                  </a:lnTo>
                  <a:lnTo>
                    <a:pt x="751807" y="811369"/>
                  </a:lnTo>
                  <a:lnTo>
                    <a:pt x="766851" y="804671"/>
                  </a:lnTo>
                  <a:lnTo>
                    <a:pt x="756826" y="802996"/>
                  </a:lnTo>
                  <a:lnTo>
                    <a:pt x="761844" y="801322"/>
                  </a:lnTo>
                  <a:lnTo>
                    <a:pt x="788581" y="794624"/>
                  </a:lnTo>
                  <a:lnTo>
                    <a:pt x="771866" y="792949"/>
                  </a:lnTo>
                  <a:lnTo>
                    <a:pt x="765179" y="796298"/>
                  </a:lnTo>
                  <a:lnTo>
                    <a:pt x="765179" y="791275"/>
                  </a:lnTo>
                  <a:lnTo>
                    <a:pt x="790253" y="774529"/>
                  </a:lnTo>
                  <a:lnTo>
                    <a:pt x="795268" y="784577"/>
                  </a:lnTo>
                  <a:lnTo>
                    <a:pt x="796939" y="774529"/>
                  </a:lnTo>
                  <a:lnTo>
                    <a:pt x="806976" y="761133"/>
                  </a:lnTo>
                  <a:lnTo>
                    <a:pt x="771866" y="779553"/>
                  </a:lnTo>
                  <a:lnTo>
                    <a:pt x="775209" y="771180"/>
                  </a:lnTo>
                  <a:lnTo>
                    <a:pt x="765179" y="776204"/>
                  </a:lnTo>
                  <a:lnTo>
                    <a:pt x="781901" y="759459"/>
                  </a:lnTo>
                  <a:lnTo>
                    <a:pt x="776882" y="761133"/>
                  </a:lnTo>
                  <a:lnTo>
                    <a:pt x="780228" y="742715"/>
                  </a:lnTo>
                  <a:lnTo>
                    <a:pt x="791924" y="746064"/>
                  </a:lnTo>
                  <a:lnTo>
                    <a:pt x="786909" y="742715"/>
                  </a:lnTo>
                  <a:lnTo>
                    <a:pt x="798611" y="725970"/>
                  </a:lnTo>
                  <a:lnTo>
                    <a:pt x="768522" y="744388"/>
                  </a:lnTo>
                  <a:lnTo>
                    <a:pt x="765179" y="724295"/>
                  </a:lnTo>
                  <a:lnTo>
                    <a:pt x="770194" y="729318"/>
                  </a:lnTo>
                  <a:lnTo>
                    <a:pt x="770194" y="722620"/>
                  </a:lnTo>
                  <a:lnTo>
                    <a:pt x="766851" y="722620"/>
                  </a:lnTo>
                  <a:lnTo>
                    <a:pt x="768522" y="710899"/>
                  </a:lnTo>
                  <a:lnTo>
                    <a:pt x="771866" y="719271"/>
                  </a:lnTo>
                  <a:lnTo>
                    <a:pt x="771866" y="709224"/>
                  </a:lnTo>
                  <a:lnTo>
                    <a:pt x="780228" y="709224"/>
                  </a:lnTo>
                  <a:lnTo>
                    <a:pt x="791924" y="699177"/>
                  </a:lnTo>
                  <a:lnTo>
                    <a:pt x="788581" y="699177"/>
                  </a:lnTo>
                  <a:lnTo>
                    <a:pt x="808648" y="685781"/>
                  </a:lnTo>
                  <a:lnTo>
                    <a:pt x="808648" y="680757"/>
                  </a:lnTo>
                  <a:lnTo>
                    <a:pt x="795987" y="691486"/>
                  </a:lnTo>
                  <a:lnTo>
                    <a:pt x="794772" y="693154"/>
                  </a:lnTo>
                  <a:lnTo>
                    <a:pt x="793076" y="693952"/>
                  </a:lnTo>
                  <a:lnTo>
                    <a:pt x="786909" y="699177"/>
                  </a:lnTo>
                  <a:lnTo>
                    <a:pt x="790357" y="695230"/>
                  </a:lnTo>
                  <a:lnTo>
                    <a:pt x="766322" y="706530"/>
                  </a:lnTo>
                  <a:lnTo>
                    <a:pt x="773016" y="698170"/>
                  </a:lnTo>
                  <a:lnTo>
                    <a:pt x="784730" y="691482"/>
                  </a:lnTo>
                  <a:lnTo>
                    <a:pt x="766322" y="694826"/>
                  </a:lnTo>
                  <a:lnTo>
                    <a:pt x="774689" y="693154"/>
                  </a:lnTo>
                  <a:lnTo>
                    <a:pt x="793098" y="671419"/>
                  </a:lnTo>
                  <a:lnTo>
                    <a:pt x="762975" y="681451"/>
                  </a:lnTo>
                  <a:lnTo>
                    <a:pt x="752934" y="684795"/>
                  </a:lnTo>
                  <a:lnTo>
                    <a:pt x="774689" y="666403"/>
                  </a:lnTo>
                  <a:lnTo>
                    <a:pt x="784730" y="666403"/>
                  </a:lnTo>
                  <a:lnTo>
                    <a:pt x="774689" y="653028"/>
                  </a:lnTo>
                  <a:lnTo>
                    <a:pt x="769669" y="641325"/>
                  </a:lnTo>
                  <a:lnTo>
                    <a:pt x="767995" y="636309"/>
                  </a:lnTo>
                  <a:lnTo>
                    <a:pt x="776363" y="634637"/>
                  </a:lnTo>
                  <a:lnTo>
                    <a:pt x="774689" y="624605"/>
                  </a:lnTo>
                  <a:lnTo>
                    <a:pt x="783057" y="627949"/>
                  </a:lnTo>
                  <a:lnTo>
                    <a:pt x="783057" y="621261"/>
                  </a:lnTo>
                  <a:lnTo>
                    <a:pt x="789751" y="621261"/>
                  </a:lnTo>
                  <a:lnTo>
                    <a:pt x="776363" y="617917"/>
                  </a:lnTo>
                  <a:lnTo>
                    <a:pt x="784730" y="614573"/>
                  </a:lnTo>
                  <a:lnTo>
                    <a:pt x="783057" y="607886"/>
                  </a:lnTo>
                  <a:lnTo>
                    <a:pt x="776363" y="611230"/>
                  </a:lnTo>
                  <a:lnTo>
                    <a:pt x="773016" y="597854"/>
                  </a:lnTo>
                  <a:lnTo>
                    <a:pt x="776363" y="582806"/>
                  </a:lnTo>
                  <a:lnTo>
                    <a:pt x="752934" y="611230"/>
                  </a:lnTo>
                  <a:lnTo>
                    <a:pt x="749587" y="604542"/>
                  </a:lnTo>
                  <a:lnTo>
                    <a:pt x="749587" y="601198"/>
                  </a:lnTo>
                  <a:lnTo>
                    <a:pt x="756281" y="592838"/>
                  </a:lnTo>
                  <a:lnTo>
                    <a:pt x="754607" y="591166"/>
                  </a:lnTo>
                  <a:lnTo>
                    <a:pt x="744566" y="594510"/>
                  </a:lnTo>
                  <a:lnTo>
                    <a:pt x="734525" y="591166"/>
                  </a:lnTo>
                  <a:lnTo>
                    <a:pt x="737872" y="607886"/>
                  </a:lnTo>
                  <a:lnTo>
                    <a:pt x="727830" y="607886"/>
                  </a:lnTo>
                  <a:lnTo>
                    <a:pt x="712769" y="591166"/>
                  </a:lnTo>
                  <a:lnTo>
                    <a:pt x="697707" y="572775"/>
                  </a:lnTo>
                  <a:lnTo>
                    <a:pt x="710258" y="564415"/>
                  </a:lnTo>
                  <a:lnTo>
                    <a:pt x="711212" y="564687"/>
                  </a:lnTo>
                  <a:lnTo>
                    <a:pt x="706075" y="571103"/>
                  </a:lnTo>
                  <a:lnTo>
                    <a:pt x="716115" y="566087"/>
                  </a:lnTo>
                  <a:lnTo>
                    <a:pt x="711212" y="564687"/>
                  </a:lnTo>
                  <a:lnTo>
                    <a:pt x="712769" y="562743"/>
                  </a:lnTo>
                  <a:lnTo>
                    <a:pt x="710258" y="564415"/>
                  </a:lnTo>
                  <a:lnTo>
                    <a:pt x="704401" y="562743"/>
                  </a:lnTo>
                  <a:lnTo>
                    <a:pt x="674278" y="567759"/>
                  </a:lnTo>
                  <a:lnTo>
                    <a:pt x="674278" y="561071"/>
                  </a:lnTo>
                  <a:lnTo>
                    <a:pt x="644154" y="557727"/>
                  </a:lnTo>
                  <a:lnTo>
                    <a:pt x="615703" y="556055"/>
                  </a:lnTo>
                  <a:lnTo>
                    <a:pt x="609009" y="551039"/>
                  </a:lnTo>
                  <a:lnTo>
                    <a:pt x="617377" y="544351"/>
                  </a:lnTo>
                  <a:lnTo>
                    <a:pt x="595621" y="552711"/>
                  </a:lnTo>
                  <a:lnTo>
                    <a:pt x="587253" y="547695"/>
                  </a:lnTo>
                  <a:lnTo>
                    <a:pt x="595621" y="542679"/>
                  </a:lnTo>
                  <a:lnTo>
                    <a:pt x="593947" y="541008"/>
                  </a:lnTo>
                  <a:lnTo>
                    <a:pt x="583907" y="541008"/>
                  </a:lnTo>
                  <a:lnTo>
                    <a:pt x="588927" y="537664"/>
                  </a:lnTo>
                  <a:lnTo>
                    <a:pt x="592274" y="532648"/>
                  </a:lnTo>
                  <a:lnTo>
                    <a:pt x="598968" y="530976"/>
                  </a:lnTo>
                  <a:lnTo>
                    <a:pt x="567171" y="535992"/>
                  </a:lnTo>
                  <a:lnTo>
                    <a:pt x="568844" y="534320"/>
                  </a:lnTo>
                  <a:lnTo>
                    <a:pt x="557130" y="535992"/>
                  </a:lnTo>
                  <a:lnTo>
                    <a:pt x="575539" y="525960"/>
                  </a:lnTo>
                  <a:lnTo>
                    <a:pt x="553783" y="535992"/>
                  </a:lnTo>
                  <a:lnTo>
                    <a:pt x="538721" y="541008"/>
                  </a:lnTo>
                  <a:lnTo>
                    <a:pt x="545415" y="544351"/>
                  </a:lnTo>
                  <a:lnTo>
                    <a:pt x="537047" y="547695"/>
                  </a:lnTo>
                  <a:lnTo>
                    <a:pt x="542068" y="551039"/>
                  </a:lnTo>
                  <a:lnTo>
                    <a:pt x="515291" y="562743"/>
                  </a:lnTo>
                  <a:lnTo>
                    <a:pt x="501903" y="561071"/>
                  </a:lnTo>
                  <a:lnTo>
                    <a:pt x="488514" y="567759"/>
                  </a:lnTo>
                  <a:lnTo>
                    <a:pt x="486841" y="564415"/>
                  </a:lnTo>
                  <a:lnTo>
                    <a:pt x="483494" y="571103"/>
                  </a:lnTo>
                  <a:lnTo>
                    <a:pt x="476800" y="571103"/>
                  </a:lnTo>
                  <a:lnTo>
                    <a:pt x="466758" y="574447"/>
                  </a:lnTo>
                  <a:lnTo>
                    <a:pt x="475126" y="567759"/>
                  </a:lnTo>
                  <a:lnTo>
                    <a:pt x="445002" y="582806"/>
                  </a:lnTo>
                  <a:lnTo>
                    <a:pt x="431615" y="577790"/>
                  </a:lnTo>
                  <a:lnTo>
                    <a:pt x="461738" y="566087"/>
                  </a:lnTo>
                  <a:lnTo>
                    <a:pt x="441655" y="571103"/>
                  </a:lnTo>
                  <a:lnTo>
                    <a:pt x="478473" y="542679"/>
                  </a:lnTo>
                  <a:lnTo>
                    <a:pt x="521985" y="534320"/>
                  </a:lnTo>
                  <a:lnTo>
                    <a:pt x="532027" y="535992"/>
                  </a:lnTo>
                  <a:lnTo>
                    <a:pt x="525332" y="527632"/>
                  </a:lnTo>
                  <a:lnTo>
                    <a:pt x="543741" y="520944"/>
                  </a:lnTo>
                  <a:lnTo>
                    <a:pt x="515291" y="525960"/>
                  </a:lnTo>
                  <a:lnTo>
                    <a:pt x="475126" y="537664"/>
                  </a:lnTo>
                  <a:lnTo>
                    <a:pt x="434961" y="554383"/>
                  </a:lnTo>
                  <a:lnTo>
                    <a:pt x="428267" y="564415"/>
                  </a:lnTo>
                  <a:lnTo>
                    <a:pt x="418226" y="566087"/>
                  </a:lnTo>
                  <a:lnTo>
                    <a:pt x="371367" y="586150"/>
                  </a:lnTo>
                  <a:lnTo>
                    <a:pt x="383082" y="592838"/>
                  </a:lnTo>
                  <a:lnTo>
                    <a:pt x="327855" y="616245"/>
                  </a:lnTo>
                  <a:lnTo>
                    <a:pt x="265934" y="637981"/>
                  </a:lnTo>
                  <a:lnTo>
                    <a:pt x="195645" y="664731"/>
                  </a:lnTo>
                  <a:lnTo>
                    <a:pt x="190625" y="671419"/>
                  </a:lnTo>
                  <a:lnTo>
                    <a:pt x="182257" y="673091"/>
                  </a:lnTo>
                  <a:lnTo>
                    <a:pt x="155481" y="678107"/>
                  </a:lnTo>
                  <a:lnTo>
                    <a:pt x="150460" y="681451"/>
                  </a:lnTo>
                  <a:lnTo>
                    <a:pt x="132051" y="683123"/>
                  </a:lnTo>
                  <a:lnTo>
                    <a:pt x="103601" y="686467"/>
                  </a:lnTo>
                  <a:lnTo>
                    <a:pt x="100254" y="686467"/>
                  </a:lnTo>
                  <a:lnTo>
                    <a:pt x="71804" y="698170"/>
                  </a:lnTo>
                  <a:lnTo>
                    <a:pt x="70130" y="696498"/>
                  </a:lnTo>
                  <a:lnTo>
                    <a:pt x="55068" y="703186"/>
                  </a:lnTo>
                  <a:lnTo>
                    <a:pt x="51721" y="701514"/>
                  </a:lnTo>
                  <a:lnTo>
                    <a:pt x="46701" y="703186"/>
                  </a:lnTo>
                  <a:lnTo>
                    <a:pt x="110295" y="676435"/>
                  </a:lnTo>
                  <a:lnTo>
                    <a:pt x="127030" y="676435"/>
                  </a:lnTo>
                  <a:lnTo>
                    <a:pt x="127030" y="681451"/>
                  </a:lnTo>
                  <a:lnTo>
                    <a:pt x="132051" y="676435"/>
                  </a:lnTo>
                  <a:lnTo>
                    <a:pt x="142092" y="676435"/>
                  </a:lnTo>
                  <a:lnTo>
                    <a:pt x="147113" y="668075"/>
                  </a:lnTo>
                  <a:lnTo>
                    <a:pt x="205687" y="651356"/>
                  </a:lnTo>
                  <a:lnTo>
                    <a:pt x="242504" y="631293"/>
                  </a:lnTo>
                  <a:lnTo>
                    <a:pt x="254219" y="627949"/>
                  </a:lnTo>
                  <a:lnTo>
                    <a:pt x="275975" y="611230"/>
                  </a:lnTo>
                  <a:lnTo>
                    <a:pt x="274302" y="611230"/>
                  </a:lnTo>
                  <a:lnTo>
                    <a:pt x="312793" y="587822"/>
                  </a:lnTo>
                  <a:lnTo>
                    <a:pt x="272628" y="601198"/>
                  </a:lnTo>
                  <a:lnTo>
                    <a:pt x="267608" y="594510"/>
                  </a:lnTo>
                  <a:lnTo>
                    <a:pt x="284343" y="587822"/>
                  </a:lnTo>
                  <a:lnTo>
                    <a:pt x="275975" y="587822"/>
                  </a:lnTo>
                  <a:lnTo>
                    <a:pt x="250872" y="606214"/>
                  </a:lnTo>
                  <a:lnTo>
                    <a:pt x="250872" y="592838"/>
                  </a:lnTo>
                  <a:lnTo>
                    <a:pt x="237484" y="591166"/>
                  </a:lnTo>
                  <a:lnTo>
                    <a:pt x="193972" y="597854"/>
                  </a:lnTo>
                  <a:lnTo>
                    <a:pt x="207360" y="587822"/>
                  </a:lnTo>
                  <a:lnTo>
                    <a:pt x="207360" y="586150"/>
                  </a:lnTo>
                  <a:lnTo>
                    <a:pt x="214054" y="577790"/>
                  </a:lnTo>
                  <a:lnTo>
                    <a:pt x="230790" y="561071"/>
                  </a:lnTo>
                  <a:lnTo>
                    <a:pt x="254219" y="544351"/>
                  </a:lnTo>
                  <a:lnTo>
                    <a:pt x="230790" y="556055"/>
                  </a:lnTo>
                  <a:lnTo>
                    <a:pt x="192298" y="566087"/>
                  </a:lnTo>
                  <a:lnTo>
                    <a:pt x="182257" y="547695"/>
                  </a:lnTo>
                  <a:lnTo>
                    <a:pt x="200666" y="537664"/>
                  </a:lnTo>
                  <a:lnTo>
                    <a:pt x="210707" y="542679"/>
                  </a:lnTo>
                  <a:lnTo>
                    <a:pt x="225769" y="542679"/>
                  </a:lnTo>
                  <a:lnTo>
                    <a:pt x="222422" y="537664"/>
                  </a:lnTo>
                  <a:lnTo>
                    <a:pt x="230790" y="535992"/>
                  </a:lnTo>
                  <a:lnTo>
                    <a:pt x="205687" y="534320"/>
                  </a:lnTo>
                  <a:lnTo>
                    <a:pt x="204013" y="530976"/>
                  </a:lnTo>
                  <a:lnTo>
                    <a:pt x="227443" y="517600"/>
                  </a:lnTo>
                  <a:lnTo>
                    <a:pt x="202340" y="527632"/>
                  </a:lnTo>
                  <a:lnTo>
                    <a:pt x="197319" y="520944"/>
                  </a:lnTo>
                  <a:lnTo>
                    <a:pt x="212381" y="515928"/>
                  </a:lnTo>
                  <a:lnTo>
                    <a:pt x="207360" y="512585"/>
                  </a:lnTo>
                  <a:lnTo>
                    <a:pt x="220749" y="510913"/>
                  </a:lnTo>
                  <a:lnTo>
                    <a:pt x="255893" y="494193"/>
                  </a:lnTo>
                  <a:lnTo>
                    <a:pt x="265934" y="490849"/>
                  </a:lnTo>
                  <a:lnTo>
                    <a:pt x="262587" y="490849"/>
                  </a:lnTo>
                  <a:lnTo>
                    <a:pt x="286017" y="477474"/>
                  </a:lnTo>
                  <a:lnTo>
                    <a:pt x="306099" y="474130"/>
                  </a:lnTo>
                  <a:lnTo>
                    <a:pt x="296058" y="480818"/>
                  </a:lnTo>
                  <a:lnTo>
                    <a:pt x="347938" y="467442"/>
                  </a:lnTo>
                  <a:lnTo>
                    <a:pt x="384756" y="457411"/>
                  </a:lnTo>
                  <a:lnTo>
                    <a:pt x="394797" y="442363"/>
                  </a:lnTo>
                  <a:lnTo>
                    <a:pt x="404838" y="440691"/>
                  </a:lnTo>
                  <a:lnTo>
                    <a:pt x="414879" y="427316"/>
                  </a:lnTo>
                  <a:lnTo>
                    <a:pt x="366346" y="442363"/>
                  </a:lnTo>
                  <a:lnTo>
                    <a:pt x="357979" y="437347"/>
                  </a:lnTo>
                  <a:lnTo>
                    <a:pt x="302752" y="437347"/>
                  </a:lnTo>
                  <a:lnTo>
                    <a:pt x="306099" y="422300"/>
                  </a:lnTo>
                  <a:lnTo>
                    <a:pt x="322834" y="420628"/>
                  </a:lnTo>
                  <a:lnTo>
                    <a:pt x="301078" y="412268"/>
                  </a:lnTo>
                  <a:lnTo>
                    <a:pt x="366346" y="393877"/>
                  </a:lnTo>
                  <a:lnTo>
                    <a:pt x="418226" y="385517"/>
                  </a:lnTo>
                  <a:lnTo>
                    <a:pt x="398144" y="395549"/>
                  </a:lnTo>
                  <a:lnTo>
                    <a:pt x="445002" y="397220"/>
                  </a:lnTo>
                  <a:lnTo>
                    <a:pt x="458391" y="397220"/>
                  </a:lnTo>
                  <a:lnTo>
                    <a:pt x="451697" y="392205"/>
                  </a:lnTo>
                  <a:lnTo>
                    <a:pt x="455044" y="377157"/>
                  </a:lnTo>
                  <a:lnTo>
                    <a:pt x="456717" y="385517"/>
                  </a:lnTo>
                  <a:lnTo>
                    <a:pt x="488514" y="387189"/>
                  </a:lnTo>
                  <a:lnTo>
                    <a:pt x="465085" y="385517"/>
                  </a:lnTo>
                  <a:lnTo>
                    <a:pt x="473452" y="375485"/>
                  </a:lnTo>
                  <a:lnTo>
                    <a:pt x="441655" y="372141"/>
                  </a:lnTo>
                  <a:lnTo>
                    <a:pt x="448350" y="365454"/>
                  </a:lnTo>
                  <a:lnTo>
                    <a:pt x="431615" y="340374"/>
                  </a:lnTo>
                  <a:lnTo>
                    <a:pt x="455044" y="325327"/>
                  </a:lnTo>
                  <a:lnTo>
                    <a:pt x="495209" y="325327"/>
                  </a:lnTo>
                  <a:lnTo>
                    <a:pt x="542068" y="306936"/>
                  </a:lnTo>
                  <a:lnTo>
                    <a:pt x="588927" y="291888"/>
                  </a:lnTo>
                  <a:lnTo>
                    <a:pt x="635786" y="283529"/>
                  </a:lnTo>
                  <a:lnTo>
                    <a:pt x="627418" y="291888"/>
                  </a:lnTo>
                  <a:lnTo>
                    <a:pt x="639133" y="285201"/>
                  </a:lnTo>
                  <a:lnTo>
                    <a:pt x="642480" y="281857"/>
                  </a:lnTo>
                  <a:lnTo>
                    <a:pt x="659216" y="276841"/>
                  </a:lnTo>
                  <a:lnTo>
                    <a:pt x="669257" y="276841"/>
                  </a:lnTo>
                  <a:lnTo>
                    <a:pt x="726157" y="265137"/>
                  </a:lnTo>
                  <a:lnTo>
                    <a:pt x="737872" y="266809"/>
                  </a:lnTo>
                  <a:lnTo>
                    <a:pt x="726157" y="275169"/>
                  </a:lnTo>
                  <a:lnTo>
                    <a:pt x="746240" y="271825"/>
                  </a:lnTo>
                  <a:lnTo>
                    <a:pt x="752934" y="275169"/>
                  </a:lnTo>
                  <a:lnTo>
                    <a:pt x="764649" y="275169"/>
                  </a:lnTo>
                  <a:lnTo>
                    <a:pt x="784730" y="280185"/>
                  </a:lnTo>
                  <a:lnTo>
                    <a:pt x="788078" y="283529"/>
                  </a:lnTo>
                  <a:lnTo>
                    <a:pt x="839958" y="286872"/>
                  </a:lnTo>
                  <a:lnTo>
                    <a:pt x="883469" y="291888"/>
                  </a:lnTo>
                  <a:lnTo>
                    <a:pt x="923635" y="295232"/>
                  </a:lnTo>
                  <a:lnTo>
                    <a:pt x="965878" y="304971"/>
                  </a:lnTo>
                  <a:lnTo>
                    <a:pt x="969115" y="302318"/>
                  </a:lnTo>
                  <a:lnTo>
                    <a:pt x="1007558" y="317389"/>
                  </a:lnTo>
                  <a:lnTo>
                    <a:pt x="1047675" y="329110"/>
                  </a:lnTo>
                  <a:lnTo>
                    <a:pt x="1051017" y="324088"/>
                  </a:lnTo>
                  <a:lnTo>
                    <a:pt x="1067740" y="327436"/>
                  </a:lnTo>
                  <a:lnTo>
                    <a:pt x="1072748" y="320738"/>
                  </a:lnTo>
                  <a:lnTo>
                    <a:pt x="1122895" y="307342"/>
                  </a:lnTo>
                  <a:lnTo>
                    <a:pt x="1171371" y="293946"/>
                  </a:lnTo>
                  <a:lnTo>
                    <a:pt x="1203132" y="290596"/>
                  </a:lnTo>
                  <a:lnTo>
                    <a:pt x="1159674" y="303993"/>
                  </a:lnTo>
                  <a:lnTo>
                    <a:pt x="1203132" y="298969"/>
                  </a:lnTo>
                  <a:lnTo>
                    <a:pt x="1201459" y="302318"/>
                  </a:lnTo>
                  <a:lnTo>
                    <a:pt x="1243248" y="288922"/>
                  </a:lnTo>
                  <a:lnTo>
                    <a:pt x="1241577" y="282224"/>
                  </a:lnTo>
                  <a:lnTo>
                    <a:pt x="1249935" y="293946"/>
                  </a:lnTo>
                  <a:lnTo>
                    <a:pt x="1258300" y="312365"/>
                  </a:lnTo>
                  <a:lnTo>
                    <a:pt x="1268322" y="307342"/>
                  </a:lnTo>
                  <a:lnTo>
                    <a:pt x="1280029" y="302318"/>
                  </a:lnTo>
                  <a:lnTo>
                    <a:pt x="1288381" y="293946"/>
                  </a:lnTo>
                  <a:lnTo>
                    <a:pt x="1296739" y="290596"/>
                  </a:lnTo>
                  <a:lnTo>
                    <a:pt x="1290052" y="302318"/>
                  </a:lnTo>
                  <a:lnTo>
                    <a:pt x="1281701" y="309016"/>
                  </a:lnTo>
                  <a:lnTo>
                    <a:pt x="1291724" y="310691"/>
                  </a:lnTo>
                  <a:lnTo>
                    <a:pt x="1320141" y="298969"/>
                  </a:lnTo>
                  <a:lnTo>
                    <a:pt x="1368617" y="310691"/>
                  </a:lnTo>
                  <a:lnTo>
                    <a:pt x="1420439" y="322413"/>
                  </a:lnTo>
                  <a:lnTo>
                    <a:pt x="1432136" y="320738"/>
                  </a:lnTo>
                  <a:lnTo>
                    <a:pt x="1452194" y="337483"/>
                  </a:lnTo>
                  <a:lnTo>
                    <a:pt x="1442168" y="339158"/>
                  </a:lnTo>
                  <a:lnTo>
                    <a:pt x="1412077" y="347530"/>
                  </a:lnTo>
                  <a:lnTo>
                    <a:pt x="1440495" y="354229"/>
                  </a:lnTo>
                  <a:lnTo>
                    <a:pt x="1514046" y="347530"/>
                  </a:lnTo>
                  <a:lnTo>
                    <a:pt x="1529087" y="352553"/>
                  </a:lnTo>
                  <a:lnTo>
                    <a:pt x="1529087" y="360926"/>
                  </a:lnTo>
                  <a:lnTo>
                    <a:pt x="1540793" y="354229"/>
                  </a:lnTo>
                  <a:lnTo>
                    <a:pt x="1544140" y="369299"/>
                  </a:lnTo>
                  <a:lnTo>
                    <a:pt x="1530759" y="369299"/>
                  </a:lnTo>
                  <a:lnTo>
                    <a:pt x="1539120" y="389393"/>
                  </a:lnTo>
                  <a:lnTo>
                    <a:pt x="1542467" y="370973"/>
                  </a:lnTo>
                  <a:lnTo>
                    <a:pt x="1550817" y="377672"/>
                  </a:lnTo>
                  <a:lnTo>
                    <a:pt x="1562522" y="347530"/>
                  </a:lnTo>
                  <a:lnTo>
                    <a:pt x="1580905" y="344182"/>
                  </a:lnTo>
                  <a:lnTo>
                    <a:pt x="1619352" y="332460"/>
                  </a:lnTo>
                  <a:lnTo>
                    <a:pt x="1599293" y="334135"/>
                  </a:lnTo>
                  <a:lnTo>
                    <a:pt x="1569204" y="340832"/>
                  </a:lnTo>
                  <a:lnTo>
                    <a:pt x="1557504" y="337483"/>
                  </a:lnTo>
                  <a:lnTo>
                    <a:pt x="1619352" y="322413"/>
                  </a:lnTo>
                  <a:lnTo>
                    <a:pt x="1624366" y="332460"/>
                  </a:lnTo>
                  <a:lnTo>
                    <a:pt x="1631055" y="342507"/>
                  </a:lnTo>
                  <a:lnTo>
                    <a:pt x="1647768" y="344182"/>
                  </a:lnTo>
                  <a:lnTo>
                    <a:pt x="1659475" y="350879"/>
                  </a:lnTo>
                  <a:lnTo>
                    <a:pt x="1697916" y="350879"/>
                  </a:lnTo>
                  <a:lnTo>
                    <a:pt x="1738033" y="352553"/>
                  </a:lnTo>
                  <a:lnTo>
                    <a:pt x="1743048" y="344182"/>
                  </a:lnTo>
                  <a:lnTo>
                    <a:pt x="1749736" y="352553"/>
                  </a:lnTo>
                  <a:lnTo>
                    <a:pt x="1769793" y="350879"/>
                  </a:lnTo>
                  <a:lnTo>
                    <a:pt x="1754755" y="349205"/>
                  </a:lnTo>
                  <a:lnTo>
                    <a:pt x="1751409" y="340832"/>
                  </a:lnTo>
                  <a:lnTo>
                    <a:pt x="1768121" y="334135"/>
                  </a:lnTo>
                  <a:lnTo>
                    <a:pt x="1789852" y="339158"/>
                  </a:lnTo>
                  <a:lnTo>
                    <a:pt x="1784837" y="342507"/>
                  </a:lnTo>
                  <a:lnTo>
                    <a:pt x="1803232" y="339158"/>
                  </a:lnTo>
                  <a:lnTo>
                    <a:pt x="1778156" y="362600"/>
                  </a:lnTo>
                  <a:lnTo>
                    <a:pt x="1788180" y="360926"/>
                  </a:lnTo>
                  <a:lnTo>
                    <a:pt x="1781502" y="367624"/>
                  </a:lnTo>
                  <a:lnTo>
                    <a:pt x="1787066" y="370416"/>
                  </a:lnTo>
                  <a:lnTo>
                    <a:pt x="1786305" y="371182"/>
                  </a:lnTo>
                  <a:lnTo>
                    <a:pt x="1773138" y="372647"/>
                  </a:lnTo>
                  <a:lnTo>
                    <a:pt x="1784837" y="372647"/>
                  </a:lnTo>
                  <a:lnTo>
                    <a:pt x="1786305" y="371182"/>
                  </a:lnTo>
                  <a:lnTo>
                    <a:pt x="1788180" y="370973"/>
                  </a:lnTo>
                  <a:lnTo>
                    <a:pt x="1787066" y="370416"/>
                  </a:lnTo>
                  <a:lnTo>
                    <a:pt x="1794867" y="362600"/>
                  </a:lnTo>
                  <a:lnTo>
                    <a:pt x="1811582" y="344182"/>
                  </a:lnTo>
                  <a:lnTo>
                    <a:pt x="1851708" y="330785"/>
                  </a:lnTo>
                  <a:lnTo>
                    <a:pt x="1861729" y="320738"/>
                  </a:lnTo>
                  <a:lnTo>
                    <a:pt x="1841670" y="327436"/>
                  </a:lnTo>
                  <a:lnTo>
                    <a:pt x="1853380" y="317389"/>
                  </a:lnTo>
                  <a:lnTo>
                    <a:pt x="1863401" y="310691"/>
                  </a:lnTo>
                  <a:lnTo>
                    <a:pt x="1861729" y="314040"/>
                  </a:lnTo>
                  <a:lnTo>
                    <a:pt x="1875109" y="310691"/>
                  </a:lnTo>
                  <a:lnTo>
                    <a:pt x="1831641" y="298969"/>
                  </a:lnTo>
                  <a:lnTo>
                    <a:pt x="1839999" y="283899"/>
                  </a:lnTo>
                  <a:lnTo>
                    <a:pt x="1853380" y="280549"/>
                  </a:lnTo>
                  <a:lnTo>
                    <a:pt x="1850035" y="278875"/>
                  </a:lnTo>
                  <a:lnTo>
                    <a:pt x="1858386" y="262130"/>
                  </a:lnTo>
                  <a:lnTo>
                    <a:pt x="1878445" y="262130"/>
                  </a:lnTo>
                  <a:lnTo>
                    <a:pt x="1873436" y="257107"/>
                  </a:lnTo>
                  <a:close/>
                  <a:moveTo>
                    <a:pt x="1910205" y="247060"/>
                  </a:moveTo>
                  <a:lnTo>
                    <a:pt x="1903519" y="250408"/>
                  </a:lnTo>
                  <a:lnTo>
                    <a:pt x="1895165" y="250408"/>
                  </a:lnTo>
                  <a:close/>
                  <a:moveTo>
                    <a:pt x="5097855" y="235008"/>
                  </a:moveTo>
                  <a:lnTo>
                    <a:pt x="5117439" y="235008"/>
                  </a:lnTo>
                  <a:lnTo>
                    <a:pt x="5099361" y="238021"/>
                  </a:lnTo>
                  <a:close/>
                  <a:moveTo>
                    <a:pt x="4652847" y="213918"/>
                  </a:moveTo>
                  <a:lnTo>
                    <a:pt x="4700903" y="217162"/>
                  </a:lnTo>
                  <a:lnTo>
                    <a:pt x="4695932" y="222030"/>
                  </a:lnTo>
                  <a:lnTo>
                    <a:pt x="4694275" y="226897"/>
                  </a:lnTo>
                  <a:lnTo>
                    <a:pt x="4694275" y="230141"/>
                  </a:lnTo>
                  <a:lnTo>
                    <a:pt x="4709189" y="256099"/>
                  </a:lnTo>
                  <a:lnTo>
                    <a:pt x="4758902" y="275566"/>
                  </a:lnTo>
                  <a:lnTo>
                    <a:pt x="4750616" y="277189"/>
                  </a:lnTo>
                  <a:lnTo>
                    <a:pt x="4732388" y="277189"/>
                  </a:lnTo>
                  <a:lnTo>
                    <a:pt x="4714160" y="275566"/>
                  </a:lnTo>
                  <a:lnTo>
                    <a:pt x="4700903" y="275566"/>
                  </a:lnTo>
                  <a:lnTo>
                    <a:pt x="4682675" y="269078"/>
                  </a:lnTo>
                  <a:lnTo>
                    <a:pt x="4684332" y="267454"/>
                  </a:lnTo>
                  <a:lnTo>
                    <a:pt x="4674390" y="259343"/>
                  </a:lnTo>
                  <a:lnTo>
                    <a:pt x="4666104" y="257721"/>
                  </a:lnTo>
                  <a:lnTo>
                    <a:pt x="4654504" y="257721"/>
                  </a:lnTo>
                  <a:lnTo>
                    <a:pt x="4639591" y="257721"/>
                  </a:lnTo>
                  <a:lnTo>
                    <a:pt x="4626334" y="247987"/>
                  </a:lnTo>
                  <a:lnTo>
                    <a:pt x="4636276" y="243120"/>
                  </a:lnTo>
                  <a:lnTo>
                    <a:pt x="4644562" y="231763"/>
                  </a:lnTo>
                  <a:lnTo>
                    <a:pt x="4639591" y="230141"/>
                  </a:lnTo>
                  <a:lnTo>
                    <a:pt x="4644562" y="222030"/>
                  </a:lnTo>
                  <a:close/>
                  <a:moveTo>
                    <a:pt x="1576139" y="213918"/>
                  </a:moveTo>
                  <a:lnTo>
                    <a:pt x="1579503" y="220613"/>
                  </a:lnTo>
                  <a:lnTo>
                    <a:pt x="1557654" y="232330"/>
                  </a:lnTo>
                  <a:lnTo>
                    <a:pt x="1576139" y="230657"/>
                  </a:lnTo>
                  <a:lnTo>
                    <a:pt x="1592939" y="222287"/>
                  </a:lnTo>
                  <a:lnTo>
                    <a:pt x="1613103" y="234004"/>
                  </a:lnTo>
                  <a:lnTo>
                    <a:pt x="1601339" y="240699"/>
                  </a:lnTo>
                  <a:lnTo>
                    <a:pt x="1609740" y="239025"/>
                  </a:lnTo>
                  <a:lnTo>
                    <a:pt x="1636614" y="235677"/>
                  </a:lnTo>
                  <a:lnTo>
                    <a:pt x="1638294" y="230657"/>
                  </a:lnTo>
                  <a:lnTo>
                    <a:pt x="1641654" y="222287"/>
                  </a:lnTo>
                  <a:lnTo>
                    <a:pt x="1661813" y="234004"/>
                  </a:lnTo>
                  <a:lnTo>
                    <a:pt x="1650053" y="255763"/>
                  </a:lnTo>
                  <a:lnTo>
                    <a:pt x="1670213" y="249068"/>
                  </a:lnTo>
                  <a:lnTo>
                    <a:pt x="1688693" y="218940"/>
                  </a:lnTo>
                  <a:lnTo>
                    <a:pt x="1720615" y="218940"/>
                  </a:lnTo>
                  <a:lnTo>
                    <a:pt x="1723978" y="234004"/>
                  </a:lnTo>
                  <a:lnTo>
                    <a:pt x="1707178" y="265807"/>
                  </a:lnTo>
                  <a:lnTo>
                    <a:pt x="1708853" y="282545"/>
                  </a:lnTo>
                  <a:lnTo>
                    <a:pt x="1713893" y="282545"/>
                  </a:lnTo>
                  <a:lnTo>
                    <a:pt x="1747492" y="292589"/>
                  </a:lnTo>
                  <a:lnTo>
                    <a:pt x="1742452" y="299284"/>
                  </a:lnTo>
                  <a:lnTo>
                    <a:pt x="1729015" y="304305"/>
                  </a:lnTo>
                  <a:lnTo>
                    <a:pt x="1730693" y="299284"/>
                  </a:lnTo>
                  <a:lnTo>
                    <a:pt x="1718942" y="302631"/>
                  </a:lnTo>
                  <a:lnTo>
                    <a:pt x="1710542" y="302631"/>
                  </a:lnTo>
                  <a:lnTo>
                    <a:pt x="1697093" y="309326"/>
                  </a:lnTo>
                  <a:lnTo>
                    <a:pt x="1688693" y="309326"/>
                  </a:lnTo>
                  <a:lnTo>
                    <a:pt x="1680293" y="319370"/>
                  </a:lnTo>
                  <a:lnTo>
                    <a:pt x="1710542" y="311001"/>
                  </a:lnTo>
                  <a:lnTo>
                    <a:pt x="1707178" y="314348"/>
                  </a:lnTo>
                  <a:lnTo>
                    <a:pt x="1697093" y="322717"/>
                  </a:lnTo>
                  <a:lnTo>
                    <a:pt x="1636614" y="322717"/>
                  </a:lnTo>
                  <a:lnTo>
                    <a:pt x="1623176" y="314348"/>
                  </a:lnTo>
                  <a:lnTo>
                    <a:pt x="1618140" y="312674"/>
                  </a:lnTo>
                  <a:lnTo>
                    <a:pt x="1582854" y="324392"/>
                  </a:lnTo>
                  <a:lnTo>
                    <a:pt x="1529101" y="329414"/>
                  </a:lnTo>
                  <a:lnTo>
                    <a:pt x="1475337" y="334435"/>
                  </a:lnTo>
                  <a:lnTo>
                    <a:pt x="1477016" y="321043"/>
                  </a:lnTo>
                  <a:lnTo>
                    <a:pt x="1426617" y="305979"/>
                  </a:lnTo>
                  <a:lnTo>
                    <a:pt x="1436700" y="292589"/>
                  </a:lnTo>
                  <a:lnTo>
                    <a:pt x="1492137" y="290915"/>
                  </a:lnTo>
                  <a:lnTo>
                    <a:pt x="1549255" y="289240"/>
                  </a:lnTo>
                  <a:lnTo>
                    <a:pt x="1497176" y="280872"/>
                  </a:lnTo>
                  <a:lnTo>
                    <a:pt x="1441736" y="279198"/>
                  </a:lnTo>
                  <a:lnTo>
                    <a:pt x="1436700" y="272503"/>
                  </a:lnTo>
                  <a:lnTo>
                    <a:pt x="1507255" y="259111"/>
                  </a:lnTo>
                  <a:lnTo>
                    <a:pt x="1455176" y="260785"/>
                  </a:lnTo>
                  <a:lnTo>
                    <a:pt x="1468616" y="255763"/>
                  </a:lnTo>
                  <a:lnTo>
                    <a:pt x="1445100" y="255763"/>
                  </a:lnTo>
                  <a:lnTo>
                    <a:pt x="1480376" y="240699"/>
                  </a:lnTo>
                  <a:lnTo>
                    <a:pt x="1477016" y="235677"/>
                  </a:lnTo>
                  <a:lnTo>
                    <a:pt x="1527415" y="223960"/>
                  </a:lnTo>
                  <a:close/>
                  <a:moveTo>
                    <a:pt x="4953393" y="210905"/>
                  </a:moveTo>
                  <a:lnTo>
                    <a:pt x="4966079" y="213315"/>
                  </a:lnTo>
                  <a:lnTo>
                    <a:pt x="4980351" y="215726"/>
                  </a:lnTo>
                  <a:lnTo>
                    <a:pt x="4950222" y="216931"/>
                  </a:lnTo>
                  <a:close/>
                  <a:moveTo>
                    <a:pt x="2125967" y="204879"/>
                  </a:moveTo>
                  <a:lnTo>
                    <a:pt x="2095870" y="219844"/>
                  </a:lnTo>
                  <a:lnTo>
                    <a:pt x="2064104" y="249776"/>
                  </a:lnTo>
                  <a:lnTo>
                    <a:pt x="2080821" y="263079"/>
                  </a:lnTo>
                  <a:lnTo>
                    <a:pt x="2044036" y="271393"/>
                  </a:lnTo>
                  <a:lnTo>
                    <a:pt x="2072469" y="271393"/>
                  </a:lnTo>
                  <a:lnTo>
                    <a:pt x="2087509" y="261415"/>
                  </a:lnTo>
                  <a:lnTo>
                    <a:pt x="2077477" y="251439"/>
                  </a:lnTo>
                  <a:lnTo>
                    <a:pt x="2082493" y="244787"/>
                  </a:lnTo>
                  <a:lnTo>
                    <a:pt x="2104234" y="249776"/>
                  </a:lnTo>
                  <a:lnTo>
                    <a:pt x="2100888" y="239799"/>
                  </a:lnTo>
                  <a:lnTo>
                    <a:pt x="2094198" y="239799"/>
                  </a:lnTo>
                  <a:lnTo>
                    <a:pt x="2095870" y="226495"/>
                  </a:lnTo>
                  <a:lnTo>
                    <a:pt x="2124295" y="231484"/>
                  </a:lnTo>
                  <a:lnTo>
                    <a:pt x="2110925" y="224834"/>
                  </a:lnTo>
                  <a:lnTo>
                    <a:pt x="2132655" y="223170"/>
                  </a:lnTo>
                  <a:lnTo>
                    <a:pt x="2112598" y="219844"/>
                  </a:lnTo>
                  <a:lnTo>
                    <a:pt x="2124295" y="216519"/>
                  </a:lnTo>
                  <a:lnTo>
                    <a:pt x="2142692" y="214856"/>
                  </a:lnTo>
                  <a:lnTo>
                    <a:pt x="2137673" y="211531"/>
                  </a:lnTo>
                  <a:lnTo>
                    <a:pt x="2187840" y="206541"/>
                  </a:lnTo>
                  <a:lnTo>
                    <a:pt x="2189279" y="213213"/>
                  </a:lnTo>
                  <a:lnTo>
                    <a:pt x="2192211" y="207892"/>
                  </a:lnTo>
                  <a:lnTo>
                    <a:pt x="2243781" y="207892"/>
                  </a:lnTo>
                  <a:lnTo>
                    <a:pt x="2268730" y="222956"/>
                  </a:lnTo>
                  <a:lnTo>
                    <a:pt x="2203855" y="227475"/>
                  </a:lnTo>
                  <a:lnTo>
                    <a:pt x="2197201" y="219943"/>
                  </a:lnTo>
                  <a:lnTo>
                    <a:pt x="2189531" y="214381"/>
                  </a:lnTo>
                  <a:lnTo>
                    <a:pt x="2192849" y="229822"/>
                  </a:lnTo>
                  <a:lnTo>
                    <a:pt x="2172623" y="239209"/>
                  </a:lnTo>
                  <a:lnTo>
                    <a:pt x="2174457" y="236473"/>
                  </a:lnTo>
                  <a:lnTo>
                    <a:pt x="2167768" y="241462"/>
                  </a:lnTo>
                  <a:lnTo>
                    <a:pt x="2172623" y="239209"/>
                  </a:lnTo>
                  <a:lnTo>
                    <a:pt x="2167768" y="246451"/>
                  </a:lnTo>
                  <a:lnTo>
                    <a:pt x="2177803" y="243125"/>
                  </a:lnTo>
                  <a:lnTo>
                    <a:pt x="2186167" y="243125"/>
                  </a:lnTo>
                  <a:lnTo>
                    <a:pt x="2186167" y="241462"/>
                  </a:lnTo>
                  <a:lnTo>
                    <a:pt x="2196193" y="241462"/>
                  </a:lnTo>
                  <a:lnTo>
                    <a:pt x="2202882" y="239799"/>
                  </a:lnTo>
                  <a:lnTo>
                    <a:pt x="2202882" y="246451"/>
                  </a:lnTo>
                  <a:lnTo>
                    <a:pt x="2204101" y="250078"/>
                  </a:lnTo>
                  <a:lnTo>
                    <a:pt x="2202882" y="249776"/>
                  </a:lnTo>
                  <a:lnTo>
                    <a:pt x="2204554" y="251439"/>
                  </a:lnTo>
                  <a:lnTo>
                    <a:pt x="2204101" y="250078"/>
                  </a:lnTo>
                  <a:lnTo>
                    <a:pt x="2216260" y="253102"/>
                  </a:lnTo>
                  <a:lnTo>
                    <a:pt x="2207898" y="243125"/>
                  </a:lnTo>
                  <a:lnTo>
                    <a:pt x="2236323" y="243125"/>
                  </a:lnTo>
                  <a:lnTo>
                    <a:pt x="2222952" y="234811"/>
                  </a:lnTo>
                  <a:lnTo>
                    <a:pt x="2268100" y="234811"/>
                  </a:lnTo>
                  <a:lnTo>
                    <a:pt x="2281469" y="241462"/>
                  </a:lnTo>
                  <a:lnTo>
                    <a:pt x="2263462" y="247729"/>
                  </a:lnTo>
                  <a:lnTo>
                    <a:pt x="2266427" y="244787"/>
                  </a:lnTo>
                  <a:lnTo>
                    <a:pt x="2248028" y="253102"/>
                  </a:lnTo>
                  <a:lnTo>
                    <a:pt x="2263462" y="247729"/>
                  </a:lnTo>
                  <a:lnTo>
                    <a:pt x="2256391" y="254765"/>
                  </a:lnTo>
                  <a:lnTo>
                    <a:pt x="2266427" y="249776"/>
                  </a:lnTo>
                  <a:lnTo>
                    <a:pt x="2291502" y="249776"/>
                  </a:lnTo>
                  <a:lnTo>
                    <a:pt x="2263082" y="259754"/>
                  </a:lnTo>
                  <a:lnTo>
                    <a:pt x="2271437" y="259754"/>
                  </a:lnTo>
                  <a:lnTo>
                    <a:pt x="2258063" y="269730"/>
                  </a:lnTo>
                  <a:lnTo>
                    <a:pt x="2286485" y="256427"/>
                  </a:lnTo>
                  <a:lnTo>
                    <a:pt x="2291502" y="254765"/>
                  </a:lnTo>
                  <a:lnTo>
                    <a:pt x="2281469" y="264742"/>
                  </a:lnTo>
                  <a:lnTo>
                    <a:pt x="2291502" y="259754"/>
                  </a:lnTo>
                  <a:lnTo>
                    <a:pt x="2283141" y="271393"/>
                  </a:lnTo>
                  <a:lnTo>
                    <a:pt x="2293175" y="264742"/>
                  </a:lnTo>
                  <a:lnTo>
                    <a:pt x="2291502" y="271393"/>
                  </a:lnTo>
                  <a:lnTo>
                    <a:pt x="2311566" y="259754"/>
                  </a:lnTo>
                  <a:lnTo>
                    <a:pt x="2334978" y="266405"/>
                  </a:lnTo>
                  <a:lnTo>
                    <a:pt x="2318254" y="269730"/>
                  </a:lnTo>
                  <a:lnTo>
                    <a:pt x="2303212" y="279708"/>
                  </a:lnTo>
                  <a:lnTo>
                    <a:pt x="2328286" y="273057"/>
                  </a:lnTo>
                  <a:lnTo>
                    <a:pt x="2341669" y="274719"/>
                  </a:lnTo>
                  <a:lnTo>
                    <a:pt x="2308231" y="284696"/>
                  </a:lnTo>
                  <a:lnTo>
                    <a:pt x="2314910" y="284696"/>
                  </a:lnTo>
                  <a:lnTo>
                    <a:pt x="2306558" y="296336"/>
                  </a:lnTo>
                  <a:lnTo>
                    <a:pt x="2323271" y="284696"/>
                  </a:lnTo>
                  <a:lnTo>
                    <a:pt x="2353367" y="274719"/>
                  </a:lnTo>
                  <a:lnTo>
                    <a:pt x="2341669" y="281370"/>
                  </a:lnTo>
                  <a:lnTo>
                    <a:pt x="2351695" y="279708"/>
                  </a:lnTo>
                  <a:lnTo>
                    <a:pt x="2376781" y="283034"/>
                  </a:lnTo>
                  <a:lnTo>
                    <a:pt x="2331632" y="296336"/>
                  </a:lnTo>
                  <a:lnTo>
                    <a:pt x="2363400" y="291348"/>
                  </a:lnTo>
                  <a:lnTo>
                    <a:pt x="2328286" y="304652"/>
                  </a:lnTo>
                  <a:lnTo>
                    <a:pt x="2345015" y="301325"/>
                  </a:lnTo>
                  <a:lnTo>
                    <a:pt x="2375108" y="289685"/>
                  </a:lnTo>
                  <a:lnTo>
                    <a:pt x="2385145" y="302988"/>
                  </a:lnTo>
                  <a:lnTo>
                    <a:pt x="2331632" y="306313"/>
                  </a:lnTo>
                  <a:lnTo>
                    <a:pt x="2355039" y="306313"/>
                  </a:lnTo>
                  <a:lnTo>
                    <a:pt x="2386809" y="316291"/>
                  </a:lnTo>
                  <a:lnTo>
                    <a:pt x="2345015" y="312965"/>
                  </a:lnTo>
                  <a:lnTo>
                    <a:pt x="2358384" y="314628"/>
                  </a:lnTo>
                  <a:lnTo>
                    <a:pt x="2343342" y="316291"/>
                  </a:lnTo>
                  <a:lnTo>
                    <a:pt x="2351695" y="316291"/>
                  </a:lnTo>
                  <a:lnTo>
                    <a:pt x="2343342" y="321280"/>
                  </a:lnTo>
                  <a:lnTo>
                    <a:pt x="2365072" y="322942"/>
                  </a:lnTo>
                  <a:lnTo>
                    <a:pt x="2351695" y="324605"/>
                  </a:lnTo>
                  <a:lnTo>
                    <a:pt x="2358384" y="329594"/>
                  </a:lnTo>
                  <a:lnTo>
                    <a:pt x="2336651" y="326268"/>
                  </a:lnTo>
                  <a:lnTo>
                    <a:pt x="2353367" y="331256"/>
                  </a:lnTo>
                  <a:lnTo>
                    <a:pt x="2336651" y="331256"/>
                  </a:lnTo>
                  <a:lnTo>
                    <a:pt x="2366744" y="336245"/>
                  </a:lnTo>
                  <a:lnTo>
                    <a:pt x="2351695" y="341234"/>
                  </a:lnTo>
                  <a:lnTo>
                    <a:pt x="2361728" y="341234"/>
                  </a:lnTo>
                  <a:lnTo>
                    <a:pt x="2368417" y="344559"/>
                  </a:lnTo>
                  <a:lnTo>
                    <a:pt x="2378454" y="344559"/>
                  </a:lnTo>
                  <a:lnTo>
                    <a:pt x="2371762" y="352875"/>
                  </a:lnTo>
                  <a:lnTo>
                    <a:pt x="2383472" y="346223"/>
                  </a:lnTo>
                  <a:lnTo>
                    <a:pt x="2378454" y="352875"/>
                  </a:lnTo>
                  <a:lnTo>
                    <a:pt x="2386809" y="349548"/>
                  </a:lnTo>
                  <a:lnTo>
                    <a:pt x="2391825" y="354536"/>
                  </a:lnTo>
                  <a:lnTo>
                    <a:pt x="2403529" y="346223"/>
                  </a:lnTo>
                  <a:lnTo>
                    <a:pt x="2396841" y="354536"/>
                  </a:lnTo>
                  <a:lnTo>
                    <a:pt x="2401857" y="354536"/>
                  </a:lnTo>
                  <a:lnTo>
                    <a:pt x="2413565" y="359526"/>
                  </a:lnTo>
                  <a:lnTo>
                    <a:pt x="2413565" y="361188"/>
                  </a:lnTo>
                  <a:lnTo>
                    <a:pt x="2396841" y="364514"/>
                  </a:lnTo>
                  <a:lnTo>
                    <a:pt x="2406874" y="366177"/>
                  </a:lnTo>
                  <a:lnTo>
                    <a:pt x="2395169" y="369503"/>
                  </a:lnTo>
                  <a:lnTo>
                    <a:pt x="2411893" y="366177"/>
                  </a:lnTo>
                  <a:lnTo>
                    <a:pt x="2396841" y="371165"/>
                  </a:lnTo>
                  <a:lnTo>
                    <a:pt x="2416911" y="371165"/>
                  </a:lnTo>
                  <a:lnTo>
                    <a:pt x="2425265" y="366177"/>
                  </a:lnTo>
                  <a:lnTo>
                    <a:pt x="2413565" y="379479"/>
                  </a:lnTo>
                  <a:lnTo>
                    <a:pt x="2415238" y="381142"/>
                  </a:lnTo>
                  <a:lnTo>
                    <a:pt x="2428609" y="374491"/>
                  </a:lnTo>
                  <a:lnTo>
                    <a:pt x="2428609" y="379479"/>
                  </a:lnTo>
                  <a:lnTo>
                    <a:pt x="2435297" y="379479"/>
                  </a:lnTo>
                  <a:lnTo>
                    <a:pt x="2441985" y="374491"/>
                  </a:lnTo>
                  <a:lnTo>
                    <a:pt x="2457034" y="382806"/>
                  </a:lnTo>
                  <a:lnTo>
                    <a:pt x="2445329" y="382806"/>
                  </a:lnTo>
                  <a:lnTo>
                    <a:pt x="2447001" y="386131"/>
                  </a:lnTo>
                  <a:lnTo>
                    <a:pt x="2447001" y="389457"/>
                  </a:lnTo>
                  <a:lnTo>
                    <a:pt x="2433625" y="389457"/>
                  </a:lnTo>
                  <a:lnTo>
                    <a:pt x="2423592" y="392782"/>
                  </a:lnTo>
                  <a:lnTo>
                    <a:pt x="2433625" y="396109"/>
                  </a:lnTo>
                  <a:lnTo>
                    <a:pt x="2418584" y="399434"/>
                  </a:lnTo>
                  <a:lnTo>
                    <a:pt x="2425265" y="401097"/>
                  </a:lnTo>
                  <a:lnTo>
                    <a:pt x="2415238" y="402760"/>
                  </a:lnTo>
                  <a:lnTo>
                    <a:pt x="2411893" y="409412"/>
                  </a:lnTo>
                  <a:lnTo>
                    <a:pt x="2403529" y="401097"/>
                  </a:lnTo>
                  <a:lnTo>
                    <a:pt x="2395169" y="411074"/>
                  </a:lnTo>
                  <a:lnTo>
                    <a:pt x="2393497" y="412737"/>
                  </a:lnTo>
                  <a:lnTo>
                    <a:pt x="2393497" y="424377"/>
                  </a:lnTo>
                  <a:lnTo>
                    <a:pt x="2381799" y="422714"/>
                  </a:lnTo>
                  <a:lnTo>
                    <a:pt x="2375108" y="416062"/>
                  </a:lnTo>
                  <a:lnTo>
                    <a:pt x="2368417" y="422714"/>
                  </a:lnTo>
                  <a:lnTo>
                    <a:pt x="2373435" y="414400"/>
                  </a:lnTo>
                  <a:lnTo>
                    <a:pt x="2363400" y="414400"/>
                  </a:lnTo>
                  <a:lnTo>
                    <a:pt x="2365072" y="409412"/>
                  </a:lnTo>
                  <a:lnTo>
                    <a:pt x="2358384" y="409412"/>
                  </a:lnTo>
                  <a:lnTo>
                    <a:pt x="2375108" y="399434"/>
                  </a:lnTo>
                  <a:lnTo>
                    <a:pt x="2391825" y="391120"/>
                  </a:lnTo>
                  <a:lnTo>
                    <a:pt x="2355039" y="401097"/>
                  </a:lnTo>
                  <a:lnTo>
                    <a:pt x="2368417" y="391120"/>
                  </a:lnTo>
                  <a:lnTo>
                    <a:pt x="2363400" y="394445"/>
                  </a:lnTo>
                  <a:lnTo>
                    <a:pt x="2345015" y="386131"/>
                  </a:lnTo>
                  <a:lnTo>
                    <a:pt x="2334978" y="384469"/>
                  </a:lnTo>
                  <a:lnTo>
                    <a:pt x="2336651" y="386131"/>
                  </a:lnTo>
                  <a:lnTo>
                    <a:pt x="2326615" y="389457"/>
                  </a:lnTo>
                  <a:lnTo>
                    <a:pt x="2328286" y="396109"/>
                  </a:lnTo>
                  <a:lnTo>
                    <a:pt x="2323271" y="402760"/>
                  </a:lnTo>
                  <a:lnTo>
                    <a:pt x="2306558" y="391120"/>
                  </a:lnTo>
                  <a:lnTo>
                    <a:pt x="2311566" y="399434"/>
                  </a:lnTo>
                  <a:lnTo>
                    <a:pt x="2313238" y="404423"/>
                  </a:lnTo>
                  <a:lnTo>
                    <a:pt x="2308231" y="409412"/>
                  </a:lnTo>
                  <a:lnTo>
                    <a:pt x="2323271" y="409412"/>
                  </a:lnTo>
                  <a:lnTo>
                    <a:pt x="2323271" y="414400"/>
                  </a:lnTo>
                  <a:lnTo>
                    <a:pt x="2321598" y="422714"/>
                  </a:lnTo>
                  <a:lnTo>
                    <a:pt x="2326615" y="421052"/>
                  </a:lnTo>
                  <a:lnTo>
                    <a:pt x="2323271" y="426040"/>
                  </a:lnTo>
                  <a:lnTo>
                    <a:pt x="2326615" y="424377"/>
                  </a:lnTo>
                  <a:lnTo>
                    <a:pt x="2333305" y="431029"/>
                  </a:lnTo>
                  <a:lnTo>
                    <a:pt x="2336651" y="432691"/>
                  </a:lnTo>
                  <a:lnTo>
                    <a:pt x="2343342" y="434355"/>
                  </a:lnTo>
                  <a:lnTo>
                    <a:pt x="2345015" y="439343"/>
                  </a:lnTo>
                  <a:lnTo>
                    <a:pt x="2343342" y="444332"/>
                  </a:lnTo>
                  <a:lnTo>
                    <a:pt x="2345015" y="449320"/>
                  </a:lnTo>
                  <a:lnTo>
                    <a:pt x="2351695" y="450983"/>
                  </a:lnTo>
                  <a:lnTo>
                    <a:pt x="2348351" y="459297"/>
                  </a:lnTo>
                  <a:lnTo>
                    <a:pt x="2345015" y="465949"/>
                  </a:lnTo>
                  <a:lnTo>
                    <a:pt x="2341669" y="460960"/>
                  </a:lnTo>
                  <a:lnTo>
                    <a:pt x="2336651" y="479251"/>
                  </a:lnTo>
                  <a:lnTo>
                    <a:pt x="2331632" y="480914"/>
                  </a:lnTo>
                  <a:lnTo>
                    <a:pt x="2328286" y="489229"/>
                  </a:lnTo>
                  <a:lnTo>
                    <a:pt x="2324943" y="484240"/>
                  </a:lnTo>
                  <a:lnTo>
                    <a:pt x="2311566" y="479251"/>
                  </a:lnTo>
                  <a:lnTo>
                    <a:pt x="2303212" y="472600"/>
                  </a:lnTo>
                  <a:lnTo>
                    <a:pt x="2301539" y="475926"/>
                  </a:lnTo>
                  <a:lnTo>
                    <a:pt x="2286485" y="460960"/>
                  </a:lnTo>
                  <a:lnTo>
                    <a:pt x="2283141" y="469275"/>
                  </a:lnTo>
                  <a:lnTo>
                    <a:pt x="2261409" y="459297"/>
                  </a:lnTo>
                  <a:lnTo>
                    <a:pt x="2278125" y="475926"/>
                  </a:lnTo>
                  <a:lnTo>
                    <a:pt x="2296521" y="495881"/>
                  </a:lnTo>
                  <a:lnTo>
                    <a:pt x="2296521" y="509183"/>
                  </a:lnTo>
                  <a:lnTo>
                    <a:pt x="2264754" y="499206"/>
                  </a:lnTo>
                  <a:lnTo>
                    <a:pt x="2232979" y="485903"/>
                  </a:lnTo>
                  <a:lnTo>
                    <a:pt x="2207898" y="475926"/>
                  </a:lnTo>
                  <a:lnTo>
                    <a:pt x="2197865" y="469275"/>
                  </a:lnTo>
                  <a:lnTo>
                    <a:pt x="2212914" y="462623"/>
                  </a:lnTo>
                  <a:lnTo>
                    <a:pt x="2197865" y="460960"/>
                  </a:lnTo>
                  <a:lnTo>
                    <a:pt x="2196193" y="454308"/>
                  </a:lnTo>
                  <a:lnTo>
                    <a:pt x="2184494" y="445995"/>
                  </a:lnTo>
                  <a:lnTo>
                    <a:pt x="2187840" y="436017"/>
                  </a:lnTo>
                  <a:lnTo>
                    <a:pt x="2181149" y="434355"/>
                  </a:lnTo>
                  <a:lnTo>
                    <a:pt x="2167768" y="442668"/>
                  </a:lnTo>
                  <a:lnTo>
                    <a:pt x="2167768" y="434355"/>
                  </a:lnTo>
                  <a:lnTo>
                    <a:pt x="2162752" y="426040"/>
                  </a:lnTo>
                  <a:lnTo>
                    <a:pt x="2157736" y="436017"/>
                  </a:lnTo>
                  <a:lnTo>
                    <a:pt x="2141019" y="436017"/>
                  </a:lnTo>
                  <a:lnTo>
                    <a:pt x="2136000" y="441005"/>
                  </a:lnTo>
                  <a:lnTo>
                    <a:pt x="2112598" y="444332"/>
                  </a:lnTo>
                  <a:lnTo>
                    <a:pt x="2087509" y="436017"/>
                  </a:lnTo>
                  <a:lnTo>
                    <a:pt x="2112598" y="416062"/>
                  </a:lnTo>
                  <a:lnTo>
                    <a:pt x="2146037" y="419388"/>
                  </a:lnTo>
                  <a:lnTo>
                    <a:pt x="2146037" y="421052"/>
                  </a:lnTo>
                  <a:lnTo>
                    <a:pt x="2146037" y="431029"/>
                  </a:lnTo>
                  <a:lnTo>
                    <a:pt x="2151055" y="426040"/>
                  </a:lnTo>
                  <a:lnTo>
                    <a:pt x="2146037" y="421052"/>
                  </a:lnTo>
                  <a:lnTo>
                    <a:pt x="2192849" y="411074"/>
                  </a:lnTo>
                  <a:lnTo>
                    <a:pt x="2186167" y="396109"/>
                  </a:lnTo>
                  <a:lnTo>
                    <a:pt x="2214587" y="384469"/>
                  </a:lnTo>
                  <a:lnTo>
                    <a:pt x="2256391" y="386131"/>
                  </a:lnTo>
                  <a:lnTo>
                    <a:pt x="2251372" y="396109"/>
                  </a:lnTo>
                  <a:lnTo>
                    <a:pt x="2261409" y="394445"/>
                  </a:lnTo>
                  <a:lnTo>
                    <a:pt x="2283141" y="394445"/>
                  </a:lnTo>
                  <a:lnTo>
                    <a:pt x="2291502" y="386131"/>
                  </a:lnTo>
                  <a:lnTo>
                    <a:pt x="2271437" y="372829"/>
                  </a:lnTo>
                  <a:lnTo>
                    <a:pt x="2256391" y="382806"/>
                  </a:lnTo>
                  <a:lnTo>
                    <a:pt x="2226297" y="381142"/>
                  </a:lnTo>
                  <a:lnTo>
                    <a:pt x="2244683" y="371165"/>
                  </a:lnTo>
                  <a:lnTo>
                    <a:pt x="2248028" y="342897"/>
                  </a:lnTo>
                  <a:lnTo>
                    <a:pt x="2236323" y="341234"/>
                  </a:lnTo>
                  <a:lnTo>
                    <a:pt x="2241339" y="329594"/>
                  </a:lnTo>
                  <a:lnTo>
                    <a:pt x="2234651" y="334583"/>
                  </a:lnTo>
                  <a:lnTo>
                    <a:pt x="2224624" y="324605"/>
                  </a:lnTo>
                  <a:lnTo>
                    <a:pt x="2214587" y="322942"/>
                  </a:lnTo>
                  <a:lnTo>
                    <a:pt x="2191186" y="331256"/>
                  </a:lnTo>
                  <a:lnTo>
                    <a:pt x="2192849" y="324605"/>
                  </a:lnTo>
                  <a:lnTo>
                    <a:pt x="2211242" y="321280"/>
                  </a:lnTo>
                  <a:lnTo>
                    <a:pt x="2206226" y="304652"/>
                  </a:lnTo>
                  <a:lnTo>
                    <a:pt x="2196193" y="306313"/>
                  </a:lnTo>
                  <a:lnTo>
                    <a:pt x="2202882" y="302988"/>
                  </a:lnTo>
                  <a:lnTo>
                    <a:pt x="2186167" y="301325"/>
                  </a:lnTo>
                  <a:lnTo>
                    <a:pt x="2192849" y="293010"/>
                  </a:lnTo>
                  <a:lnTo>
                    <a:pt x="2177803" y="289685"/>
                  </a:lnTo>
                  <a:lnTo>
                    <a:pt x="2177803" y="281370"/>
                  </a:lnTo>
                  <a:lnTo>
                    <a:pt x="2164424" y="286360"/>
                  </a:lnTo>
                  <a:lnTo>
                    <a:pt x="2167768" y="299662"/>
                  </a:lnTo>
                  <a:lnTo>
                    <a:pt x="2112598" y="293010"/>
                  </a:lnTo>
                  <a:lnTo>
                    <a:pt x="2125967" y="302988"/>
                  </a:lnTo>
                  <a:lnTo>
                    <a:pt x="2092525" y="289685"/>
                  </a:lnTo>
                  <a:lnTo>
                    <a:pt x="2110925" y="299662"/>
                  </a:lnTo>
                  <a:lnTo>
                    <a:pt x="2037347" y="296336"/>
                  </a:lnTo>
                  <a:lnTo>
                    <a:pt x="2027320" y="286360"/>
                  </a:lnTo>
                  <a:lnTo>
                    <a:pt x="2020628" y="289685"/>
                  </a:lnTo>
                  <a:lnTo>
                    <a:pt x="2017283" y="289685"/>
                  </a:lnTo>
                  <a:lnTo>
                    <a:pt x="1993881" y="284696"/>
                  </a:lnTo>
                  <a:lnTo>
                    <a:pt x="1990535" y="273057"/>
                  </a:lnTo>
                  <a:lnTo>
                    <a:pt x="2027320" y="273057"/>
                  </a:lnTo>
                  <a:lnTo>
                    <a:pt x="1985516" y="263079"/>
                  </a:lnTo>
                  <a:lnTo>
                    <a:pt x="2025647" y="229822"/>
                  </a:lnTo>
                  <a:lnTo>
                    <a:pt x="2062431" y="211531"/>
                  </a:lnTo>
                  <a:close/>
                  <a:moveTo>
                    <a:pt x="1830903" y="204879"/>
                  </a:moveTo>
                  <a:lnTo>
                    <a:pt x="1904164" y="204879"/>
                  </a:lnTo>
                  <a:lnTo>
                    <a:pt x="1887521" y="227248"/>
                  </a:lnTo>
                  <a:lnTo>
                    <a:pt x="1870864" y="248017"/>
                  </a:lnTo>
                  <a:lnTo>
                    <a:pt x="1837569" y="249616"/>
                  </a:lnTo>
                  <a:lnTo>
                    <a:pt x="1830903" y="257605"/>
                  </a:lnTo>
                  <a:lnTo>
                    <a:pt x="1802601" y="241627"/>
                  </a:lnTo>
                  <a:lnTo>
                    <a:pt x="1777621" y="227248"/>
                  </a:lnTo>
                  <a:lnTo>
                    <a:pt x="1822585" y="227248"/>
                  </a:lnTo>
                  <a:lnTo>
                    <a:pt x="1839228" y="217660"/>
                  </a:lnTo>
                  <a:close/>
                  <a:moveTo>
                    <a:pt x="1757397" y="204879"/>
                  </a:moveTo>
                  <a:lnTo>
                    <a:pt x="1764068" y="209774"/>
                  </a:lnTo>
                  <a:lnTo>
                    <a:pt x="1730706" y="224462"/>
                  </a:lnTo>
                  <a:lnTo>
                    <a:pt x="1717364" y="211407"/>
                  </a:lnTo>
                  <a:close/>
                  <a:moveTo>
                    <a:pt x="6245383" y="200360"/>
                  </a:moveTo>
                  <a:lnTo>
                    <a:pt x="6287138" y="211960"/>
                  </a:lnTo>
                  <a:lnTo>
                    <a:pt x="6295489" y="216931"/>
                  </a:lnTo>
                  <a:lnTo>
                    <a:pt x="6218660" y="210302"/>
                  </a:lnTo>
                  <a:close/>
                  <a:moveTo>
                    <a:pt x="6202089" y="194334"/>
                  </a:moveTo>
                  <a:lnTo>
                    <a:pt x="6215647" y="194334"/>
                  </a:lnTo>
                  <a:lnTo>
                    <a:pt x="6215647" y="200360"/>
                  </a:lnTo>
                  <a:close/>
                  <a:moveTo>
                    <a:pt x="1955120" y="194334"/>
                  </a:moveTo>
                  <a:lnTo>
                    <a:pt x="2032213" y="200924"/>
                  </a:lnTo>
                  <a:lnTo>
                    <a:pt x="2012102" y="209163"/>
                  </a:lnTo>
                  <a:lnTo>
                    <a:pt x="1980264" y="223992"/>
                  </a:lnTo>
                  <a:lnTo>
                    <a:pt x="1935009" y="227287"/>
                  </a:lnTo>
                  <a:lnTo>
                    <a:pt x="1941717" y="232230"/>
                  </a:lnTo>
                  <a:lnTo>
                    <a:pt x="1921607" y="243764"/>
                  </a:lnTo>
                  <a:lnTo>
                    <a:pt x="1898138" y="247060"/>
                  </a:lnTo>
                  <a:lnTo>
                    <a:pt x="1901497" y="242117"/>
                  </a:lnTo>
                  <a:lnTo>
                    <a:pt x="1924954" y="209163"/>
                  </a:lnTo>
                  <a:lnTo>
                    <a:pt x="1941717" y="207515"/>
                  </a:lnTo>
                  <a:lnTo>
                    <a:pt x="1940044" y="200924"/>
                  </a:lnTo>
                  <a:close/>
                  <a:moveTo>
                    <a:pt x="5710840" y="186801"/>
                  </a:moveTo>
                  <a:lnTo>
                    <a:pt x="5713997" y="194334"/>
                  </a:lnTo>
                  <a:lnTo>
                    <a:pt x="5680855" y="189313"/>
                  </a:lnTo>
                  <a:close/>
                  <a:moveTo>
                    <a:pt x="1489500" y="186801"/>
                  </a:moveTo>
                  <a:lnTo>
                    <a:pt x="1506293" y="191782"/>
                  </a:lnTo>
                  <a:lnTo>
                    <a:pt x="1511330" y="196763"/>
                  </a:lnTo>
                  <a:lnTo>
                    <a:pt x="1548258" y="191782"/>
                  </a:lnTo>
                  <a:lnTo>
                    <a:pt x="1566717" y="210044"/>
                  </a:lnTo>
                  <a:lnTo>
                    <a:pt x="1513003" y="221666"/>
                  </a:lnTo>
                  <a:lnTo>
                    <a:pt x="1460965" y="233286"/>
                  </a:lnTo>
                  <a:lnTo>
                    <a:pt x="1439146" y="241587"/>
                  </a:lnTo>
                  <a:lnTo>
                    <a:pt x="1402218" y="259849"/>
                  </a:lnTo>
                  <a:lnTo>
                    <a:pt x="1350180" y="268151"/>
                  </a:lnTo>
                  <a:lnTo>
                    <a:pt x="1341781" y="249889"/>
                  </a:lnTo>
                  <a:lnTo>
                    <a:pt x="1331709" y="241587"/>
                  </a:lnTo>
                  <a:lnTo>
                    <a:pt x="1366962" y="228306"/>
                  </a:lnTo>
                  <a:lnTo>
                    <a:pt x="1378711" y="220005"/>
                  </a:lnTo>
                  <a:lnTo>
                    <a:pt x="1419000" y="201743"/>
                  </a:lnTo>
                  <a:lnTo>
                    <a:pt x="1417327" y="190122"/>
                  </a:lnTo>
                  <a:close/>
                  <a:moveTo>
                    <a:pt x="6262348" y="161192"/>
                  </a:moveTo>
                  <a:lnTo>
                    <a:pt x="6286298" y="164204"/>
                  </a:lnTo>
                  <a:lnTo>
                    <a:pt x="6363281" y="170231"/>
                  </a:lnTo>
                  <a:lnTo>
                    <a:pt x="6354727" y="177762"/>
                  </a:lnTo>
                  <a:lnTo>
                    <a:pt x="6270901" y="168724"/>
                  </a:lnTo>
                  <a:close/>
                  <a:moveTo>
                    <a:pt x="1983232" y="161191"/>
                  </a:moveTo>
                  <a:lnTo>
                    <a:pt x="1997569" y="171736"/>
                  </a:lnTo>
                  <a:lnTo>
                    <a:pt x="1991199" y="177762"/>
                  </a:lnTo>
                  <a:lnTo>
                    <a:pt x="1957751" y="177762"/>
                  </a:lnTo>
                  <a:lnTo>
                    <a:pt x="1941825" y="173243"/>
                  </a:lnTo>
                  <a:close/>
                  <a:moveTo>
                    <a:pt x="6061989" y="153660"/>
                  </a:moveTo>
                  <a:lnTo>
                    <a:pt x="6079941" y="160689"/>
                  </a:lnTo>
                  <a:lnTo>
                    <a:pt x="6081573" y="164204"/>
                  </a:lnTo>
                  <a:close/>
                  <a:moveTo>
                    <a:pt x="6149331" y="147634"/>
                  </a:moveTo>
                  <a:lnTo>
                    <a:pt x="6245777" y="163129"/>
                  </a:lnTo>
                  <a:lnTo>
                    <a:pt x="6244142" y="170015"/>
                  </a:lnTo>
                  <a:lnTo>
                    <a:pt x="6227795" y="173459"/>
                  </a:lnTo>
                  <a:lnTo>
                    <a:pt x="6237603" y="175180"/>
                  </a:lnTo>
                  <a:lnTo>
                    <a:pt x="6216353" y="175180"/>
                  </a:lnTo>
                  <a:lnTo>
                    <a:pt x="6168947" y="178624"/>
                  </a:lnTo>
                  <a:lnTo>
                    <a:pt x="6167313" y="183788"/>
                  </a:lnTo>
                  <a:lnTo>
                    <a:pt x="6108464" y="168293"/>
                  </a:lnTo>
                  <a:lnTo>
                    <a:pt x="6101926" y="163129"/>
                  </a:lnTo>
                  <a:lnTo>
                    <a:pt x="6092118" y="157964"/>
                  </a:lnTo>
                  <a:lnTo>
                    <a:pt x="6093752" y="154520"/>
                  </a:lnTo>
                  <a:lnTo>
                    <a:pt x="6111734" y="149356"/>
                  </a:lnTo>
                  <a:lnTo>
                    <a:pt x="6159139" y="157964"/>
                  </a:lnTo>
                  <a:lnTo>
                    <a:pt x="6149331" y="151077"/>
                  </a:lnTo>
                  <a:lnTo>
                    <a:pt x="6160774" y="151077"/>
                  </a:lnTo>
                  <a:close/>
                  <a:moveTo>
                    <a:pt x="2041770" y="144279"/>
                  </a:moveTo>
                  <a:lnTo>
                    <a:pt x="2105295" y="148568"/>
                  </a:lnTo>
                  <a:lnTo>
                    <a:pt x="2065365" y="148568"/>
                  </a:lnTo>
                  <a:lnTo>
                    <a:pt x="2093646" y="158230"/>
                  </a:lnTo>
                  <a:lnTo>
                    <a:pt x="2153538" y="158230"/>
                  </a:lnTo>
                  <a:lnTo>
                    <a:pt x="2213424" y="155010"/>
                  </a:lnTo>
                  <a:lnTo>
                    <a:pt x="2256678" y="164672"/>
                  </a:lnTo>
                  <a:lnTo>
                    <a:pt x="2250023" y="177555"/>
                  </a:lnTo>
                  <a:lnTo>
                    <a:pt x="2193460" y="177555"/>
                  </a:lnTo>
                  <a:lnTo>
                    <a:pt x="2135235" y="179165"/>
                  </a:lnTo>
                  <a:lnTo>
                    <a:pt x="2080338" y="179165"/>
                  </a:lnTo>
                  <a:lnTo>
                    <a:pt x="2022121" y="180775"/>
                  </a:lnTo>
                  <a:lnTo>
                    <a:pt x="2032094" y="161451"/>
                  </a:lnTo>
                  <a:close/>
                  <a:moveTo>
                    <a:pt x="2035126" y="142748"/>
                  </a:moveTo>
                  <a:lnTo>
                    <a:pt x="2042075" y="143737"/>
                  </a:lnTo>
                  <a:lnTo>
                    <a:pt x="2041770" y="144279"/>
                  </a:lnTo>
                  <a:lnTo>
                    <a:pt x="2033759" y="143737"/>
                  </a:lnTo>
                  <a:close/>
                  <a:moveTo>
                    <a:pt x="1952078" y="137089"/>
                  </a:moveTo>
                  <a:lnTo>
                    <a:pt x="1955388" y="144262"/>
                  </a:lnTo>
                  <a:lnTo>
                    <a:pt x="1938839" y="158609"/>
                  </a:lnTo>
                  <a:lnTo>
                    <a:pt x="1945459" y="160402"/>
                  </a:lnTo>
                  <a:lnTo>
                    <a:pt x="1942148" y="165783"/>
                  </a:lnTo>
                  <a:lnTo>
                    <a:pt x="1928910" y="165783"/>
                  </a:lnTo>
                  <a:lnTo>
                    <a:pt x="1922292" y="171162"/>
                  </a:lnTo>
                  <a:lnTo>
                    <a:pt x="1918982" y="174749"/>
                  </a:lnTo>
                  <a:lnTo>
                    <a:pt x="1879271" y="171162"/>
                  </a:lnTo>
                  <a:lnTo>
                    <a:pt x="1880926" y="169370"/>
                  </a:lnTo>
                  <a:lnTo>
                    <a:pt x="1920637" y="160402"/>
                  </a:lnTo>
                  <a:lnTo>
                    <a:pt x="1854458" y="160402"/>
                  </a:lnTo>
                  <a:lnTo>
                    <a:pt x="1879271" y="155022"/>
                  </a:lnTo>
                  <a:lnTo>
                    <a:pt x="1880926" y="153229"/>
                  </a:lnTo>
                  <a:lnTo>
                    <a:pt x="1880926" y="149642"/>
                  </a:lnTo>
                  <a:lnTo>
                    <a:pt x="1892509" y="147849"/>
                  </a:lnTo>
                  <a:lnTo>
                    <a:pt x="1885890" y="144262"/>
                  </a:lnTo>
                  <a:lnTo>
                    <a:pt x="1902436" y="149642"/>
                  </a:lnTo>
                  <a:lnTo>
                    <a:pt x="1909054" y="151435"/>
                  </a:lnTo>
                  <a:lnTo>
                    <a:pt x="1918982" y="149642"/>
                  </a:lnTo>
                  <a:lnTo>
                    <a:pt x="1905745" y="140675"/>
                  </a:lnTo>
                  <a:lnTo>
                    <a:pt x="1935529" y="140675"/>
                  </a:lnTo>
                  <a:close/>
                  <a:moveTo>
                    <a:pt x="2047070" y="134076"/>
                  </a:moveTo>
                  <a:lnTo>
                    <a:pt x="2035126" y="142748"/>
                  </a:lnTo>
                  <a:lnTo>
                    <a:pt x="1985516" y="135686"/>
                  </a:lnTo>
                  <a:close/>
                  <a:moveTo>
                    <a:pt x="1777709" y="134076"/>
                  </a:moveTo>
                  <a:lnTo>
                    <a:pt x="1762688" y="157337"/>
                  </a:lnTo>
                  <a:lnTo>
                    <a:pt x="1807751" y="154236"/>
                  </a:lnTo>
                  <a:lnTo>
                    <a:pt x="1771033" y="171294"/>
                  </a:lnTo>
                  <a:lnTo>
                    <a:pt x="1742667" y="169743"/>
                  </a:lnTo>
                  <a:lnTo>
                    <a:pt x="1690919" y="177496"/>
                  </a:lnTo>
                  <a:lnTo>
                    <a:pt x="1637513" y="186801"/>
                  </a:lnTo>
                  <a:lnTo>
                    <a:pt x="1612475" y="179048"/>
                  </a:lnTo>
                  <a:lnTo>
                    <a:pt x="1689250" y="168192"/>
                  </a:lnTo>
                  <a:lnTo>
                    <a:pt x="1630839" y="166641"/>
                  </a:lnTo>
                  <a:lnTo>
                    <a:pt x="1575761" y="166641"/>
                  </a:lnTo>
                  <a:lnTo>
                    <a:pt x="1629166" y="158888"/>
                  </a:lnTo>
                  <a:lnTo>
                    <a:pt x="1605800" y="157337"/>
                  </a:lnTo>
                  <a:lnTo>
                    <a:pt x="1640849" y="152685"/>
                  </a:lnTo>
                  <a:lnTo>
                    <a:pt x="1625827" y="148032"/>
                  </a:lnTo>
                  <a:lnTo>
                    <a:pt x="1690919" y="151133"/>
                  </a:lnTo>
                  <a:lnTo>
                    <a:pt x="1735983" y="161990"/>
                  </a:lnTo>
                  <a:lnTo>
                    <a:pt x="1737652" y="143380"/>
                  </a:lnTo>
                  <a:close/>
                  <a:moveTo>
                    <a:pt x="4850428" y="131062"/>
                  </a:moveTo>
                  <a:lnTo>
                    <a:pt x="4870380" y="137691"/>
                  </a:lnTo>
                  <a:lnTo>
                    <a:pt x="4853753" y="147634"/>
                  </a:lnTo>
                  <a:lnTo>
                    <a:pt x="4803872" y="159233"/>
                  </a:lnTo>
                  <a:lnTo>
                    <a:pt x="4753992" y="170834"/>
                  </a:lnTo>
                  <a:lnTo>
                    <a:pt x="4742353" y="172490"/>
                  </a:lnTo>
                  <a:lnTo>
                    <a:pt x="4747341" y="177462"/>
                  </a:lnTo>
                  <a:lnTo>
                    <a:pt x="4744016" y="180775"/>
                  </a:lnTo>
                  <a:lnTo>
                    <a:pt x="4734040" y="182433"/>
                  </a:lnTo>
                  <a:lnTo>
                    <a:pt x="4735703" y="187404"/>
                  </a:lnTo>
                  <a:lnTo>
                    <a:pt x="4715750" y="184090"/>
                  </a:lnTo>
                  <a:lnTo>
                    <a:pt x="4722401" y="192376"/>
                  </a:lnTo>
                  <a:lnTo>
                    <a:pt x="4714088" y="197347"/>
                  </a:lnTo>
                  <a:lnTo>
                    <a:pt x="4720738" y="203975"/>
                  </a:lnTo>
                  <a:lnTo>
                    <a:pt x="4695798" y="200662"/>
                  </a:lnTo>
                  <a:lnTo>
                    <a:pt x="4717413" y="207289"/>
                  </a:lnTo>
                  <a:lnTo>
                    <a:pt x="4705774" y="207289"/>
                  </a:lnTo>
                  <a:lnTo>
                    <a:pt x="4710762" y="213918"/>
                  </a:lnTo>
                  <a:lnTo>
                    <a:pt x="4657557" y="210604"/>
                  </a:lnTo>
                  <a:lnTo>
                    <a:pt x="4667533" y="203975"/>
                  </a:lnTo>
                  <a:lnTo>
                    <a:pt x="4645918" y="203975"/>
                  </a:lnTo>
                  <a:lnTo>
                    <a:pt x="4667533" y="192376"/>
                  </a:lnTo>
                  <a:lnTo>
                    <a:pt x="4674183" y="192376"/>
                  </a:lnTo>
                  <a:lnTo>
                    <a:pt x="4665870" y="189062"/>
                  </a:lnTo>
                  <a:lnTo>
                    <a:pt x="4670858" y="184090"/>
                  </a:lnTo>
                  <a:lnTo>
                    <a:pt x="4682497" y="179119"/>
                  </a:lnTo>
                  <a:lnTo>
                    <a:pt x="4674183" y="177462"/>
                  </a:lnTo>
                  <a:lnTo>
                    <a:pt x="4677509" y="172490"/>
                  </a:lnTo>
                  <a:lnTo>
                    <a:pt x="4665870" y="172490"/>
                  </a:lnTo>
                  <a:lnTo>
                    <a:pt x="4680834" y="167519"/>
                  </a:lnTo>
                  <a:lnTo>
                    <a:pt x="4692473" y="162548"/>
                  </a:lnTo>
                  <a:lnTo>
                    <a:pt x="4734040" y="150948"/>
                  </a:lnTo>
                  <a:lnTo>
                    <a:pt x="4740691" y="147634"/>
                  </a:lnTo>
                  <a:lnTo>
                    <a:pt x="4817174" y="137691"/>
                  </a:lnTo>
                  <a:close/>
                  <a:moveTo>
                    <a:pt x="1653215" y="117504"/>
                  </a:moveTo>
                  <a:lnTo>
                    <a:pt x="1679709" y="120948"/>
                  </a:lnTo>
                  <a:lnTo>
                    <a:pt x="1656525" y="127835"/>
                  </a:lnTo>
                  <a:lnTo>
                    <a:pt x="1659835" y="129556"/>
                  </a:lnTo>
                  <a:lnTo>
                    <a:pt x="1653215" y="131278"/>
                  </a:lnTo>
                  <a:lnTo>
                    <a:pt x="1626723" y="138165"/>
                  </a:lnTo>
                  <a:lnTo>
                    <a:pt x="1611826" y="146773"/>
                  </a:lnTo>
                  <a:lnTo>
                    <a:pt x="1611826" y="138165"/>
                  </a:lnTo>
                  <a:lnTo>
                    <a:pt x="1616791" y="132999"/>
                  </a:lnTo>
                  <a:lnTo>
                    <a:pt x="1593610" y="139887"/>
                  </a:lnTo>
                  <a:lnTo>
                    <a:pt x="1577056" y="146773"/>
                  </a:lnTo>
                  <a:lnTo>
                    <a:pt x="1572092" y="143330"/>
                  </a:lnTo>
                  <a:lnTo>
                    <a:pt x="1560498" y="151938"/>
                  </a:lnTo>
                  <a:lnTo>
                    <a:pt x="1543942" y="153660"/>
                  </a:lnTo>
                  <a:lnTo>
                    <a:pt x="1543942" y="148494"/>
                  </a:lnTo>
                  <a:lnTo>
                    <a:pt x="1530703" y="151938"/>
                  </a:lnTo>
                  <a:lnTo>
                    <a:pt x="1512485" y="150216"/>
                  </a:lnTo>
                  <a:lnTo>
                    <a:pt x="1522426" y="143330"/>
                  </a:lnTo>
                  <a:lnTo>
                    <a:pt x="1583677" y="129556"/>
                  </a:lnTo>
                  <a:lnTo>
                    <a:pt x="1626723" y="119226"/>
                  </a:lnTo>
                  <a:close/>
                  <a:moveTo>
                    <a:pt x="5445485" y="114492"/>
                  </a:moveTo>
                  <a:lnTo>
                    <a:pt x="5492346" y="121181"/>
                  </a:lnTo>
                  <a:lnTo>
                    <a:pt x="5468916" y="127869"/>
                  </a:lnTo>
                  <a:lnTo>
                    <a:pt x="5499040" y="127869"/>
                  </a:lnTo>
                  <a:lnTo>
                    <a:pt x="5525817" y="129541"/>
                  </a:lnTo>
                  <a:lnTo>
                    <a:pt x="5527491" y="139575"/>
                  </a:lnTo>
                  <a:lnTo>
                    <a:pt x="5549247" y="137902"/>
                  </a:lnTo>
                  <a:lnTo>
                    <a:pt x="5609496" y="139575"/>
                  </a:lnTo>
                  <a:lnTo>
                    <a:pt x="5639620" y="147935"/>
                  </a:lnTo>
                  <a:lnTo>
                    <a:pt x="5654683" y="149607"/>
                  </a:lnTo>
                  <a:lnTo>
                    <a:pt x="5658030" y="147935"/>
                  </a:lnTo>
                  <a:lnTo>
                    <a:pt x="5683133" y="161312"/>
                  </a:lnTo>
                  <a:lnTo>
                    <a:pt x="5654683" y="154623"/>
                  </a:lnTo>
                  <a:lnTo>
                    <a:pt x="5673092" y="161312"/>
                  </a:lnTo>
                  <a:lnTo>
                    <a:pt x="5688154" y="164656"/>
                  </a:lnTo>
                  <a:lnTo>
                    <a:pt x="5653009" y="191410"/>
                  </a:lnTo>
                  <a:lnTo>
                    <a:pt x="5616190" y="214819"/>
                  </a:lnTo>
                  <a:lnTo>
                    <a:pt x="5614517" y="219836"/>
                  </a:lnTo>
                  <a:lnTo>
                    <a:pt x="5649662" y="214819"/>
                  </a:lnTo>
                  <a:lnTo>
                    <a:pt x="5686480" y="204786"/>
                  </a:lnTo>
                  <a:lnTo>
                    <a:pt x="5656356" y="203115"/>
                  </a:lnTo>
                  <a:lnTo>
                    <a:pt x="5688154" y="198098"/>
                  </a:lnTo>
                  <a:lnTo>
                    <a:pt x="5688154" y="201442"/>
                  </a:lnTo>
                  <a:lnTo>
                    <a:pt x="5716605" y="201442"/>
                  </a:lnTo>
                  <a:lnTo>
                    <a:pt x="5738361" y="211475"/>
                  </a:lnTo>
                  <a:lnTo>
                    <a:pt x="5805304" y="209803"/>
                  </a:lnTo>
                  <a:lnTo>
                    <a:pt x="5835429" y="209803"/>
                  </a:lnTo>
                  <a:lnTo>
                    <a:pt x="5828734" y="213147"/>
                  </a:lnTo>
                  <a:lnTo>
                    <a:pt x="5867227" y="221507"/>
                  </a:lnTo>
                  <a:lnTo>
                    <a:pt x="5937517" y="229868"/>
                  </a:lnTo>
                  <a:lnTo>
                    <a:pt x="6007807" y="238229"/>
                  </a:lnTo>
                  <a:lnTo>
                    <a:pt x="6051320" y="261638"/>
                  </a:lnTo>
                  <a:lnTo>
                    <a:pt x="6019522" y="239901"/>
                  </a:lnTo>
                  <a:lnTo>
                    <a:pt x="6031237" y="238229"/>
                  </a:lnTo>
                  <a:lnTo>
                    <a:pt x="6074750" y="253277"/>
                  </a:lnTo>
                  <a:lnTo>
                    <a:pt x="6111569" y="269998"/>
                  </a:lnTo>
                  <a:lnTo>
                    <a:pt x="6141693" y="278359"/>
                  </a:lnTo>
                  <a:lnTo>
                    <a:pt x="6148388" y="264982"/>
                  </a:lnTo>
                  <a:lnTo>
                    <a:pt x="6136673" y="249933"/>
                  </a:lnTo>
                  <a:lnTo>
                    <a:pt x="6145040" y="253277"/>
                  </a:lnTo>
                  <a:lnTo>
                    <a:pt x="6188553" y="261638"/>
                  </a:lnTo>
                  <a:lnTo>
                    <a:pt x="6206963" y="254950"/>
                  </a:lnTo>
                  <a:lnTo>
                    <a:pt x="6260517" y="268326"/>
                  </a:lnTo>
                  <a:lnTo>
                    <a:pt x="6257170" y="263310"/>
                  </a:lnTo>
                  <a:lnTo>
                    <a:pt x="6250476" y="258294"/>
                  </a:lnTo>
                  <a:lnTo>
                    <a:pt x="6285621" y="259965"/>
                  </a:lnTo>
                  <a:lnTo>
                    <a:pt x="6272232" y="251606"/>
                  </a:lnTo>
                  <a:lnTo>
                    <a:pt x="6265538" y="243245"/>
                  </a:lnTo>
                  <a:lnTo>
                    <a:pt x="6257170" y="241572"/>
                  </a:lnTo>
                  <a:lnTo>
                    <a:pt x="6245455" y="239901"/>
                  </a:lnTo>
                  <a:lnTo>
                    <a:pt x="6272232" y="233212"/>
                  </a:lnTo>
                  <a:lnTo>
                    <a:pt x="6257170" y="228196"/>
                  </a:lnTo>
                  <a:lnTo>
                    <a:pt x="6322440" y="233212"/>
                  </a:lnTo>
                  <a:lnTo>
                    <a:pt x="6387709" y="238229"/>
                  </a:lnTo>
                  <a:lnTo>
                    <a:pt x="6389383" y="239901"/>
                  </a:lnTo>
                  <a:lnTo>
                    <a:pt x="6386035" y="244916"/>
                  </a:lnTo>
                  <a:lnTo>
                    <a:pt x="6392730" y="244916"/>
                  </a:lnTo>
                  <a:lnTo>
                    <a:pt x="6419507" y="239901"/>
                  </a:lnTo>
                  <a:lnTo>
                    <a:pt x="6463020" y="249933"/>
                  </a:lnTo>
                  <a:lnTo>
                    <a:pt x="6451305" y="253277"/>
                  </a:lnTo>
                  <a:lnTo>
                    <a:pt x="6476409" y="258294"/>
                  </a:lnTo>
                  <a:lnTo>
                    <a:pt x="6488124" y="259965"/>
                  </a:lnTo>
                  <a:lnTo>
                    <a:pt x="6488124" y="264982"/>
                  </a:lnTo>
                  <a:lnTo>
                    <a:pt x="6499839" y="261638"/>
                  </a:lnTo>
                  <a:lnTo>
                    <a:pt x="6536658" y="271672"/>
                  </a:lnTo>
                  <a:lnTo>
                    <a:pt x="6548373" y="275016"/>
                  </a:lnTo>
                  <a:lnTo>
                    <a:pt x="6593559" y="271672"/>
                  </a:lnTo>
                  <a:lnTo>
                    <a:pt x="6642093" y="269998"/>
                  </a:lnTo>
                  <a:lnTo>
                    <a:pt x="6688953" y="280032"/>
                  </a:lnTo>
                  <a:lnTo>
                    <a:pt x="6719077" y="298425"/>
                  </a:lnTo>
                  <a:lnTo>
                    <a:pt x="6749202" y="303442"/>
                  </a:lnTo>
                  <a:lnTo>
                    <a:pt x="6774305" y="315147"/>
                  </a:lnTo>
                  <a:lnTo>
                    <a:pt x="6777653" y="303442"/>
                  </a:lnTo>
                  <a:lnTo>
                    <a:pt x="6854637" y="308458"/>
                  </a:lnTo>
                  <a:lnTo>
                    <a:pt x="6878067" y="301769"/>
                  </a:lnTo>
                  <a:lnTo>
                    <a:pt x="6908191" y="315147"/>
                  </a:lnTo>
                  <a:lnTo>
                    <a:pt x="6918233" y="315147"/>
                  </a:lnTo>
                  <a:lnTo>
                    <a:pt x="6945010" y="325179"/>
                  </a:lnTo>
                  <a:lnTo>
                    <a:pt x="6963419" y="325179"/>
                  </a:lnTo>
                  <a:lnTo>
                    <a:pt x="6968440" y="321834"/>
                  </a:lnTo>
                  <a:lnTo>
                    <a:pt x="6938316" y="305113"/>
                  </a:lnTo>
                  <a:lnTo>
                    <a:pt x="6919907" y="293409"/>
                  </a:lnTo>
                  <a:lnTo>
                    <a:pt x="6970114" y="298425"/>
                  </a:lnTo>
                  <a:lnTo>
                    <a:pt x="7021995" y="298425"/>
                  </a:lnTo>
                  <a:lnTo>
                    <a:pt x="7082243" y="310129"/>
                  </a:lnTo>
                  <a:lnTo>
                    <a:pt x="7140819" y="321834"/>
                  </a:lnTo>
                  <a:lnTo>
                    <a:pt x="7180985" y="348589"/>
                  </a:lnTo>
                  <a:lnTo>
                    <a:pt x="7219477" y="375342"/>
                  </a:lnTo>
                  <a:lnTo>
                    <a:pt x="7256295" y="402097"/>
                  </a:lnTo>
                  <a:lnTo>
                    <a:pt x="7294787" y="430522"/>
                  </a:lnTo>
                  <a:lnTo>
                    <a:pt x="7273031" y="432195"/>
                  </a:lnTo>
                  <a:lnTo>
                    <a:pt x="7256295" y="430522"/>
                  </a:lnTo>
                  <a:lnTo>
                    <a:pt x="7283073" y="443899"/>
                  </a:lnTo>
                  <a:lnTo>
                    <a:pt x="7284746" y="440555"/>
                  </a:lnTo>
                  <a:lnTo>
                    <a:pt x="7321565" y="462292"/>
                  </a:lnTo>
                  <a:lnTo>
                    <a:pt x="7333280" y="465636"/>
                  </a:lnTo>
                  <a:lnTo>
                    <a:pt x="7356710" y="479013"/>
                  </a:lnTo>
                  <a:lnTo>
                    <a:pt x="7380140" y="490718"/>
                  </a:lnTo>
                  <a:lnTo>
                    <a:pt x="7376793" y="495734"/>
                  </a:lnTo>
                  <a:lnTo>
                    <a:pt x="7329933" y="485701"/>
                  </a:lnTo>
                  <a:lnTo>
                    <a:pt x="7321565" y="485701"/>
                  </a:lnTo>
                  <a:lnTo>
                    <a:pt x="7333280" y="490718"/>
                  </a:lnTo>
                  <a:lnTo>
                    <a:pt x="7311523" y="504095"/>
                  </a:lnTo>
                  <a:lnTo>
                    <a:pt x="7289767" y="519144"/>
                  </a:lnTo>
                  <a:lnTo>
                    <a:pt x="7284746" y="522489"/>
                  </a:lnTo>
                  <a:lnTo>
                    <a:pt x="7286420" y="530849"/>
                  </a:lnTo>
                  <a:lnTo>
                    <a:pt x="7284746" y="532521"/>
                  </a:lnTo>
                  <a:lnTo>
                    <a:pt x="7274705" y="552586"/>
                  </a:lnTo>
                  <a:lnTo>
                    <a:pt x="7274705" y="559275"/>
                  </a:lnTo>
                  <a:lnTo>
                    <a:pt x="7236213" y="542554"/>
                  </a:lnTo>
                  <a:lnTo>
                    <a:pt x="7199394" y="552586"/>
                  </a:lnTo>
                  <a:lnTo>
                    <a:pt x="7196047" y="564291"/>
                  </a:lnTo>
                  <a:lnTo>
                    <a:pt x="7175964" y="545898"/>
                  </a:lnTo>
                  <a:lnTo>
                    <a:pt x="7165922" y="555930"/>
                  </a:lnTo>
                  <a:lnTo>
                    <a:pt x="7170943" y="564291"/>
                  </a:lnTo>
                  <a:lnTo>
                    <a:pt x="7152533" y="559275"/>
                  </a:lnTo>
                  <a:lnTo>
                    <a:pt x="7139145" y="564291"/>
                  </a:lnTo>
                  <a:lnTo>
                    <a:pt x="7150860" y="582685"/>
                  </a:lnTo>
                  <a:lnTo>
                    <a:pt x="7162575" y="612783"/>
                  </a:lnTo>
                  <a:lnTo>
                    <a:pt x="7184331" y="621144"/>
                  </a:lnTo>
                  <a:lnTo>
                    <a:pt x="7196047" y="619471"/>
                  </a:lnTo>
                  <a:lnTo>
                    <a:pt x="7221150" y="649570"/>
                  </a:lnTo>
                  <a:lnTo>
                    <a:pt x="7232865" y="651242"/>
                  </a:lnTo>
                  <a:lnTo>
                    <a:pt x="7251275" y="671307"/>
                  </a:lnTo>
                  <a:lnTo>
                    <a:pt x="7234539" y="664619"/>
                  </a:lnTo>
                  <a:lnTo>
                    <a:pt x="7234539" y="659603"/>
                  </a:lnTo>
                  <a:lnTo>
                    <a:pt x="7232865" y="662947"/>
                  </a:lnTo>
                  <a:lnTo>
                    <a:pt x="7232865" y="679668"/>
                  </a:lnTo>
                  <a:lnTo>
                    <a:pt x="7269684" y="709766"/>
                  </a:lnTo>
                  <a:lnTo>
                    <a:pt x="7242907" y="721471"/>
                  </a:lnTo>
                  <a:lnTo>
                    <a:pt x="7262990" y="749896"/>
                  </a:lnTo>
                  <a:lnTo>
                    <a:pt x="7269684" y="753240"/>
                  </a:lnTo>
                  <a:lnTo>
                    <a:pt x="7251275" y="751568"/>
                  </a:lnTo>
                  <a:lnTo>
                    <a:pt x="7242907" y="756584"/>
                  </a:lnTo>
                  <a:lnTo>
                    <a:pt x="7262990" y="795043"/>
                  </a:lnTo>
                  <a:lnTo>
                    <a:pt x="7252948" y="813436"/>
                  </a:lnTo>
                  <a:lnTo>
                    <a:pt x="7219477" y="785010"/>
                  </a:lnTo>
                  <a:lnTo>
                    <a:pt x="7184331" y="754912"/>
                  </a:lnTo>
                  <a:lnTo>
                    <a:pt x="7149187" y="724814"/>
                  </a:lnTo>
                  <a:lnTo>
                    <a:pt x="7114041" y="694717"/>
                  </a:lnTo>
                  <a:lnTo>
                    <a:pt x="7093959" y="671307"/>
                  </a:lnTo>
                  <a:lnTo>
                    <a:pt x="7075549" y="646226"/>
                  </a:lnTo>
                  <a:lnTo>
                    <a:pt x="7072202" y="629504"/>
                  </a:lnTo>
                  <a:lnTo>
                    <a:pt x="7062161" y="619471"/>
                  </a:lnTo>
                  <a:lnTo>
                    <a:pt x="7083917" y="614455"/>
                  </a:lnTo>
                  <a:lnTo>
                    <a:pt x="7085591" y="586029"/>
                  </a:lnTo>
                  <a:lnTo>
                    <a:pt x="7092285" y="564291"/>
                  </a:lnTo>
                  <a:lnTo>
                    <a:pt x="7095632" y="542554"/>
                  </a:lnTo>
                  <a:lnTo>
                    <a:pt x="7109021" y="534194"/>
                  </a:lnTo>
                  <a:lnTo>
                    <a:pt x="7092285" y="514129"/>
                  </a:lnTo>
                  <a:lnTo>
                    <a:pt x="7073875" y="495734"/>
                  </a:lnTo>
                  <a:lnTo>
                    <a:pt x="7093959" y="495734"/>
                  </a:lnTo>
                  <a:lnTo>
                    <a:pt x="7090611" y="492390"/>
                  </a:lnTo>
                  <a:lnTo>
                    <a:pt x="7052119" y="489046"/>
                  </a:lnTo>
                  <a:lnTo>
                    <a:pt x="7045425" y="492390"/>
                  </a:lnTo>
                  <a:lnTo>
                    <a:pt x="7070528" y="515799"/>
                  </a:lnTo>
                  <a:lnTo>
                    <a:pt x="7055466" y="515799"/>
                  </a:lnTo>
                  <a:lnTo>
                    <a:pt x="7043751" y="542554"/>
                  </a:lnTo>
                  <a:lnTo>
                    <a:pt x="7030363" y="530849"/>
                  </a:lnTo>
                  <a:lnTo>
                    <a:pt x="7025342" y="534194"/>
                  </a:lnTo>
                  <a:lnTo>
                    <a:pt x="7001912" y="509112"/>
                  </a:lnTo>
                  <a:lnTo>
                    <a:pt x="6991870" y="512455"/>
                  </a:lnTo>
                  <a:lnTo>
                    <a:pt x="6945010" y="512455"/>
                  </a:lnTo>
                  <a:lnTo>
                    <a:pt x="6948357" y="540882"/>
                  </a:lnTo>
                  <a:lnTo>
                    <a:pt x="6948357" y="565964"/>
                  </a:lnTo>
                  <a:lnTo>
                    <a:pt x="6955051" y="574324"/>
                  </a:lnTo>
                  <a:lnTo>
                    <a:pt x="6978482" y="575996"/>
                  </a:lnTo>
                  <a:lnTo>
                    <a:pt x="6983503" y="582685"/>
                  </a:lnTo>
                  <a:lnTo>
                    <a:pt x="6951705" y="582685"/>
                  </a:lnTo>
                  <a:lnTo>
                    <a:pt x="6933295" y="589373"/>
                  </a:lnTo>
                  <a:lnTo>
                    <a:pt x="6911539" y="592717"/>
                  </a:lnTo>
                  <a:lnTo>
                    <a:pt x="6903171" y="582685"/>
                  </a:lnTo>
                  <a:lnTo>
                    <a:pt x="6913212" y="579340"/>
                  </a:lnTo>
                  <a:lnTo>
                    <a:pt x="6881414" y="570979"/>
                  </a:lnTo>
                  <a:lnTo>
                    <a:pt x="6839575" y="569307"/>
                  </a:lnTo>
                  <a:lnTo>
                    <a:pt x="6842922" y="574324"/>
                  </a:lnTo>
                  <a:lnTo>
                    <a:pt x="6842922" y="581012"/>
                  </a:lnTo>
                  <a:lnTo>
                    <a:pt x="6789367" y="575996"/>
                  </a:lnTo>
                  <a:lnTo>
                    <a:pt x="6784347" y="581012"/>
                  </a:lnTo>
                  <a:lnTo>
                    <a:pt x="6772632" y="574324"/>
                  </a:lnTo>
                  <a:lnTo>
                    <a:pt x="6764264" y="574324"/>
                  </a:lnTo>
                  <a:lnTo>
                    <a:pt x="6737487" y="581012"/>
                  </a:lnTo>
                  <a:lnTo>
                    <a:pt x="6709036" y="584356"/>
                  </a:lnTo>
                  <a:lnTo>
                    <a:pt x="6698995" y="609439"/>
                  </a:lnTo>
                  <a:lnTo>
                    <a:pt x="6704015" y="622816"/>
                  </a:lnTo>
                  <a:lnTo>
                    <a:pt x="6698995" y="639537"/>
                  </a:lnTo>
                  <a:lnTo>
                    <a:pt x="6690627" y="656258"/>
                  </a:lnTo>
                  <a:lnTo>
                    <a:pt x="6682259" y="683012"/>
                  </a:lnTo>
                  <a:lnTo>
                    <a:pt x="6673891" y="706421"/>
                  </a:lnTo>
                  <a:lnTo>
                    <a:pt x="6712383" y="713110"/>
                  </a:lnTo>
                  <a:lnTo>
                    <a:pt x="6732466" y="731503"/>
                  </a:lnTo>
                  <a:lnTo>
                    <a:pt x="6734139" y="726487"/>
                  </a:lnTo>
                  <a:lnTo>
                    <a:pt x="6749202" y="731503"/>
                  </a:lnTo>
                  <a:lnTo>
                    <a:pt x="6749202" y="741536"/>
                  </a:lnTo>
                  <a:lnTo>
                    <a:pt x="6769285" y="731503"/>
                  </a:lnTo>
                  <a:lnTo>
                    <a:pt x="6760917" y="719799"/>
                  </a:lnTo>
                  <a:lnTo>
                    <a:pt x="6791041" y="723143"/>
                  </a:lnTo>
                  <a:lnTo>
                    <a:pt x="6849616" y="753240"/>
                  </a:lnTo>
                  <a:lnTo>
                    <a:pt x="6834554" y="753240"/>
                  </a:lnTo>
                  <a:lnTo>
                    <a:pt x="6861331" y="769961"/>
                  </a:lnTo>
                  <a:lnTo>
                    <a:pt x="6878067" y="790027"/>
                  </a:lnTo>
                  <a:lnTo>
                    <a:pt x="6884761" y="806748"/>
                  </a:lnTo>
                  <a:lnTo>
                    <a:pt x="6891456" y="826813"/>
                  </a:lnTo>
                  <a:lnTo>
                    <a:pt x="6904844" y="843535"/>
                  </a:lnTo>
                  <a:lnTo>
                    <a:pt x="6918233" y="866944"/>
                  </a:lnTo>
                  <a:lnTo>
                    <a:pt x="6929948" y="892026"/>
                  </a:lnTo>
                  <a:lnTo>
                    <a:pt x="6928274" y="920452"/>
                  </a:lnTo>
                  <a:lnTo>
                    <a:pt x="6923254" y="947206"/>
                  </a:lnTo>
                  <a:lnTo>
                    <a:pt x="6921580" y="975632"/>
                  </a:lnTo>
                  <a:lnTo>
                    <a:pt x="6918233" y="1004058"/>
                  </a:lnTo>
                  <a:lnTo>
                    <a:pt x="6909865" y="1024123"/>
                  </a:lnTo>
                  <a:lnTo>
                    <a:pt x="6901497" y="1044189"/>
                  </a:lnTo>
                  <a:lnTo>
                    <a:pt x="6873046" y="1054221"/>
                  </a:lnTo>
                  <a:lnTo>
                    <a:pt x="6854637" y="1052549"/>
                  </a:lnTo>
                  <a:lnTo>
                    <a:pt x="6847943" y="1040845"/>
                  </a:lnTo>
                  <a:lnTo>
                    <a:pt x="6839575" y="1042517"/>
                  </a:lnTo>
                  <a:lnTo>
                    <a:pt x="6827860" y="1060910"/>
                  </a:lnTo>
                  <a:lnTo>
                    <a:pt x="6822839" y="1060910"/>
                  </a:lnTo>
                  <a:lnTo>
                    <a:pt x="6827860" y="1070943"/>
                  </a:lnTo>
                  <a:lnTo>
                    <a:pt x="6821165" y="1065926"/>
                  </a:lnTo>
                  <a:lnTo>
                    <a:pt x="6815510" y="1058863"/>
                  </a:lnTo>
                  <a:lnTo>
                    <a:pt x="6813726" y="1060053"/>
                  </a:lnTo>
                  <a:lnTo>
                    <a:pt x="6817564" y="1064853"/>
                  </a:lnTo>
                  <a:lnTo>
                    <a:pt x="6820501" y="1066408"/>
                  </a:lnTo>
                  <a:lnTo>
                    <a:pt x="6827121" y="1071374"/>
                  </a:lnTo>
                  <a:lnTo>
                    <a:pt x="6812226" y="1086273"/>
                  </a:lnTo>
                  <a:lnTo>
                    <a:pt x="6822156" y="1114416"/>
                  </a:lnTo>
                  <a:lnTo>
                    <a:pt x="6810571" y="1132626"/>
                  </a:lnTo>
                  <a:lnTo>
                    <a:pt x="6797331" y="1150836"/>
                  </a:lnTo>
                  <a:lnTo>
                    <a:pt x="6800641" y="1162424"/>
                  </a:lnTo>
                  <a:lnTo>
                    <a:pt x="6828776" y="1177323"/>
                  </a:lnTo>
                  <a:lnTo>
                    <a:pt x="6818846" y="1185600"/>
                  </a:lnTo>
                  <a:lnTo>
                    <a:pt x="6798986" y="1195533"/>
                  </a:lnTo>
                  <a:lnTo>
                    <a:pt x="6798986" y="1196412"/>
                  </a:lnTo>
                  <a:lnTo>
                    <a:pt x="6818532" y="1186475"/>
                  </a:lnTo>
                  <a:lnTo>
                    <a:pt x="6828475" y="1178051"/>
                  </a:lnTo>
                  <a:lnTo>
                    <a:pt x="6856645" y="1208378"/>
                  </a:lnTo>
                  <a:lnTo>
                    <a:pt x="6883159" y="1237021"/>
                  </a:lnTo>
                  <a:lnTo>
                    <a:pt x="6898073" y="1279142"/>
                  </a:lnTo>
                  <a:lnTo>
                    <a:pt x="6888130" y="1285882"/>
                  </a:lnTo>
                  <a:lnTo>
                    <a:pt x="6876531" y="1292621"/>
                  </a:lnTo>
                  <a:lnTo>
                    <a:pt x="6869902" y="1289251"/>
                  </a:lnTo>
                  <a:lnTo>
                    <a:pt x="6866588" y="1294306"/>
                  </a:lnTo>
                  <a:lnTo>
                    <a:pt x="6863274" y="1295991"/>
                  </a:lnTo>
                  <a:lnTo>
                    <a:pt x="6859960" y="1297676"/>
                  </a:lnTo>
                  <a:lnTo>
                    <a:pt x="6856645" y="1302730"/>
                  </a:lnTo>
                  <a:lnTo>
                    <a:pt x="6853331" y="1297676"/>
                  </a:lnTo>
                  <a:lnTo>
                    <a:pt x="6846703" y="1302730"/>
                  </a:lnTo>
                  <a:lnTo>
                    <a:pt x="6840075" y="1306100"/>
                  </a:lnTo>
                  <a:lnTo>
                    <a:pt x="6836760" y="1299360"/>
                  </a:lnTo>
                  <a:lnTo>
                    <a:pt x="6836760" y="1295991"/>
                  </a:lnTo>
                  <a:lnTo>
                    <a:pt x="6836760" y="1294306"/>
                  </a:lnTo>
                  <a:lnTo>
                    <a:pt x="6830132" y="1287566"/>
                  </a:lnTo>
                  <a:lnTo>
                    <a:pt x="6826818" y="1269033"/>
                  </a:lnTo>
                  <a:lnTo>
                    <a:pt x="6823503" y="1262294"/>
                  </a:lnTo>
                  <a:lnTo>
                    <a:pt x="6823503" y="1257239"/>
                  </a:lnTo>
                  <a:lnTo>
                    <a:pt x="6808590" y="1238706"/>
                  </a:lnTo>
                  <a:lnTo>
                    <a:pt x="6801961" y="1233651"/>
                  </a:lnTo>
                  <a:lnTo>
                    <a:pt x="6806933" y="1231966"/>
                  </a:lnTo>
                  <a:lnTo>
                    <a:pt x="6818532" y="1235336"/>
                  </a:lnTo>
                  <a:lnTo>
                    <a:pt x="6816875" y="1231966"/>
                  </a:lnTo>
                  <a:lnTo>
                    <a:pt x="6800304" y="1206693"/>
                  </a:lnTo>
                  <a:lnTo>
                    <a:pt x="6798647" y="1203324"/>
                  </a:lnTo>
                  <a:lnTo>
                    <a:pt x="6798647" y="1202087"/>
                  </a:lnTo>
                  <a:lnTo>
                    <a:pt x="6774161" y="1197189"/>
                  </a:lnTo>
                  <a:lnTo>
                    <a:pt x="6769197" y="1202155"/>
                  </a:lnTo>
                  <a:lnTo>
                    <a:pt x="6757612" y="1195533"/>
                  </a:lnTo>
                  <a:lnTo>
                    <a:pt x="6749337" y="1192222"/>
                  </a:lnTo>
                  <a:lnTo>
                    <a:pt x="6754302" y="1175668"/>
                  </a:lnTo>
                  <a:lnTo>
                    <a:pt x="6757612" y="1175668"/>
                  </a:lnTo>
                  <a:lnTo>
                    <a:pt x="6747682" y="1167390"/>
                  </a:lnTo>
                  <a:lnTo>
                    <a:pt x="6741062" y="1152491"/>
                  </a:lnTo>
                  <a:lnTo>
                    <a:pt x="6724512" y="1147525"/>
                  </a:lnTo>
                  <a:lnTo>
                    <a:pt x="6711806" y="1134816"/>
                  </a:lnTo>
                  <a:lnTo>
                    <a:pt x="6710051" y="1137010"/>
                  </a:lnTo>
                  <a:lnTo>
                    <a:pt x="6698345" y="1145375"/>
                  </a:lnTo>
                  <a:lnTo>
                    <a:pt x="6681623" y="1157086"/>
                  </a:lnTo>
                  <a:lnTo>
                    <a:pt x="6666574" y="1167124"/>
                  </a:lnTo>
                  <a:lnTo>
                    <a:pt x="6648180" y="1175489"/>
                  </a:lnTo>
                  <a:lnTo>
                    <a:pt x="6658213" y="1158759"/>
                  </a:lnTo>
                  <a:lnTo>
                    <a:pt x="6641491" y="1153740"/>
                  </a:lnTo>
                  <a:lnTo>
                    <a:pt x="6648180" y="1123627"/>
                  </a:lnTo>
                  <a:lnTo>
                    <a:pt x="6633130" y="1115262"/>
                  </a:lnTo>
                  <a:lnTo>
                    <a:pt x="6618080" y="1118608"/>
                  </a:lnTo>
                  <a:lnTo>
                    <a:pt x="6606375" y="1137010"/>
                  </a:lnTo>
                  <a:lnTo>
                    <a:pt x="6592998" y="1157086"/>
                  </a:lnTo>
                  <a:lnTo>
                    <a:pt x="6576276" y="1167124"/>
                  </a:lnTo>
                  <a:lnTo>
                    <a:pt x="6561226" y="1168797"/>
                  </a:lnTo>
                  <a:lnTo>
                    <a:pt x="6569587" y="1188873"/>
                  </a:lnTo>
                  <a:lnTo>
                    <a:pt x="6606375" y="1198911"/>
                  </a:lnTo>
                  <a:lnTo>
                    <a:pt x="6618080" y="1224006"/>
                  </a:lnTo>
                  <a:lnTo>
                    <a:pt x="6636474" y="1218987"/>
                  </a:lnTo>
                  <a:lnTo>
                    <a:pt x="6656541" y="1205603"/>
                  </a:lnTo>
                  <a:lnTo>
                    <a:pt x="6688312" y="1217314"/>
                  </a:lnTo>
                  <a:lnTo>
                    <a:pt x="6703362" y="1220660"/>
                  </a:lnTo>
                  <a:lnTo>
                    <a:pt x="6703362" y="1235717"/>
                  </a:lnTo>
                  <a:lnTo>
                    <a:pt x="6689984" y="1234044"/>
                  </a:lnTo>
                  <a:lnTo>
                    <a:pt x="6673263" y="1244082"/>
                  </a:lnTo>
                  <a:lnTo>
                    <a:pt x="6663229" y="1257466"/>
                  </a:lnTo>
                  <a:lnTo>
                    <a:pt x="6659885" y="1267504"/>
                  </a:lnTo>
                  <a:lnTo>
                    <a:pt x="6656541" y="1297617"/>
                  </a:lnTo>
                  <a:lnTo>
                    <a:pt x="6691657" y="1319366"/>
                  </a:lnTo>
                  <a:lnTo>
                    <a:pt x="6710051" y="1341115"/>
                  </a:lnTo>
                  <a:lnTo>
                    <a:pt x="6726773" y="1366210"/>
                  </a:lnTo>
                  <a:lnTo>
                    <a:pt x="6753527" y="1389632"/>
                  </a:lnTo>
                  <a:lnTo>
                    <a:pt x="6713395" y="1377921"/>
                  </a:lnTo>
                  <a:lnTo>
                    <a:pt x="6716739" y="1379594"/>
                  </a:lnTo>
                  <a:lnTo>
                    <a:pt x="6740150" y="1396324"/>
                  </a:lnTo>
                  <a:lnTo>
                    <a:pt x="6763561" y="1411381"/>
                  </a:lnTo>
                  <a:lnTo>
                    <a:pt x="6740150" y="1428111"/>
                  </a:lnTo>
                  <a:lnTo>
                    <a:pt x="6731789" y="1434803"/>
                  </a:lnTo>
                  <a:lnTo>
                    <a:pt x="6746839" y="1436476"/>
                  </a:lnTo>
                  <a:lnTo>
                    <a:pt x="6761889" y="1434803"/>
                  </a:lnTo>
                  <a:lnTo>
                    <a:pt x="6780283" y="1444841"/>
                  </a:lnTo>
                  <a:lnTo>
                    <a:pt x="6770249" y="1456552"/>
                  </a:lnTo>
                  <a:lnTo>
                    <a:pt x="6780283" y="1456552"/>
                  </a:lnTo>
                  <a:lnTo>
                    <a:pt x="6778610" y="1459897"/>
                  </a:lnTo>
                  <a:lnTo>
                    <a:pt x="6771922" y="1466589"/>
                  </a:lnTo>
                  <a:lnTo>
                    <a:pt x="6773594" y="1471608"/>
                  </a:lnTo>
                  <a:lnTo>
                    <a:pt x="6776938" y="1478300"/>
                  </a:lnTo>
                  <a:lnTo>
                    <a:pt x="6771922" y="1478300"/>
                  </a:lnTo>
                  <a:lnTo>
                    <a:pt x="6778610" y="1490011"/>
                  </a:lnTo>
                  <a:lnTo>
                    <a:pt x="6771922" y="1491684"/>
                  </a:lnTo>
                  <a:lnTo>
                    <a:pt x="6758544" y="1498376"/>
                  </a:lnTo>
                  <a:lnTo>
                    <a:pt x="6763561" y="1508414"/>
                  </a:lnTo>
                  <a:lnTo>
                    <a:pt x="6760216" y="1521798"/>
                  </a:lnTo>
                  <a:lnTo>
                    <a:pt x="6750183" y="1545220"/>
                  </a:lnTo>
                  <a:lnTo>
                    <a:pt x="6746839" y="1546893"/>
                  </a:lnTo>
                  <a:lnTo>
                    <a:pt x="6751855" y="1551912"/>
                  </a:lnTo>
                  <a:lnTo>
                    <a:pt x="6740150" y="1558604"/>
                  </a:lnTo>
                  <a:lnTo>
                    <a:pt x="6738478" y="1558604"/>
                  </a:lnTo>
                  <a:lnTo>
                    <a:pt x="6750183" y="1561950"/>
                  </a:lnTo>
                  <a:lnTo>
                    <a:pt x="6751855" y="1578680"/>
                  </a:lnTo>
                  <a:lnTo>
                    <a:pt x="6743494" y="1577007"/>
                  </a:lnTo>
                  <a:lnTo>
                    <a:pt x="6743494" y="1582026"/>
                  </a:lnTo>
                  <a:lnTo>
                    <a:pt x="6738478" y="1588718"/>
                  </a:lnTo>
                  <a:lnTo>
                    <a:pt x="6736806" y="1592064"/>
                  </a:lnTo>
                  <a:lnTo>
                    <a:pt x="6733461" y="1602102"/>
                  </a:lnTo>
                  <a:lnTo>
                    <a:pt x="6720084" y="1605448"/>
                  </a:lnTo>
                  <a:lnTo>
                    <a:pt x="6718412" y="1608794"/>
                  </a:lnTo>
                  <a:lnTo>
                    <a:pt x="6720084" y="1615486"/>
                  </a:lnTo>
                  <a:lnTo>
                    <a:pt x="6711723" y="1625523"/>
                  </a:lnTo>
                  <a:lnTo>
                    <a:pt x="6689984" y="1640580"/>
                  </a:lnTo>
                  <a:lnTo>
                    <a:pt x="6691657" y="1642253"/>
                  </a:lnTo>
                  <a:lnTo>
                    <a:pt x="6681623" y="1650618"/>
                  </a:lnTo>
                  <a:lnTo>
                    <a:pt x="6668246" y="1655637"/>
                  </a:lnTo>
                  <a:lnTo>
                    <a:pt x="6666574" y="1655637"/>
                  </a:lnTo>
                  <a:lnTo>
                    <a:pt x="6661557" y="1658983"/>
                  </a:lnTo>
                  <a:lnTo>
                    <a:pt x="6649852" y="1660656"/>
                  </a:lnTo>
                  <a:lnTo>
                    <a:pt x="6646507" y="1658983"/>
                  </a:lnTo>
                  <a:lnTo>
                    <a:pt x="6639819" y="1662329"/>
                  </a:lnTo>
                  <a:lnTo>
                    <a:pt x="6636474" y="1667348"/>
                  </a:lnTo>
                  <a:lnTo>
                    <a:pt x="6628113" y="1667348"/>
                  </a:lnTo>
                  <a:lnTo>
                    <a:pt x="6613064" y="1647272"/>
                  </a:lnTo>
                  <a:lnTo>
                    <a:pt x="6608047" y="1655637"/>
                  </a:lnTo>
                  <a:lnTo>
                    <a:pt x="6613064" y="1675713"/>
                  </a:lnTo>
                  <a:lnTo>
                    <a:pt x="6608047" y="1667348"/>
                  </a:lnTo>
                  <a:lnTo>
                    <a:pt x="6608047" y="1679059"/>
                  </a:lnTo>
                  <a:lnTo>
                    <a:pt x="6603031" y="1677386"/>
                  </a:lnTo>
                  <a:lnTo>
                    <a:pt x="6592998" y="1687424"/>
                  </a:lnTo>
                  <a:lnTo>
                    <a:pt x="6587981" y="1680732"/>
                  </a:lnTo>
                  <a:lnTo>
                    <a:pt x="6582965" y="1687424"/>
                  </a:lnTo>
                  <a:lnTo>
                    <a:pt x="6576276" y="1685751"/>
                  </a:lnTo>
                  <a:lnTo>
                    <a:pt x="6559554" y="1695789"/>
                  </a:lnTo>
                  <a:lnTo>
                    <a:pt x="6546176" y="1699135"/>
                  </a:lnTo>
                  <a:lnTo>
                    <a:pt x="6541160" y="1700808"/>
                  </a:lnTo>
                  <a:lnTo>
                    <a:pt x="6539488" y="1715865"/>
                  </a:lnTo>
                  <a:lnTo>
                    <a:pt x="6546176" y="1730922"/>
                  </a:lnTo>
                  <a:lnTo>
                    <a:pt x="6531127" y="1729249"/>
                  </a:lnTo>
                  <a:lnTo>
                    <a:pt x="6526110" y="1699135"/>
                  </a:lnTo>
                  <a:lnTo>
                    <a:pt x="6517749" y="1692443"/>
                  </a:lnTo>
                  <a:lnTo>
                    <a:pt x="6507716" y="1695789"/>
                  </a:lnTo>
                  <a:lnTo>
                    <a:pt x="6497683" y="1690770"/>
                  </a:lnTo>
                  <a:lnTo>
                    <a:pt x="6487650" y="1685751"/>
                  </a:lnTo>
                  <a:lnTo>
                    <a:pt x="6485978" y="1689097"/>
                  </a:lnTo>
                  <a:lnTo>
                    <a:pt x="6476052" y="1692408"/>
                  </a:lnTo>
                  <a:lnTo>
                    <a:pt x="6462903" y="1704116"/>
                  </a:lnTo>
                  <a:lnTo>
                    <a:pt x="6449542" y="1710809"/>
                  </a:lnTo>
                  <a:lnTo>
                    <a:pt x="6449542" y="1714155"/>
                  </a:lnTo>
                  <a:lnTo>
                    <a:pt x="6439520" y="1739253"/>
                  </a:lnTo>
                  <a:lnTo>
                    <a:pt x="6429499" y="1766024"/>
                  </a:lnTo>
                  <a:lnTo>
                    <a:pt x="6449542" y="1791122"/>
                  </a:lnTo>
                  <a:lnTo>
                    <a:pt x="6454552" y="1807854"/>
                  </a:lnTo>
                  <a:lnTo>
                    <a:pt x="6471254" y="1824587"/>
                  </a:lnTo>
                  <a:lnTo>
                    <a:pt x="6489627" y="1839645"/>
                  </a:lnTo>
                  <a:lnTo>
                    <a:pt x="6511339" y="1858051"/>
                  </a:lnTo>
                  <a:lnTo>
                    <a:pt x="6529711" y="1878129"/>
                  </a:lnTo>
                  <a:lnTo>
                    <a:pt x="6541403" y="1918286"/>
                  </a:lnTo>
                  <a:lnTo>
                    <a:pt x="6553094" y="1958443"/>
                  </a:lnTo>
                  <a:lnTo>
                    <a:pt x="6551424" y="1968482"/>
                  </a:lnTo>
                  <a:lnTo>
                    <a:pt x="6551424" y="1980195"/>
                  </a:lnTo>
                  <a:lnTo>
                    <a:pt x="6548084" y="1991907"/>
                  </a:lnTo>
                  <a:lnTo>
                    <a:pt x="6529711" y="2008639"/>
                  </a:lnTo>
                  <a:lnTo>
                    <a:pt x="6509669" y="2025371"/>
                  </a:lnTo>
                  <a:lnTo>
                    <a:pt x="6491297" y="2020352"/>
                  </a:lnTo>
                  <a:lnTo>
                    <a:pt x="6491297" y="2028718"/>
                  </a:lnTo>
                  <a:lnTo>
                    <a:pt x="6491297" y="2037084"/>
                  </a:lnTo>
                  <a:lnTo>
                    <a:pt x="6487956" y="2040430"/>
                  </a:lnTo>
                  <a:lnTo>
                    <a:pt x="6487956" y="2052143"/>
                  </a:lnTo>
                  <a:lnTo>
                    <a:pt x="6477935" y="2052143"/>
                  </a:lnTo>
                  <a:lnTo>
                    <a:pt x="6457893" y="2075567"/>
                  </a:lnTo>
                  <a:lnTo>
                    <a:pt x="6442861" y="2078914"/>
                  </a:lnTo>
                  <a:lnTo>
                    <a:pt x="6447871" y="2042103"/>
                  </a:lnTo>
                  <a:lnTo>
                    <a:pt x="6429499" y="2027044"/>
                  </a:lnTo>
                  <a:lnTo>
                    <a:pt x="6444531" y="2017005"/>
                  </a:lnTo>
                  <a:lnTo>
                    <a:pt x="6451212" y="2011986"/>
                  </a:lnTo>
                  <a:lnTo>
                    <a:pt x="6471254" y="2015332"/>
                  </a:lnTo>
                  <a:lnTo>
                    <a:pt x="6470436" y="2013036"/>
                  </a:lnTo>
                  <a:lnTo>
                    <a:pt x="6451055" y="2009891"/>
                  </a:lnTo>
                  <a:lnTo>
                    <a:pt x="6444304" y="2014821"/>
                  </a:lnTo>
                  <a:lnTo>
                    <a:pt x="6429112" y="2024682"/>
                  </a:lnTo>
                  <a:lnTo>
                    <a:pt x="6412232" y="2019752"/>
                  </a:lnTo>
                  <a:lnTo>
                    <a:pt x="6403792" y="2016465"/>
                  </a:lnTo>
                  <a:lnTo>
                    <a:pt x="6400416" y="2003317"/>
                  </a:lnTo>
                  <a:lnTo>
                    <a:pt x="6391976" y="2009891"/>
                  </a:lnTo>
                  <a:lnTo>
                    <a:pt x="6386912" y="1990170"/>
                  </a:lnTo>
                  <a:lnTo>
                    <a:pt x="6383536" y="1988527"/>
                  </a:lnTo>
                  <a:lnTo>
                    <a:pt x="6373409" y="1965519"/>
                  </a:lnTo>
                  <a:lnTo>
                    <a:pt x="6363433" y="1939620"/>
                  </a:lnTo>
                  <a:lnTo>
                    <a:pt x="6362953" y="1940406"/>
                  </a:lnTo>
                  <a:lnTo>
                    <a:pt x="6372974" y="1967177"/>
                  </a:lnTo>
                  <a:lnTo>
                    <a:pt x="6382995" y="1990602"/>
                  </a:lnTo>
                  <a:lnTo>
                    <a:pt x="6372974" y="1978890"/>
                  </a:lnTo>
                  <a:lnTo>
                    <a:pt x="6347921" y="1960485"/>
                  </a:lnTo>
                  <a:lnTo>
                    <a:pt x="6327879" y="1957138"/>
                  </a:lnTo>
                  <a:lnTo>
                    <a:pt x="6326209" y="1935386"/>
                  </a:lnTo>
                  <a:lnTo>
                    <a:pt x="6302826" y="1938733"/>
                  </a:lnTo>
                  <a:lnTo>
                    <a:pt x="6301156" y="1962158"/>
                  </a:lnTo>
                  <a:lnTo>
                    <a:pt x="6301156" y="1987256"/>
                  </a:lnTo>
                  <a:lnTo>
                    <a:pt x="6296145" y="2012354"/>
                  </a:lnTo>
                  <a:lnTo>
                    <a:pt x="6289464" y="2040798"/>
                  </a:lnTo>
                  <a:lnTo>
                    <a:pt x="6297815" y="2062550"/>
                  </a:lnTo>
                  <a:lnTo>
                    <a:pt x="6309507" y="2065896"/>
                  </a:lnTo>
                  <a:lnTo>
                    <a:pt x="6319528" y="2092668"/>
                  </a:lnTo>
                  <a:lnTo>
                    <a:pt x="6326209" y="2116093"/>
                  </a:lnTo>
                  <a:lnTo>
                    <a:pt x="6339570" y="2131152"/>
                  </a:lnTo>
                  <a:lnTo>
                    <a:pt x="6359613" y="2136171"/>
                  </a:lnTo>
                  <a:lnTo>
                    <a:pt x="6372838" y="2152732"/>
                  </a:lnTo>
                  <a:lnTo>
                    <a:pt x="6373309" y="2152098"/>
                  </a:lnTo>
                  <a:lnTo>
                    <a:pt x="6389665" y="2168621"/>
                  </a:lnTo>
                  <a:lnTo>
                    <a:pt x="6407656" y="2186796"/>
                  </a:lnTo>
                  <a:lnTo>
                    <a:pt x="6409292" y="2214884"/>
                  </a:lnTo>
                  <a:lnTo>
                    <a:pt x="6412563" y="2241320"/>
                  </a:lnTo>
                  <a:lnTo>
                    <a:pt x="6425648" y="2267756"/>
                  </a:lnTo>
                  <a:lnTo>
                    <a:pt x="6437097" y="2294192"/>
                  </a:lnTo>
                  <a:lnTo>
                    <a:pt x="6427284" y="2289235"/>
                  </a:lnTo>
                  <a:lnTo>
                    <a:pt x="6419105" y="2295844"/>
                  </a:lnTo>
                  <a:lnTo>
                    <a:pt x="6388029" y="2274365"/>
                  </a:lnTo>
                  <a:lnTo>
                    <a:pt x="6356953" y="2251233"/>
                  </a:lnTo>
                  <a:lnTo>
                    <a:pt x="6342233" y="2218188"/>
                  </a:lnTo>
                  <a:lnTo>
                    <a:pt x="6332419" y="2181839"/>
                  </a:lnTo>
                  <a:lnTo>
                    <a:pt x="6322606" y="2147142"/>
                  </a:lnTo>
                  <a:lnTo>
                    <a:pt x="6323854" y="2143358"/>
                  </a:lnTo>
                  <a:lnTo>
                    <a:pt x="6322868" y="2142864"/>
                  </a:lnTo>
                  <a:lnTo>
                    <a:pt x="6321198" y="2147884"/>
                  </a:lnTo>
                  <a:lnTo>
                    <a:pt x="6309507" y="2129478"/>
                  </a:lnTo>
                  <a:lnTo>
                    <a:pt x="6301156" y="2121112"/>
                  </a:lnTo>
                  <a:lnTo>
                    <a:pt x="6287794" y="2106053"/>
                  </a:lnTo>
                  <a:lnTo>
                    <a:pt x="6272762" y="2089321"/>
                  </a:lnTo>
                  <a:lnTo>
                    <a:pt x="6269422" y="2092668"/>
                  </a:lnTo>
                  <a:lnTo>
                    <a:pt x="6272762" y="2062550"/>
                  </a:lnTo>
                  <a:lnTo>
                    <a:pt x="6277773" y="2035779"/>
                  </a:lnTo>
                  <a:lnTo>
                    <a:pt x="6277773" y="2029086"/>
                  </a:lnTo>
                  <a:lnTo>
                    <a:pt x="6277951" y="2028729"/>
                  </a:lnTo>
                  <a:lnTo>
                    <a:pt x="6271431" y="2035227"/>
                  </a:lnTo>
                  <a:lnTo>
                    <a:pt x="6273112" y="2011772"/>
                  </a:lnTo>
                  <a:lnTo>
                    <a:pt x="6273112" y="1986641"/>
                  </a:lnTo>
                  <a:lnTo>
                    <a:pt x="6269750" y="1964861"/>
                  </a:lnTo>
                  <a:lnTo>
                    <a:pt x="6261344" y="1941406"/>
                  </a:lnTo>
                  <a:lnTo>
                    <a:pt x="6252938" y="1919627"/>
                  </a:lnTo>
                  <a:lnTo>
                    <a:pt x="6251257" y="1928003"/>
                  </a:lnTo>
                  <a:lnTo>
                    <a:pt x="6241170" y="1886119"/>
                  </a:lnTo>
                  <a:lnTo>
                    <a:pt x="6229403" y="1844235"/>
                  </a:lnTo>
                  <a:lnTo>
                    <a:pt x="6217635" y="1834183"/>
                  </a:lnTo>
                  <a:lnTo>
                    <a:pt x="6207548" y="1819105"/>
                  </a:lnTo>
                  <a:lnTo>
                    <a:pt x="6199142" y="1844235"/>
                  </a:lnTo>
                  <a:lnTo>
                    <a:pt x="6192418" y="1839209"/>
                  </a:lnTo>
                  <a:lnTo>
                    <a:pt x="6189056" y="1847586"/>
                  </a:lnTo>
                  <a:lnTo>
                    <a:pt x="6170563" y="1864339"/>
                  </a:lnTo>
                  <a:lnTo>
                    <a:pt x="6170563" y="1859313"/>
                  </a:lnTo>
                  <a:lnTo>
                    <a:pt x="6165520" y="1860989"/>
                  </a:lnTo>
                  <a:lnTo>
                    <a:pt x="6158795" y="1864339"/>
                  </a:lnTo>
                  <a:lnTo>
                    <a:pt x="6155433" y="1859313"/>
                  </a:lnTo>
                  <a:lnTo>
                    <a:pt x="6150390" y="1844235"/>
                  </a:lnTo>
                  <a:lnTo>
                    <a:pt x="6140303" y="1857638"/>
                  </a:lnTo>
                  <a:lnTo>
                    <a:pt x="6141984" y="1830832"/>
                  </a:lnTo>
                  <a:lnTo>
                    <a:pt x="6141984" y="1807377"/>
                  </a:lnTo>
                  <a:lnTo>
                    <a:pt x="6135260" y="1783922"/>
                  </a:lnTo>
                  <a:lnTo>
                    <a:pt x="6125173" y="1758791"/>
                  </a:lnTo>
                  <a:lnTo>
                    <a:pt x="6120130" y="1770519"/>
                  </a:lnTo>
                  <a:lnTo>
                    <a:pt x="6111724" y="1758791"/>
                  </a:lnTo>
                  <a:lnTo>
                    <a:pt x="6120130" y="1755441"/>
                  </a:lnTo>
                  <a:lnTo>
                    <a:pt x="6111724" y="1743713"/>
                  </a:lnTo>
                  <a:lnTo>
                    <a:pt x="6099956" y="1743713"/>
                  </a:lnTo>
                  <a:lnTo>
                    <a:pt x="6098275" y="1743713"/>
                  </a:lnTo>
                  <a:lnTo>
                    <a:pt x="6091550" y="1725284"/>
                  </a:lnTo>
                  <a:lnTo>
                    <a:pt x="6086507" y="1730310"/>
                  </a:lnTo>
                  <a:lnTo>
                    <a:pt x="6086507" y="1728635"/>
                  </a:lnTo>
                  <a:lnTo>
                    <a:pt x="6068015" y="1703504"/>
                  </a:lnTo>
                  <a:lnTo>
                    <a:pt x="6076420" y="1696803"/>
                  </a:lnTo>
                  <a:lnTo>
                    <a:pt x="6074739" y="1678374"/>
                  </a:lnTo>
                  <a:lnTo>
                    <a:pt x="6076420" y="1676698"/>
                  </a:lnTo>
                  <a:lnTo>
                    <a:pt x="6084826" y="1678374"/>
                  </a:lnTo>
                  <a:lnTo>
                    <a:pt x="6086507" y="1646542"/>
                  </a:lnTo>
                  <a:lnTo>
                    <a:pt x="6086507" y="1619736"/>
                  </a:lnTo>
                  <a:lnTo>
                    <a:pt x="6101637" y="1619736"/>
                  </a:lnTo>
                  <a:lnTo>
                    <a:pt x="6115086" y="1584553"/>
                  </a:lnTo>
                  <a:lnTo>
                    <a:pt x="6116767" y="1569475"/>
                  </a:lnTo>
                  <a:lnTo>
                    <a:pt x="6116767" y="1546020"/>
                  </a:lnTo>
                  <a:lnTo>
                    <a:pt x="6140303" y="1519214"/>
                  </a:lnTo>
                  <a:lnTo>
                    <a:pt x="6160477" y="1524240"/>
                  </a:lnTo>
                  <a:lnTo>
                    <a:pt x="6157114" y="1514188"/>
                  </a:lnTo>
                  <a:lnTo>
                    <a:pt x="6158795" y="1505811"/>
                  </a:lnTo>
                  <a:lnTo>
                    <a:pt x="6161506" y="1495005"/>
                  </a:lnTo>
                  <a:lnTo>
                    <a:pt x="6160579" y="1494658"/>
                  </a:lnTo>
                  <a:lnTo>
                    <a:pt x="6158069" y="1504732"/>
                  </a:lnTo>
                  <a:lnTo>
                    <a:pt x="6156396" y="1513123"/>
                  </a:lnTo>
                  <a:lnTo>
                    <a:pt x="6159742" y="1523193"/>
                  </a:lnTo>
                  <a:lnTo>
                    <a:pt x="6139665" y="1518158"/>
                  </a:lnTo>
                  <a:lnTo>
                    <a:pt x="6116242" y="1545011"/>
                  </a:lnTo>
                  <a:lnTo>
                    <a:pt x="6116242" y="1568507"/>
                  </a:lnTo>
                  <a:lnTo>
                    <a:pt x="6114569" y="1583611"/>
                  </a:lnTo>
                  <a:lnTo>
                    <a:pt x="6101184" y="1618855"/>
                  </a:lnTo>
                  <a:lnTo>
                    <a:pt x="6086127" y="1618855"/>
                  </a:lnTo>
                  <a:lnTo>
                    <a:pt x="6086127" y="1645707"/>
                  </a:lnTo>
                  <a:lnTo>
                    <a:pt x="6084453" y="1677594"/>
                  </a:lnTo>
                  <a:lnTo>
                    <a:pt x="6076088" y="1675916"/>
                  </a:lnTo>
                  <a:lnTo>
                    <a:pt x="6074415" y="1677594"/>
                  </a:lnTo>
                  <a:lnTo>
                    <a:pt x="6064377" y="1652420"/>
                  </a:lnTo>
                  <a:lnTo>
                    <a:pt x="6054338" y="1625568"/>
                  </a:lnTo>
                  <a:lnTo>
                    <a:pt x="6040954" y="1647385"/>
                  </a:lnTo>
                  <a:lnTo>
                    <a:pt x="6037607" y="1642351"/>
                  </a:lnTo>
                  <a:lnTo>
                    <a:pt x="6031046" y="1617666"/>
                  </a:lnTo>
                  <a:lnTo>
                    <a:pt x="6030753" y="1617863"/>
                  </a:lnTo>
                  <a:lnTo>
                    <a:pt x="6037389" y="1642945"/>
                  </a:lnTo>
                  <a:lnTo>
                    <a:pt x="6040707" y="1647962"/>
                  </a:lnTo>
                  <a:lnTo>
                    <a:pt x="6053980" y="1626223"/>
                  </a:lnTo>
                  <a:lnTo>
                    <a:pt x="6063934" y="1652978"/>
                  </a:lnTo>
                  <a:lnTo>
                    <a:pt x="6073888" y="1678061"/>
                  </a:lnTo>
                  <a:lnTo>
                    <a:pt x="6075547" y="1696455"/>
                  </a:lnTo>
                  <a:lnTo>
                    <a:pt x="6067252" y="1703143"/>
                  </a:lnTo>
                  <a:lnTo>
                    <a:pt x="6070570" y="1709832"/>
                  </a:lnTo>
                  <a:lnTo>
                    <a:pt x="6055639" y="1683077"/>
                  </a:lnTo>
                  <a:lnTo>
                    <a:pt x="6040707" y="1654650"/>
                  </a:lnTo>
                  <a:lnTo>
                    <a:pt x="6024117" y="1652978"/>
                  </a:lnTo>
                  <a:lnTo>
                    <a:pt x="6015822" y="1634584"/>
                  </a:lnTo>
                  <a:lnTo>
                    <a:pt x="5989278" y="1617863"/>
                  </a:lnTo>
                  <a:lnTo>
                    <a:pt x="5980983" y="1619535"/>
                  </a:lnTo>
                  <a:lnTo>
                    <a:pt x="6009186" y="1636256"/>
                  </a:lnTo>
                  <a:lnTo>
                    <a:pt x="6017481" y="1654650"/>
                  </a:lnTo>
                  <a:lnTo>
                    <a:pt x="6019140" y="1659667"/>
                  </a:lnTo>
                  <a:lnTo>
                    <a:pt x="6014163" y="1684749"/>
                  </a:lnTo>
                  <a:lnTo>
                    <a:pt x="6007527" y="1676388"/>
                  </a:lnTo>
                  <a:lnTo>
                    <a:pt x="6004209" y="1676388"/>
                  </a:lnTo>
                  <a:lnTo>
                    <a:pt x="5997573" y="1683077"/>
                  </a:lnTo>
                  <a:lnTo>
                    <a:pt x="5990937" y="1683077"/>
                  </a:lnTo>
                  <a:lnTo>
                    <a:pt x="5989278" y="1684749"/>
                  </a:lnTo>
                  <a:lnTo>
                    <a:pt x="5984301" y="1676388"/>
                  </a:lnTo>
                  <a:lnTo>
                    <a:pt x="5984301" y="1679733"/>
                  </a:lnTo>
                  <a:lnTo>
                    <a:pt x="5976006" y="1656322"/>
                  </a:lnTo>
                  <a:lnTo>
                    <a:pt x="5967711" y="1634584"/>
                  </a:lnTo>
                  <a:lnTo>
                    <a:pt x="5966052" y="1616190"/>
                  </a:lnTo>
                  <a:lnTo>
                    <a:pt x="5965701" y="1615896"/>
                  </a:lnTo>
                  <a:lnTo>
                    <a:pt x="5967338" y="1633959"/>
                  </a:lnTo>
                  <a:lnTo>
                    <a:pt x="5975704" y="1655777"/>
                  </a:lnTo>
                  <a:lnTo>
                    <a:pt x="5984069" y="1679273"/>
                  </a:lnTo>
                  <a:lnTo>
                    <a:pt x="5984069" y="1687664"/>
                  </a:lnTo>
                  <a:lnTo>
                    <a:pt x="5977377" y="1685986"/>
                  </a:lnTo>
                  <a:lnTo>
                    <a:pt x="5970685" y="1687664"/>
                  </a:lnTo>
                  <a:lnTo>
                    <a:pt x="5963992" y="1687664"/>
                  </a:lnTo>
                  <a:lnTo>
                    <a:pt x="5957300" y="1675916"/>
                  </a:lnTo>
                  <a:lnTo>
                    <a:pt x="5933877" y="1692699"/>
                  </a:lnTo>
                  <a:lnTo>
                    <a:pt x="5930531" y="1714516"/>
                  </a:lnTo>
                  <a:lnTo>
                    <a:pt x="5917146" y="1736334"/>
                  </a:lnTo>
                  <a:lnTo>
                    <a:pt x="5900416" y="1746404"/>
                  </a:lnTo>
                  <a:lnTo>
                    <a:pt x="5880339" y="1768221"/>
                  </a:lnTo>
                  <a:lnTo>
                    <a:pt x="5855243" y="1795074"/>
                  </a:lnTo>
                  <a:lnTo>
                    <a:pt x="5830147" y="1820248"/>
                  </a:lnTo>
                  <a:lnTo>
                    <a:pt x="5826800" y="1838709"/>
                  </a:lnTo>
                  <a:lnTo>
                    <a:pt x="5805051" y="1847100"/>
                  </a:lnTo>
                  <a:lnTo>
                    <a:pt x="5798358" y="1858848"/>
                  </a:lnTo>
                  <a:lnTo>
                    <a:pt x="5793339" y="1860526"/>
                  </a:lnTo>
                  <a:lnTo>
                    <a:pt x="5788320" y="1863883"/>
                  </a:lnTo>
                  <a:lnTo>
                    <a:pt x="5774935" y="1873953"/>
                  </a:lnTo>
                  <a:lnTo>
                    <a:pt x="5776608" y="1907518"/>
                  </a:lnTo>
                  <a:lnTo>
                    <a:pt x="5783301" y="1936049"/>
                  </a:lnTo>
                  <a:lnTo>
                    <a:pt x="5778281" y="1959545"/>
                  </a:lnTo>
                  <a:lnTo>
                    <a:pt x="5773262" y="1984719"/>
                  </a:lnTo>
                  <a:lnTo>
                    <a:pt x="5776608" y="2006536"/>
                  </a:lnTo>
                  <a:lnTo>
                    <a:pt x="5778281" y="2028354"/>
                  </a:lnTo>
                  <a:lnTo>
                    <a:pt x="5769916" y="2028354"/>
                  </a:lnTo>
                  <a:lnTo>
                    <a:pt x="5756531" y="2050171"/>
                  </a:lnTo>
                  <a:lnTo>
                    <a:pt x="5766570" y="2061919"/>
                  </a:lnTo>
                  <a:lnTo>
                    <a:pt x="5749839" y="2065276"/>
                  </a:lnTo>
                  <a:lnTo>
                    <a:pt x="5734782" y="2080380"/>
                  </a:lnTo>
                  <a:lnTo>
                    <a:pt x="5719724" y="2095485"/>
                  </a:lnTo>
                  <a:lnTo>
                    <a:pt x="5704666" y="2087093"/>
                  </a:lnTo>
                  <a:lnTo>
                    <a:pt x="5694628" y="2065276"/>
                  </a:lnTo>
                  <a:lnTo>
                    <a:pt x="5682916" y="2040102"/>
                  </a:lnTo>
                  <a:lnTo>
                    <a:pt x="5674551" y="2019962"/>
                  </a:lnTo>
                  <a:lnTo>
                    <a:pt x="5662839" y="1996467"/>
                  </a:lnTo>
                  <a:lnTo>
                    <a:pt x="5649455" y="1969614"/>
                  </a:lnTo>
                  <a:lnTo>
                    <a:pt x="5637743" y="1946118"/>
                  </a:lnTo>
                  <a:lnTo>
                    <a:pt x="5624359" y="1910875"/>
                  </a:lnTo>
                  <a:lnTo>
                    <a:pt x="5609301" y="1877309"/>
                  </a:lnTo>
                  <a:lnTo>
                    <a:pt x="5604282" y="1868918"/>
                  </a:lnTo>
                  <a:lnTo>
                    <a:pt x="5594244" y="1840387"/>
                  </a:lnTo>
                  <a:lnTo>
                    <a:pt x="5584205" y="1810178"/>
                  </a:lnTo>
                  <a:lnTo>
                    <a:pt x="5575840" y="1774934"/>
                  </a:lnTo>
                  <a:lnTo>
                    <a:pt x="5574167" y="1766543"/>
                  </a:lnTo>
                  <a:lnTo>
                    <a:pt x="5572494" y="1758152"/>
                  </a:lnTo>
                  <a:lnTo>
                    <a:pt x="5564128" y="1727943"/>
                  </a:lnTo>
                  <a:lnTo>
                    <a:pt x="5564128" y="1707803"/>
                  </a:lnTo>
                  <a:lnTo>
                    <a:pt x="5559109" y="1694377"/>
                  </a:lnTo>
                  <a:lnTo>
                    <a:pt x="5567474" y="1684307"/>
                  </a:lnTo>
                  <a:lnTo>
                    <a:pt x="5554090" y="1684307"/>
                  </a:lnTo>
                  <a:lnTo>
                    <a:pt x="5555763" y="1677594"/>
                  </a:lnTo>
                  <a:lnTo>
                    <a:pt x="5559109" y="1669203"/>
                  </a:lnTo>
                  <a:lnTo>
                    <a:pt x="5545724" y="1669203"/>
                  </a:lnTo>
                  <a:lnTo>
                    <a:pt x="5544051" y="1684307"/>
                  </a:lnTo>
                  <a:lnTo>
                    <a:pt x="5542378" y="1704447"/>
                  </a:lnTo>
                  <a:lnTo>
                    <a:pt x="5505571" y="1714516"/>
                  </a:lnTo>
                  <a:lnTo>
                    <a:pt x="5483821" y="1687664"/>
                  </a:lnTo>
                  <a:lnTo>
                    <a:pt x="5458725" y="1664168"/>
                  </a:lnTo>
                  <a:lnTo>
                    <a:pt x="5473782" y="1665846"/>
                  </a:lnTo>
                  <a:lnTo>
                    <a:pt x="5492186" y="1654099"/>
                  </a:lnTo>
                  <a:lnTo>
                    <a:pt x="5493859" y="1647385"/>
                  </a:lnTo>
                  <a:lnTo>
                    <a:pt x="5463744" y="1652420"/>
                  </a:lnTo>
                  <a:lnTo>
                    <a:pt x="5441994" y="1628924"/>
                  </a:lnTo>
                  <a:lnTo>
                    <a:pt x="5445340" y="1622211"/>
                  </a:lnTo>
                  <a:lnTo>
                    <a:pt x="5435302" y="1625568"/>
                  </a:lnTo>
                  <a:lnTo>
                    <a:pt x="5435302" y="1623890"/>
                  </a:lnTo>
                  <a:lnTo>
                    <a:pt x="5435368" y="1623852"/>
                  </a:lnTo>
                  <a:lnTo>
                    <a:pt x="5415550" y="1615639"/>
                  </a:lnTo>
                  <a:lnTo>
                    <a:pt x="5402160" y="1593998"/>
                  </a:lnTo>
                  <a:lnTo>
                    <a:pt x="5392117" y="1589004"/>
                  </a:lnTo>
                  <a:lnTo>
                    <a:pt x="5382074" y="1574022"/>
                  </a:lnTo>
                  <a:lnTo>
                    <a:pt x="5355292" y="1575687"/>
                  </a:lnTo>
                  <a:lnTo>
                    <a:pt x="5326837" y="1577351"/>
                  </a:lnTo>
                  <a:lnTo>
                    <a:pt x="5306751" y="1579016"/>
                  </a:lnTo>
                  <a:lnTo>
                    <a:pt x="5283317" y="1579016"/>
                  </a:lnTo>
                  <a:lnTo>
                    <a:pt x="5258209" y="1582345"/>
                  </a:lnTo>
                  <a:lnTo>
                    <a:pt x="5261557" y="1557375"/>
                  </a:lnTo>
                  <a:lnTo>
                    <a:pt x="5270885" y="1548098"/>
                  </a:lnTo>
                  <a:lnTo>
                    <a:pt x="5270536" y="1548259"/>
                  </a:lnTo>
                  <a:lnTo>
                    <a:pt x="5260543" y="1558268"/>
                  </a:lnTo>
                  <a:lnTo>
                    <a:pt x="5257212" y="1583289"/>
                  </a:lnTo>
                  <a:lnTo>
                    <a:pt x="5230563" y="1578285"/>
                  </a:lnTo>
                  <a:lnTo>
                    <a:pt x="5202249" y="1573280"/>
                  </a:lnTo>
                  <a:lnTo>
                    <a:pt x="5173936" y="1568276"/>
                  </a:lnTo>
                  <a:lnTo>
                    <a:pt x="5145622" y="1564940"/>
                  </a:lnTo>
                  <a:lnTo>
                    <a:pt x="5135628" y="1544923"/>
                  </a:lnTo>
                  <a:lnTo>
                    <a:pt x="5123970" y="1524906"/>
                  </a:lnTo>
                  <a:lnTo>
                    <a:pt x="5103983" y="1533247"/>
                  </a:lnTo>
                  <a:lnTo>
                    <a:pt x="5082332" y="1539919"/>
                  </a:lnTo>
                  <a:lnTo>
                    <a:pt x="5042359" y="1533247"/>
                  </a:lnTo>
                  <a:lnTo>
                    <a:pt x="5020707" y="1516566"/>
                  </a:lnTo>
                  <a:lnTo>
                    <a:pt x="4995724" y="1503221"/>
                  </a:lnTo>
                  <a:lnTo>
                    <a:pt x="4975738" y="1483204"/>
                  </a:lnTo>
                  <a:lnTo>
                    <a:pt x="4964079" y="1464856"/>
                  </a:lnTo>
                  <a:lnTo>
                    <a:pt x="4940762" y="1433162"/>
                  </a:lnTo>
                  <a:lnTo>
                    <a:pt x="4930769" y="1434830"/>
                  </a:lnTo>
                  <a:lnTo>
                    <a:pt x="4917445" y="1426490"/>
                  </a:lnTo>
                  <a:lnTo>
                    <a:pt x="4917445" y="1424822"/>
                  </a:lnTo>
                  <a:lnTo>
                    <a:pt x="4910783" y="1438167"/>
                  </a:lnTo>
                  <a:lnTo>
                    <a:pt x="4905786" y="1438167"/>
                  </a:lnTo>
                  <a:lnTo>
                    <a:pt x="4904157" y="1436209"/>
                  </a:lnTo>
                  <a:lnTo>
                    <a:pt x="4893084" y="1436209"/>
                  </a:lnTo>
                  <a:lnTo>
                    <a:pt x="4871225" y="1437869"/>
                  </a:lnTo>
                  <a:lnTo>
                    <a:pt x="4857774" y="1462772"/>
                  </a:lnTo>
                  <a:lnTo>
                    <a:pt x="4812376" y="1461112"/>
                  </a:lnTo>
                  <a:lnTo>
                    <a:pt x="4785474" y="1436209"/>
                  </a:lnTo>
                  <a:lnTo>
                    <a:pt x="4761934" y="1414627"/>
                  </a:lnTo>
                  <a:lnTo>
                    <a:pt x="4736713" y="1403005"/>
                  </a:lnTo>
                  <a:lnTo>
                    <a:pt x="4713174" y="1393044"/>
                  </a:lnTo>
                  <a:lnTo>
                    <a:pt x="4686271" y="1381423"/>
                  </a:lnTo>
                  <a:lnTo>
                    <a:pt x="4662732" y="1371462"/>
                  </a:lnTo>
                  <a:lnTo>
                    <a:pt x="4646826" y="1336911"/>
                  </a:lnTo>
                  <a:lnTo>
                    <a:pt x="4646037" y="1337496"/>
                  </a:lnTo>
                  <a:lnTo>
                    <a:pt x="4662318" y="1372493"/>
                  </a:lnTo>
                  <a:lnTo>
                    <a:pt x="4662624" y="1372385"/>
                  </a:lnTo>
                  <a:lnTo>
                    <a:pt x="4686050" y="1382458"/>
                  </a:lnTo>
                  <a:lnTo>
                    <a:pt x="4712824" y="1394211"/>
                  </a:lnTo>
                  <a:lnTo>
                    <a:pt x="4736251" y="1404284"/>
                  </a:lnTo>
                  <a:lnTo>
                    <a:pt x="4761351" y="1416037"/>
                  </a:lnTo>
                  <a:lnTo>
                    <a:pt x="4784778" y="1437863"/>
                  </a:lnTo>
                  <a:lnTo>
                    <a:pt x="4811551" y="1463046"/>
                  </a:lnTo>
                  <a:lnTo>
                    <a:pt x="4856731" y="1464725"/>
                  </a:lnTo>
                  <a:lnTo>
                    <a:pt x="4881795" y="1468078"/>
                  </a:lnTo>
                  <a:lnTo>
                    <a:pt x="4881678" y="1467794"/>
                  </a:lnTo>
                  <a:lnTo>
                    <a:pt x="4856822" y="1464557"/>
                  </a:lnTo>
                  <a:lnTo>
                    <a:pt x="4870079" y="1440287"/>
                  </a:lnTo>
                  <a:lnTo>
                    <a:pt x="4891621" y="1438669"/>
                  </a:lnTo>
                  <a:lnTo>
                    <a:pt x="4896592" y="1449995"/>
                  </a:lnTo>
                  <a:lnTo>
                    <a:pt x="4889964" y="1453231"/>
                  </a:lnTo>
                  <a:lnTo>
                    <a:pt x="4891621" y="1458085"/>
                  </a:lnTo>
                  <a:lnTo>
                    <a:pt x="4906535" y="1482356"/>
                  </a:lnTo>
                  <a:lnTo>
                    <a:pt x="4884992" y="1475884"/>
                  </a:lnTo>
                  <a:lnTo>
                    <a:pt x="4883081" y="1471217"/>
                  </a:lnTo>
                  <a:lnTo>
                    <a:pt x="4885178" y="1476478"/>
                  </a:lnTo>
                  <a:lnTo>
                    <a:pt x="4906931" y="1483193"/>
                  </a:lnTo>
                  <a:lnTo>
                    <a:pt x="4921992" y="1505019"/>
                  </a:lnTo>
                  <a:lnTo>
                    <a:pt x="4933705" y="1515093"/>
                  </a:lnTo>
                  <a:lnTo>
                    <a:pt x="4957132" y="1538598"/>
                  </a:lnTo>
                  <a:lnTo>
                    <a:pt x="4960478" y="1555387"/>
                  </a:lnTo>
                  <a:lnTo>
                    <a:pt x="4972192" y="1575534"/>
                  </a:lnTo>
                  <a:lnTo>
                    <a:pt x="4980351" y="1593271"/>
                  </a:lnTo>
                  <a:lnTo>
                    <a:pt x="4980351" y="1566874"/>
                  </a:lnTo>
                  <a:lnTo>
                    <a:pt x="4991033" y="1553160"/>
                  </a:lnTo>
                  <a:lnTo>
                    <a:pt x="4999935" y="1578873"/>
                  </a:lnTo>
                  <a:lnTo>
                    <a:pt x="4992813" y="1599444"/>
                  </a:lnTo>
                  <a:lnTo>
                    <a:pt x="4989253" y="1602873"/>
                  </a:lnTo>
                  <a:lnTo>
                    <a:pt x="4985480" y="1599967"/>
                  </a:lnTo>
                  <a:lnTo>
                    <a:pt x="4990599" y="1604075"/>
                  </a:lnTo>
                  <a:lnTo>
                    <a:pt x="4993945" y="1600717"/>
                  </a:lnTo>
                  <a:lnTo>
                    <a:pt x="4997292" y="1600717"/>
                  </a:lnTo>
                  <a:lnTo>
                    <a:pt x="4997292" y="1609112"/>
                  </a:lnTo>
                  <a:lnTo>
                    <a:pt x="4999935" y="1610438"/>
                  </a:lnTo>
                  <a:lnTo>
                    <a:pt x="4999935" y="1610104"/>
                  </a:lnTo>
                  <a:lnTo>
                    <a:pt x="5006764" y="1615075"/>
                  </a:lnTo>
                  <a:lnTo>
                    <a:pt x="5023837" y="1616732"/>
                  </a:lnTo>
                  <a:lnTo>
                    <a:pt x="5064813" y="1615075"/>
                  </a:lnTo>
                  <a:lnTo>
                    <a:pt x="5092130" y="1588561"/>
                  </a:lnTo>
                  <a:lnTo>
                    <a:pt x="5113810" y="1564282"/>
                  </a:lnTo>
                  <a:lnTo>
                    <a:pt x="5111413" y="1563404"/>
                  </a:lnTo>
                  <a:lnTo>
                    <a:pt x="5120452" y="1550147"/>
                  </a:lnTo>
                  <a:lnTo>
                    <a:pt x="5120452" y="1566083"/>
                  </a:lnTo>
                  <a:lnTo>
                    <a:pt x="5122862" y="1567019"/>
                  </a:lnTo>
                  <a:lnTo>
                    <a:pt x="5127984" y="1588561"/>
                  </a:lnTo>
                  <a:lnTo>
                    <a:pt x="5125730" y="1590312"/>
                  </a:lnTo>
                  <a:lnTo>
                    <a:pt x="5136808" y="1611118"/>
                  </a:lnTo>
                  <a:lnTo>
                    <a:pt x="5160025" y="1621182"/>
                  </a:lnTo>
                  <a:lnTo>
                    <a:pt x="5181584" y="1631245"/>
                  </a:lnTo>
                  <a:lnTo>
                    <a:pt x="5201484" y="1648017"/>
                  </a:lnTo>
                  <a:lnTo>
                    <a:pt x="5221385" y="1666466"/>
                  </a:lnTo>
                  <a:lnTo>
                    <a:pt x="5206459" y="1696655"/>
                  </a:lnTo>
                  <a:lnTo>
                    <a:pt x="5191534" y="1725168"/>
                  </a:lnTo>
                  <a:lnTo>
                    <a:pt x="5184901" y="1725168"/>
                  </a:lnTo>
                  <a:lnTo>
                    <a:pt x="5174950" y="1731876"/>
                  </a:lnTo>
                  <a:lnTo>
                    <a:pt x="5176609" y="1765420"/>
                  </a:lnTo>
                  <a:lnTo>
                    <a:pt x="5156708" y="1775483"/>
                  </a:lnTo>
                  <a:lnTo>
                    <a:pt x="5146758" y="1797287"/>
                  </a:lnTo>
                  <a:lnTo>
                    <a:pt x="5123541" y="1802318"/>
                  </a:lnTo>
                  <a:lnTo>
                    <a:pt x="5115249" y="1819090"/>
                  </a:lnTo>
                  <a:lnTo>
                    <a:pt x="5101982" y="1830831"/>
                  </a:lnTo>
                  <a:lnTo>
                    <a:pt x="5082082" y="1837539"/>
                  </a:lnTo>
                  <a:lnTo>
                    <a:pt x="5060523" y="1840894"/>
                  </a:lnTo>
                  <a:lnTo>
                    <a:pt x="5060070" y="1840185"/>
                  </a:lnTo>
                  <a:lnTo>
                    <a:pt x="5036614" y="1860077"/>
                  </a:lnTo>
                  <a:lnTo>
                    <a:pt x="5034930" y="1871742"/>
                  </a:lnTo>
                  <a:lnTo>
                    <a:pt x="5014719" y="1881741"/>
                  </a:lnTo>
                  <a:lnTo>
                    <a:pt x="4994508" y="1890073"/>
                  </a:lnTo>
                  <a:lnTo>
                    <a:pt x="4974297" y="1900072"/>
                  </a:lnTo>
                  <a:lnTo>
                    <a:pt x="4954086" y="1910070"/>
                  </a:lnTo>
                  <a:lnTo>
                    <a:pt x="4933876" y="1918402"/>
                  </a:lnTo>
                  <a:lnTo>
                    <a:pt x="4905243" y="1928401"/>
                  </a:lnTo>
                  <a:lnTo>
                    <a:pt x="4879980" y="1936733"/>
                  </a:lnTo>
                  <a:lnTo>
                    <a:pt x="4844611" y="1956730"/>
                  </a:lnTo>
                  <a:lnTo>
                    <a:pt x="4812610" y="1958397"/>
                  </a:lnTo>
                  <a:lnTo>
                    <a:pt x="4800820" y="1920069"/>
                  </a:lnTo>
                  <a:lnTo>
                    <a:pt x="4789031" y="1885074"/>
                  </a:lnTo>
                  <a:lnTo>
                    <a:pt x="4789031" y="1848412"/>
                  </a:lnTo>
                  <a:lnTo>
                    <a:pt x="4790074" y="1847173"/>
                  </a:lnTo>
                  <a:lnTo>
                    <a:pt x="4776411" y="1827371"/>
                  </a:lnTo>
                  <a:lnTo>
                    <a:pt x="4764697" y="1805545"/>
                  </a:lnTo>
                  <a:lnTo>
                    <a:pt x="4742944" y="1771967"/>
                  </a:lnTo>
                  <a:lnTo>
                    <a:pt x="4722864" y="1738389"/>
                  </a:lnTo>
                  <a:lnTo>
                    <a:pt x="4692744" y="1711526"/>
                  </a:lnTo>
                  <a:lnTo>
                    <a:pt x="4682704" y="1671232"/>
                  </a:lnTo>
                  <a:lnTo>
                    <a:pt x="4672664" y="1649406"/>
                  </a:lnTo>
                  <a:lnTo>
                    <a:pt x="4664297" y="1625901"/>
                  </a:lnTo>
                  <a:lnTo>
                    <a:pt x="4645890" y="1610791"/>
                  </a:lnTo>
                  <a:lnTo>
                    <a:pt x="4630830" y="1597360"/>
                  </a:lnTo>
                  <a:lnTo>
                    <a:pt x="4615770" y="1565460"/>
                  </a:lnTo>
                  <a:lnTo>
                    <a:pt x="4590670" y="1530203"/>
                  </a:lnTo>
                  <a:lnTo>
                    <a:pt x="4563896" y="1494946"/>
                  </a:lnTo>
                  <a:lnTo>
                    <a:pt x="4555530" y="1493267"/>
                  </a:lnTo>
                  <a:lnTo>
                    <a:pt x="4562182" y="1456558"/>
                  </a:lnTo>
                  <a:lnTo>
                    <a:pt x="4562102" y="1456539"/>
                  </a:lnTo>
                  <a:lnTo>
                    <a:pt x="4555711" y="1478531"/>
                  </a:lnTo>
                  <a:lnTo>
                    <a:pt x="4550649" y="1503413"/>
                  </a:lnTo>
                  <a:lnTo>
                    <a:pt x="4535464" y="1498437"/>
                  </a:lnTo>
                  <a:lnTo>
                    <a:pt x="4520279" y="1470237"/>
                  </a:lnTo>
                  <a:lnTo>
                    <a:pt x="4501720" y="1443696"/>
                  </a:lnTo>
                  <a:lnTo>
                    <a:pt x="4496658" y="1445355"/>
                  </a:lnTo>
                  <a:lnTo>
                    <a:pt x="4506781" y="1468578"/>
                  </a:lnTo>
                  <a:lnTo>
                    <a:pt x="4520279" y="1490143"/>
                  </a:lnTo>
                  <a:lnTo>
                    <a:pt x="4532090" y="1513366"/>
                  </a:lnTo>
                  <a:lnTo>
                    <a:pt x="4542213" y="1534930"/>
                  </a:lnTo>
                  <a:lnTo>
                    <a:pt x="4554024" y="1554836"/>
                  </a:lnTo>
                  <a:lnTo>
                    <a:pt x="4565835" y="1576400"/>
                  </a:lnTo>
                  <a:lnTo>
                    <a:pt x="4581020" y="1596306"/>
                  </a:lnTo>
                  <a:lnTo>
                    <a:pt x="4596205" y="1617870"/>
                  </a:lnTo>
                  <a:lnTo>
                    <a:pt x="4592830" y="1619529"/>
                  </a:lnTo>
                  <a:lnTo>
                    <a:pt x="4594518" y="1644411"/>
                  </a:lnTo>
                  <a:lnTo>
                    <a:pt x="4594499" y="1644429"/>
                  </a:lnTo>
                  <a:lnTo>
                    <a:pt x="4612119" y="1661996"/>
                  </a:lnTo>
                  <a:lnTo>
                    <a:pt x="4627260" y="1682122"/>
                  </a:lnTo>
                  <a:lnTo>
                    <a:pt x="4637354" y="1703925"/>
                  </a:lnTo>
                  <a:lnTo>
                    <a:pt x="4644083" y="1739145"/>
                  </a:lnTo>
                  <a:lnTo>
                    <a:pt x="4652494" y="1774366"/>
                  </a:lnTo>
                  <a:lnTo>
                    <a:pt x="4676047" y="1802877"/>
                  </a:lnTo>
                  <a:lnTo>
                    <a:pt x="4660906" y="1814618"/>
                  </a:lnTo>
                  <a:lnTo>
                    <a:pt x="4644083" y="1826358"/>
                  </a:lnTo>
                  <a:lnTo>
                    <a:pt x="4643571" y="1828315"/>
                  </a:lnTo>
                  <a:lnTo>
                    <a:pt x="4659332" y="1817056"/>
                  </a:lnTo>
                  <a:lnTo>
                    <a:pt x="4674182" y="1805270"/>
                  </a:lnTo>
                  <a:lnTo>
                    <a:pt x="4679132" y="1800219"/>
                  </a:lnTo>
                  <a:lnTo>
                    <a:pt x="4685731" y="1820423"/>
                  </a:lnTo>
                  <a:lnTo>
                    <a:pt x="4693981" y="1842311"/>
                  </a:lnTo>
                  <a:lnTo>
                    <a:pt x="4702231" y="1865883"/>
                  </a:lnTo>
                  <a:lnTo>
                    <a:pt x="4712130" y="1887771"/>
                  </a:lnTo>
                  <a:lnTo>
                    <a:pt x="4712130" y="1879352"/>
                  </a:lnTo>
                  <a:lnTo>
                    <a:pt x="4720380" y="1882719"/>
                  </a:lnTo>
                  <a:lnTo>
                    <a:pt x="4741829" y="1899556"/>
                  </a:lnTo>
                  <a:lnTo>
                    <a:pt x="4769878" y="1928179"/>
                  </a:lnTo>
                  <a:lnTo>
                    <a:pt x="4797927" y="1956802"/>
                  </a:lnTo>
                  <a:lnTo>
                    <a:pt x="4799472" y="1961533"/>
                  </a:lnTo>
                  <a:lnTo>
                    <a:pt x="4799850" y="1961410"/>
                  </a:lnTo>
                  <a:lnTo>
                    <a:pt x="4810121" y="1994767"/>
                  </a:lnTo>
                  <a:lnTo>
                    <a:pt x="4809396" y="1996179"/>
                  </a:lnTo>
                  <a:lnTo>
                    <a:pt x="4825925" y="2011098"/>
                  </a:lnTo>
                  <a:lnTo>
                    <a:pt x="4842600" y="2027823"/>
                  </a:lnTo>
                  <a:lnTo>
                    <a:pt x="4874283" y="2016116"/>
                  </a:lnTo>
                  <a:lnTo>
                    <a:pt x="4900964" y="2017788"/>
                  </a:lnTo>
                  <a:lnTo>
                    <a:pt x="4924309" y="2006081"/>
                  </a:lnTo>
                  <a:lnTo>
                    <a:pt x="4960995" y="1997719"/>
                  </a:lnTo>
                  <a:lnTo>
                    <a:pt x="4999348" y="1989356"/>
                  </a:lnTo>
                  <a:lnTo>
                    <a:pt x="5011021" y="1980994"/>
                  </a:lnTo>
                  <a:lnTo>
                    <a:pt x="5019358" y="1989356"/>
                  </a:lnTo>
                  <a:lnTo>
                    <a:pt x="5016023" y="2027823"/>
                  </a:lnTo>
                  <a:lnTo>
                    <a:pt x="5021026" y="2027823"/>
                  </a:lnTo>
                  <a:lnTo>
                    <a:pt x="5012688" y="2037858"/>
                  </a:lnTo>
                  <a:lnTo>
                    <a:pt x="5004350" y="2071308"/>
                  </a:lnTo>
                  <a:lnTo>
                    <a:pt x="4986008" y="2108102"/>
                  </a:lnTo>
                  <a:lnTo>
                    <a:pt x="4969332" y="2141552"/>
                  </a:lnTo>
                  <a:lnTo>
                    <a:pt x="4950990" y="2178346"/>
                  </a:lnTo>
                  <a:lnTo>
                    <a:pt x="4932647" y="2213468"/>
                  </a:lnTo>
                  <a:lnTo>
                    <a:pt x="4915971" y="2231865"/>
                  </a:lnTo>
                  <a:lnTo>
                    <a:pt x="4900964" y="2248590"/>
                  </a:lnTo>
                  <a:lnTo>
                    <a:pt x="4884288" y="2263643"/>
                  </a:lnTo>
                  <a:lnTo>
                    <a:pt x="4870948" y="2280367"/>
                  </a:lnTo>
                  <a:lnTo>
                    <a:pt x="4850938" y="2298765"/>
                  </a:lnTo>
                  <a:lnTo>
                    <a:pt x="4832595" y="2317162"/>
                  </a:lnTo>
                  <a:lnTo>
                    <a:pt x="4814252" y="2333887"/>
                  </a:lnTo>
                  <a:lnTo>
                    <a:pt x="4795909" y="2352284"/>
                  </a:lnTo>
                  <a:lnTo>
                    <a:pt x="4782569" y="2372354"/>
                  </a:lnTo>
                  <a:lnTo>
                    <a:pt x="4770897" y="2390751"/>
                  </a:lnTo>
                  <a:lnTo>
                    <a:pt x="4755889" y="2367336"/>
                  </a:lnTo>
                  <a:lnTo>
                    <a:pt x="4755889" y="2338904"/>
                  </a:lnTo>
                  <a:lnTo>
                    <a:pt x="4755889" y="2310472"/>
                  </a:lnTo>
                  <a:lnTo>
                    <a:pt x="4755889" y="2282040"/>
                  </a:lnTo>
                  <a:lnTo>
                    <a:pt x="4755889" y="2256953"/>
                  </a:lnTo>
                  <a:lnTo>
                    <a:pt x="4769229" y="2238555"/>
                  </a:lnTo>
                  <a:lnTo>
                    <a:pt x="4780902" y="2221831"/>
                  </a:lnTo>
                  <a:lnTo>
                    <a:pt x="4792574" y="2213468"/>
                  </a:lnTo>
                  <a:lnTo>
                    <a:pt x="4819255" y="2198416"/>
                  </a:lnTo>
                  <a:lnTo>
                    <a:pt x="4839265" y="2196743"/>
                  </a:lnTo>
                  <a:lnTo>
                    <a:pt x="4860943" y="2193399"/>
                  </a:lnTo>
                  <a:lnTo>
                    <a:pt x="4879286" y="2169984"/>
                  </a:lnTo>
                  <a:lnTo>
                    <a:pt x="4899296" y="2146569"/>
                  </a:lnTo>
                  <a:lnTo>
                    <a:pt x="4919307" y="2123154"/>
                  </a:lnTo>
                  <a:lnTo>
                    <a:pt x="4935982" y="2099740"/>
                  </a:lnTo>
                  <a:lnTo>
                    <a:pt x="4935658" y="2099740"/>
                  </a:lnTo>
                  <a:lnTo>
                    <a:pt x="4919940" y="2121765"/>
                  </a:lnTo>
                  <a:lnTo>
                    <a:pt x="4899870" y="2145198"/>
                  </a:lnTo>
                  <a:lnTo>
                    <a:pt x="4879801" y="2168632"/>
                  </a:lnTo>
                  <a:lnTo>
                    <a:pt x="4861405" y="2192066"/>
                  </a:lnTo>
                  <a:lnTo>
                    <a:pt x="4839663" y="2195414"/>
                  </a:lnTo>
                  <a:lnTo>
                    <a:pt x="4819594" y="2197087"/>
                  </a:lnTo>
                  <a:lnTo>
                    <a:pt x="4792835" y="2212152"/>
                  </a:lnTo>
                  <a:lnTo>
                    <a:pt x="4781128" y="2220521"/>
                  </a:lnTo>
                  <a:lnTo>
                    <a:pt x="4752697" y="2215500"/>
                  </a:lnTo>
                  <a:lnTo>
                    <a:pt x="4725938" y="2222195"/>
                  </a:lnTo>
                  <a:lnTo>
                    <a:pt x="4712559" y="2235586"/>
                  </a:lnTo>
                  <a:lnTo>
                    <a:pt x="4675766" y="2227217"/>
                  </a:lnTo>
                  <a:lnTo>
                    <a:pt x="4643990" y="2205457"/>
                  </a:lnTo>
                  <a:lnTo>
                    <a:pt x="4622248" y="2200435"/>
                  </a:lnTo>
                  <a:lnTo>
                    <a:pt x="4622223" y="2200365"/>
                  </a:lnTo>
                  <a:lnTo>
                    <a:pt x="4602025" y="2200365"/>
                  </a:lnTo>
                  <a:lnTo>
                    <a:pt x="4581837" y="2200365"/>
                  </a:lnTo>
                  <a:lnTo>
                    <a:pt x="4571743" y="2212106"/>
                  </a:lnTo>
                  <a:lnTo>
                    <a:pt x="4570994" y="2213067"/>
                  </a:lnTo>
                  <a:lnTo>
                    <a:pt x="4571224" y="2213568"/>
                  </a:lnTo>
                  <a:lnTo>
                    <a:pt x="4580712" y="2202444"/>
                  </a:lnTo>
                  <a:lnTo>
                    <a:pt x="4600640" y="2202444"/>
                  </a:lnTo>
                  <a:lnTo>
                    <a:pt x="4622229" y="2202444"/>
                  </a:lnTo>
                  <a:lnTo>
                    <a:pt x="4643818" y="2207450"/>
                  </a:lnTo>
                  <a:lnTo>
                    <a:pt x="4675370" y="2229145"/>
                  </a:lnTo>
                  <a:lnTo>
                    <a:pt x="4711905" y="2237489"/>
                  </a:lnTo>
                  <a:lnTo>
                    <a:pt x="4725190" y="2224139"/>
                  </a:lnTo>
                  <a:lnTo>
                    <a:pt x="4751761" y="2217463"/>
                  </a:lnTo>
                  <a:lnTo>
                    <a:pt x="4779992" y="2222470"/>
                  </a:lnTo>
                  <a:lnTo>
                    <a:pt x="4768367" y="2239158"/>
                  </a:lnTo>
                  <a:lnTo>
                    <a:pt x="4755082" y="2257515"/>
                  </a:lnTo>
                  <a:lnTo>
                    <a:pt x="4755082" y="2282548"/>
                  </a:lnTo>
                  <a:lnTo>
                    <a:pt x="4755082" y="2310918"/>
                  </a:lnTo>
                  <a:lnTo>
                    <a:pt x="4755082" y="2339288"/>
                  </a:lnTo>
                  <a:lnTo>
                    <a:pt x="4755082" y="2367659"/>
                  </a:lnTo>
                  <a:lnTo>
                    <a:pt x="4770028" y="2391022"/>
                  </a:lnTo>
                  <a:lnTo>
                    <a:pt x="4755082" y="2399366"/>
                  </a:lnTo>
                  <a:lnTo>
                    <a:pt x="4745118" y="2417724"/>
                  </a:lnTo>
                  <a:lnTo>
                    <a:pt x="4733493" y="2429405"/>
                  </a:lnTo>
                  <a:lnTo>
                    <a:pt x="4721869" y="2452769"/>
                  </a:lnTo>
                  <a:lnTo>
                    <a:pt x="4710244" y="2479470"/>
                  </a:lnTo>
                  <a:lnTo>
                    <a:pt x="4709311" y="2480408"/>
                  </a:lnTo>
                  <a:lnTo>
                    <a:pt x="4709383" y="2480480"/>
                  </a:lnTo>
                  <a:lnTo>
                    <a:pt x="4695922" y="2520778"/>
                  </a:lnTo>
                  <a:lnTo>
                    <a:pt x="4714431" y="2547643"/>
                  </a:lnTo>
                  <a:lnTo>
                    <a:pt x="4709383" y="2574508"/>
                  </a:lnTo>
                  <a:lnTo>
                    <a:pt x="4711066" y="2584582"/>
                  </a:lnTo>
                  <a:lnTo>
                    <a:pt x="4714431" y="2608089"/>
                  </a:lnTo>
                  <a:lnTo>
                    <a:pt x="4719479" y="2638313"/>
                  </a:lnTo>
                  <a:lnTo>
                    <a:pt x="4735583" y="2654382"/>
                  </a:lnTo>
                  <a:lnTo>
                    <a:pt x="4737666" y="2654382"/>
                  </a:lnTo>
                  <a:lnTo>
                    <a:pt x="4734363" y="2674489"/>
                  </a:lnTo>
                  <a:lnTo>
                    <a:pt x="4737666" y="2718053"/>
                  </a:lnTo>
                  <a:lnTo>
                    <a:pt x="4732711" y="2731457"/>
                  </a:lnTo>
                  <a:lnTo>
                    <a:pt x="4737666" y="2773346"/>
                  </a:lnTo>
                  <a:lnTo>
                    <a:pt x="4739318" y="2773346"/>
                  </a:lnTo>
                  <a:lnTo>
                    <a:pt x="4732711" y="2795128"/>
                  </a:lnTo>
                  <a:lnTo>
                    <a:pt x="4711240" y="2833666"/>
                  </a:lnTo>
                  <a:lnTo>
                    <a:pt x="4679858" y="2853773"/>
                  </a:lnTo>
                  <a:lnTo>
                    <a:pt x="4655083" y="2868853"/>
                  </a:lnTo>
                  <a:lnTo>
                    <a:pt x="4633612" y="2882257"/>
                  </a:lnTo>
                  <a:lnTo>
                    <a:pt x="4613792" y="2909066"/>
                  </a:lnTo>
                  <a:lnTo>
                    <a:pt x="4584062" y="2932524"/>
                  </a:lnTo>
                  <a:lnTo>
                    <a:pt x="4574152" y="2932524"/>
                  </a:lnTo>
                  <a:lnTo>
                    <a:pt x="4574152" y="2942577"/>
                  </a:lnTo>
                  <a:lnTo>
                    <a:pt x="4579107" y="2962684"/>
                  </a:lnTo>
                  <a:lnTo>
                    <a:pt x="4580759" y="2989492"/>
                  </a:lnTo>
                  <a:lnTo>
                    <a:pt x="4585714" y="3012950"/>
                  </a:lnTo>
                  <a:lnTo>
                    <a:pt x="4590669" y="3004572"/>
                  </a:lnTo>
                  <a:lnTo>
                    <a:pt x="4589017" y="3031381"/>
                  </a:lnTo>
                  <a:lnTo>
                    <a:pt x="4584062" y="3056514"/>
                  </a:lnTo>
                  <a:lnTo>
                    <a:pt x="4584062" y="3069919"/>
                  </a:lnTo>
                  <a:lnTo>
                    <a:pt x="4562590" y="3083323"/>
                  </a:lnTo>
                  <a:lnTo>
                    <a:pt x="4541119" y="3095052"/>
                  </a:lnTo>
                  <a:lnTo>
                    <a:pt x="4509737" y="3121861"/>
                  </a:lnTo>
                  <a:lnTo>
                    <a:pt x="4516344" y="3126888"/>
                  </a:lnTo>
                  <a:lnTo>
                    <a:pt x="4514780" y="3145928"/>
                  </a:lnTo>
                  <a:lnTo>
                    <a:pt x="4514855" y="3145928"/>
                  </a:lnTo>
                  <a:lnTo>
                    <a:pt x="4514761" y="3146154"/>
                  </a:lnTo>
                  <a:lnTo>
                    <a:pt x="4514692" y="3146994"/>
                  </a:lnTo>
                  <a:lnTo>
                    <a:pt x="4514414" y="3146994"/>
                  </a:lnTo>
                  <a:lnTo>
                    <a:pt x="4503101" y="3174371"/>
                  </a:lnTo>
                  <a:lnTo>
                    <a:pt x="4491347" y="3204486"/>
                  </a:lnTo>
                  <a:lnTo>
                    <a:pt x="4471197" y="3229583"/>
                  </a:lnTo>
                  <a:lnTo>
                    <a:pt x="4452727" y="3251333"/>
                  </a:lnTo>
                  <a:lnTo>
                    <a:pt x="4434256" y="3269737"/>
                  </a:lnTo>
                  <a:lnTo>
                    <a:pt x="4419144" y="3286468"/>
                  </a:lnTo>
                  <a:lnTo>
                    <a:pt x="4402353" y="3304872"/>
                  </a:lnTo>
                  <a:lnTo>
                    <a:pt x="4385561" y="3321603"/>
                  </a:lnTo>
                  <a:lnTo>
                    <a:pt x="4358695" y="3336661"/>
                  </a:lnTo>
                  <a:lnTo>
                    <a:pt x="4330150" y="3353392"/>
                  </a:lnTo>
                  <a:lnTo>
                    <a:pt x="4313359" y="3360085"/>
                  </a:lnTo>
                  <a:lnTo>
                    <a:pt x="4279776" y="3363431"/>
                  </a:lnTo>
                  <a:lnTo>
                    <a:pt x="4251231" y="3365104"/>
                  </a:lnTo>
                  <a:lnTo>
                    <a:pt x="4224365" y="3365104"/>
                  </a:lnTo>
                  <a:lnTo>
                    <a:pt x="4197498" y="3375143"/>
                  </a:lnTo>
                  <a:lnTo>
                    <a:pt x="4170632" y="3383508"/>
                  </a:lnTo>
                  <a:lnTo>
                    <a:pt x="4153841" y="3375143"/>
                  </a:lnTo>
                  <a:lnTo>
                    <a:pt x="4140408" y="3366777"/>
                  </a:lnTo>
                  <a:lnTo>
                    <a:pt x="4132012" y="3366777"/>
                  </a:lnTo>
                  <a:lnTo>
                    <a:pt x="4123616" y="3336661"/>
                  </a:lnTo>
                  <a:lnTo>
                    <a:pt x="4121937" y="3323277"/>
                  </a:lnTo>
                  <a:lnTo>
                    <a:pt x="4132012" y="3309892"/>
                  </a:lnTo>
                  <a:lnTo>
                    <a:pt x="4121937" y="3281449"/>
                  </a:lnTo>
                  <a:lnTo>
                    <a:pt x="4111862" y="3253006"/>
                  </a:lnTo>
                  <a:lnTo>
                    <a:pt x="4101788" y="3226237"/>
                  </a:lnTo>
                  <a:lnTo>
                    <a:pt x="4090379" y="3200254"/>
                  </a:lnTo>
                  <a:lnTo>
                    <a:pt x="4090170" y="3200519"/>
                  </a:lnTo>
                  <a:lnTo>
                    <a:pt x="4076862" y="3180320"/>
                  </a:lnTo>
                  <a:lnTo>
                    <a:pt x="4060226" y="3156754"/>
                  </a:lnTo>
                  <a:lnTo>
                    <a:pt x="4056899" y="3126455"/>
                  </a:lnTo>
                  <a:lnTo>
                    <a:pt x="4051909" y="3096156"/>
                  </a:lnTo>
                  <a:lnTo>
                    <a:pt x="4048582" y="3065857"/>
                  </a:lnTo>
                  <a:lnTo>
                    <a:pt x="4043591" y="3033875"/>
                  </a:lnTo>
                  <a:lnTo>
                    <a:pt x="4043748" y="3033928"/>
                  </a:lnTo>
                  <a:lnTo>
                    <a:pt x="4043334" y="3033675"/>
                  </a:lnTo>
                  <a:lnTo>
                    <a:pt x="4045342" y="3018945"/>
                  </a:lnTo>
                  <a:lnTo>
                    <a:pt x="4046303" y="3034790"/>
                  </a:lnTo>
                  <a:lnTo>
                    <a:pt x="4048582" y="3035558"/>
                  </a:lnTo>
                  <a:lnTo>
                    <a:pt x="4046918" y="3020409"/>
                  </a:lnTo>
                  <a:lnTo>
                    <a:pt x="4028619" y="2983377"/>
                  </a:lnTo>
                  <a:lnTo>
                    <a:pt x="4011984" y="2948028"/>
                  </a:lnTo>
                  <a:lnTo>
                    <a:pt x="3993685" y="2910996"/>
                  </a:lnTo>
                  <a:lnTo>
                    <a:pt x="3977050" y="2873964"/>
                  </a:lnTo>
                  <a:lnTo>
                    <a:pt x="3978713" y="2857132"/>
                  </a:lnTo>
                  <a:lnTo>
                    <a:pt x="4009256" y="2848999"/>
                  </a:lnTo>
                  <a:lnTo>
                    <a:pt x="4008935" y="2848854"/>
                  </a:lnTo>
                  <a:lnTo>
                    <a:pt x="3977050" y="2857185"/>
                  </a:lnTo>
                  <a:lnTo>
                    <a:pt x="3978728" y="2832193"/>
                  </a:lnTo>
                  <a:lnTo>
                    <a:pt x="3980406" y="2808867"/>
                  </a:lnTo>
                  <a:lnTo>
                    <a:pt x="3992153" y="2772212"/>
                  </a:lnTo>
                  <a:lnTo>
                    <a:pt x="4005579" y="2733891"/>
                  </a:lnTo>
                  <a:lnTo>
                    <a:pt x="4019004" y="2713897"/>
                  </a:lnTo>
                  <a:lnTo>
                    <a:pt x="4030752" y="2693904"/>
                  </a:lnTo>
                  <a:lnTo>
                    <a:pt x="4027395" y="2653917"/>
                  </a:lnTo>
                  <a:lnTo>
                    <a:pt x="4019004" y="2630591"/>
                  </a:lnTo>
                  <a:lnTo>
                    <a:pt x="4012292" y="2608931"/>
                  </a:lnTo>
                  <a:lnTo>
                    <a:pt x="4020682" y="2593936"/>
                  </a:lnTo>
                  <a:lnTo>
                    <a:pt x="4008935" y="2558947"/>
                  </a:lnTo>
                  <a:lnTo>
                    <a:pt x="3995510" y="2522293"/>
                  </a:lnTo>
                  <a:lnTo>
                    <a:pt x="4004603" y="2520209"/>
                  </a:lnTo>
                  <a:lnTo>
                    <a:pt x="3998601" y="2520674"/>
                  </a:lnTo>
                  <a:lnTo>
                    <a:pt x="3993621" y="2515657"/>
                  </a:lnTo>
                  <a:lnTo>
                    <a:pt x="4003581" y="2513985"/>
                  </a:lnTo>
                  <a:lnTo>
                    <a:pt x="4005241" y="2490572"/>
                  </a:lnTo>
                  <a:lnTo>
                    <a:pt x="4018522" y="2480538"/>
                  </a:lnTo>
                  <a:lnTo>
                    <a:pt x="4031803" y="2485555"/>
                  </a:lnTo>
                  <a:lnTo>
                    <a:pt x="4038443" y="2475521"/>
                  </a:lnTo>
                  <a:lnTo>
                    <a:pt x="4053195" y="2473870"/>
                  </a:lnTo>
                  <a:lnTo>
                    <a:pt x="4052527" y="2471896"/>
                  </a:lnTo>
                  <a:lnTo>
                    <a:pt x="4037347" y="2473558"/>
                  </a:lnTo>
                  <a:lnTo>
                    <a:pt x="4030600" y="2483530"/>
                  </a:lnTo>
                  <a:lnTo>
                    <a:pt x="4017106" y="2478544"/>
                  </a:lnTo>
                  <a:lnTo>
                    <a:pt x="4006986" y="2473558"/>
                  </a:lnTo>
                  <a:lnTo>
                    <a:pt x="4006463" y="2474027"/>
                  </a:lnTo>
                  <a:lnTo>
                    <a:pt x="4016218" y="2478690"/>
                  </a:lnTo>
                  <a:lnTo>
                    <a:pt x="4002039" y="2488859"/>
                  </a:lnTo>
                  <a:lnTo>
                    <a:pt x="4000267" y="2512585"/>
                  </a:lnTo>
                  <a:lnTo>
                    <a:pt x="3989633" y="2514280"/>
                  </a:lnTo>
                  <a:lnTo>
                    <a:pt x="3986089" y="2490554"/>
                  </a:lnTo>
                  <a:lnTo>
                    <a:pt x="3987713" y="2489142"/>
                  </a:lnTo>
                  <a:lnTo>
                    <a:pt x="3966505" y="2458601"/>
                  </a:lnTo>
                  <a:lnTo>
                    <a:pt x="3967569" y="2456767"/>
                  </a:lnTo>
                  <a:lnTo>
                    <a:pt x="3949585" y="2435475"/>
                  </a:lnTo>
                  <a:lnTo>
                    <a:pt x="3931375" y="2412256"/>
                  </a:lnTo>
                  <a:lnTo>
                    <a:pt x="3934686" y="2415573"/>
                  </a:lnTo>
                  <a:lnTo>
                    <a:pt x="3919787" y="2397330"/>
                  </a:lnTo>
                  <a:lnTo>
                    <a:pt x="3923098" y="2397330"/>
                  </a:lnTo>
                  <a:lnTo>
                    <a:pt x="3911510" y="2379086"/>
                  </a:lnTo>
                  <a:lnTo>
                    <a:pt x="3921443" y="2387379"/>
                  </a:lnTo>
                  <a:lnTo>
                    <a:pt x="3914821" y="2380745"/>
                  </a:lnTo>
                  <a:lnTo>
                    <a:pt x="3903233" y="2360843"/>
                  </a:lnTo>
                  <a:lnTo>
                    <a:pt x="3911510" y="2360843"/>
                  </a:lnTo>
                  <a:lnTo>
                    <a:pt x="3919787" y="2332649"/>
                  </a:lnTo>
                  <a:lnTo>
                    <a:pt x="3934686" y="2335966"/>
                  </a:lnTo>
                  <a:lnTo>
                    <a:pt x="3918132" y="2321039"/>
                  </a:lnTo>
                  <a:lnTo>
                    <a:pt x="3924754" y="2321039"/>
                  </a:lnTo>
                  <a:lnTo>
                    <a:pt x="3929720" y="2309430"/>
                  </a:lnTo>
                  <a:lnTo>
                    <a:pt x="3931375" y="2309430"/>
                  </a:lnTo>
                  <a:lnTo>
                    <a:pt x="3951241" y="2309430"/>
                  </a:lnTo>
                  <a:lnTo>
                    <a:pt x="3971106" y="2309430"/>
                  </a:lnTo>
                  <a:lnTo>
                    <a:pt x="3971106" y="2276260"/>
                  </a:lnTo>
                  <a:lnTo>
                    <a:pt x="3997593" y="2276260"/>
                  </a:lnTo>
                  <a:lnTo>
                    <a:pt x="4022425" y="2276260"/>
                  </a:lnTo>
                  <a:lnTo>
                    <a:pt x="4022351" y="2277446"/>
                  </a:lnTo>
                  <a:lnTo>
                    <a:pt x="4049154" y="2277446"/>
                  </a:lnTo>
                  <a:lnTo>
                    <a:pt x="4071081" y="2282432"/>
                  </a:lnTo>
                  <a:lnTo>
                    <a:pt x="4094695" y="2289080"/>
                  </a:lnTo>
                  <a:lnTo>
                    <a:pt x="4099755" y="2274122"/>
                  </a:lnTo>
                  <a:lnTo>
                    <a:pt x="4100294" y="2272443"/>
                  </a:lnTo>
                  <a:lnTo>
                    <a:pt x="4092210" y="2246362"/>
                  </a:lnTo>
                  <a:lnTo>
                    <a:pt x="4078877" y="2226199"/>
                  </a:lnTo>
                  <a:lnTo>
                    <a:pt x="4063878" y="2202675"/>
                  </a:lnTo>
                  <a:lnTo>
                    <a:pt x="4053879" y="2160668"/>
                  </a:lnTo>
                  <a:lnTo>
                    <a:pt x="4068878" y="2137144"/>
                  </a:lnTo>
                  <a:lnTo>
                    <a:pt x="4080544" y="2111940"/>
                  </a:lnTo>
                  <a:lnTo>
                    <a:pt x="4103786" y="2105691"/>
                  </a:lnTo>
                  <a:lnTo>
                    <a:pt x="4103287" y="2105356"/>
                  </a:lnTo>
                  <a:lnTo>
                    <a:pt x="4078334" y="2112056"/>
                  </a:lnTo>
                  <a:lnTo>
                    <a:pt x="4061698" y="2075206"/>
                  </a:lnTo>
                  <a:lnTo>
                    <a:pt x="4061079" y="2074390"/>
                  </a:lnTo>
                  <a:lnTo>
                    <a:pt x="4077546" y="2110793"/>
                  </a:lnTo>
                  <a:lnTo>
                    <a:pt x="4065868" y="2135938"/>
                  </a:lnTo>
                  <a:lnTo>
                    <a:pt x="4050853" y="2159406"/>
                  </a:lnTo>
                  <a:lnTo>
                    <a:pt x="4060863" y="2201313"/>
                  </a:lnTo>
                  <a:lnTo>
                    <a:pt x="4075878" y="2224782"/>
                  </a:lnTo>
                  <a:lnTo>
                    <a:pt x="4089224" y="2244897"/>
                  </a:lnTo>
                  <a:lnTo>
                    <a:pt x="4097566" y="2271718"/>
                  </a:lnTo>
                  <a:lnTo>
                    <a:pt x="4092561" y="2286805"/>
                  </a:lnTo>
                  <a:lnTo>
                    <a:pt x="4069205" y="2280100"/>
                  </a:lnTo>
                  <a:lnTo>
                    <a:pt x="4047517" y="2275071"/>
                  </a:lnTo>
                  <a:lnTo>
                    <a:pt x="4020824" y="2275071"/>
                  </a:lnTo>
                  <a:lnTo>
                    <a:pt x="3995799" y="2275071"/>
                  </a:lnTo>
                  <a:lnTo>
                    <a:pt x="3969106" y="2275071"/>
                  </a:lnTo>
                  <a:lnTo>
                    <a:pt x="3949087" y="2270042"/>
                  </a:lnTo>
                  <a:lnTo>
                    <a:pt x="3929067" y="2268366"/>
                  </a:lnTo>
                  <a:lnTo>
                    <a:pt x="3929067" y="2236516"/>
                  </a:lnTo>
                  <a:lnTo>
                    <a:pt x="3925730" y="2221429"/>
                  </a:lnTo>
                  <a:lnTo>
                    <a:pt x="3922394" y="2218076"/>
                  </a:lnTo>
                  <a:lnTo>
                    <a:pt x="3907379" y="2216400"/>
                  </a:lnTo>
                  <a:lnTo>
                    <a:pt x="3899037" y="2197961"/>
                  </a:lnTo>
                  <a:lnTo>
                    <a:pt x="3895701" y="2199637"/>
                  </a:lnTo>
                  <a:lnTo>
                    <a:pt x="3896933" y="2195924"/>
                  </a:lnTo>
                  <a:lnTo>
                    <a:pt x="3888639" y="2193128"/>
                  </a:lnTo>
                  <a:lnTo>
                    <a:pt x="3890304" y="2203237"/>
                  </a:lnTo>
                  <a:lnTo>
                    <a:pt x="3863650" y="2203237"/>
                  </a:lnTo>
                  <a:lnTo>
                    <a:pt x="3860319" y="2201552"/>
                  </a:lnTo>
                  <a:lnTo>
                    <a:pt x="3856987" y="2201552"/>
                  </a:lnTo>
                  <a:lnTo>
                    <a:pt x="3851989" y="2206606"/>
                  </a:lnTo>
                  <a:lnTo>
                    <a:pt x="3848658" y="2198183"/>
                  </a:lnTo>
                  <a:lnTo>
                    <a:pt x="3848658" y="2203237"/>
                  </a:lnTo>
                  <a:lnTo>
                    <a:pt x="3843660" y="2206606"/>
                  </a:lnTo>
                  <a:lnTo>
                    <a:pt x="3836997" y="2206606"/>
                  </a:lnTo>
                  <a:lnTo>
                    <a:pt x="3823670" y="2208291"/>
                  </a:lnTo>
                  <a:lnTo>
                    <a:pt x="3813674" y="2179651"/>
                  </a:lnTo>
                  <a:lnTo>
                    <a:pt x="3817006" y="2177966"/>
                  </a:lnTo>
                  <a:lnTo>
                    <a:pt x="3810343" y="2171227"/>
                  </a:lnTo>
                  <a:lnTo>
                    <a:pt x="3812008" y="2171227"/>
                  </a:lnTo>
                  <a:lnTo>
                    <a:pt x="3807011" y="2166173"/>
                  </a:lnTo>
                  <a:lnTo>
                    <a:pt x="3778691" y="2147641"/>
                  </a:lnTo>
                  <a:lnTo>
                    <a:pt x="3763698" y="2145956"/>
                  </a:lnTo>
                  <a:lnTo>
                    <a:pt x="3768696" y="2140902"/>
                  </a:lnTo>
                  <a:lnTo>
                    <a:pt x="3742042" y="2149325"/>
                  </a:lnTo>
                  <a:lnTo>
                    <a:pt x="3743708" y="2107207"/>
                  </a:lnTo>
                  <a:lnTo>
                    <a:pt x="3747039" y="2066773"/>
                  </a:lnTo>
                  <a:lnTo>
                    <a:pt x="3767030" y="2031393"/>
                  </a:lnTo>
                  <a:lnTo>
                    <a:pt x="3768696" y="2006122"/>
                  </a:lnTo>
                  <a:lnTo>
                    <a:pt x="3763698" y="1989275"/>
                  </a:lnTo>
                  <a:lnTo>
                    <a:pt x="3763698" y="1987590"/>
                  </a:lnTo>
                  <a:lnTo>
                    <a:pt x="3767030" y="1975797"/>
                  </a:lnTo>
                  <a:lnTo>
                    <a:pt x="3773693" y="1955580"/>
                  </a:lnTo>
                  <a:lnTo>
                    <a:pt x="3780069" y="1934626"/>
                  </a:lnTo>
                  <a:lnTo>
                    <a:pt x="3779409" y="1934862"/>
                  </a:lnTo>
                  <a:lnTo>
                    <a:pt x="3772722" y="1956663"/>
                  </a:lnTo>
                  <a:lnTo>
                    <a:pt x="3766035" y="1976787"/>
                  </a:lnTo>
                  <a:lnTo>
                    <a:pt x="3762691" y="1988526"/>
                  </a:lnTo>
                  <a:lnTo>
                    <a:pt x="3740958" y="1968402"/>
                  </a:lnTo>
                  <a:lnTo>
                    <a:pt x="3740491" y="1968963"/>
                  </a:lnTo>
                  <a:lnTo>
                    <a:pt x="3761331" y="1988992"/>
                  </a:lnTo>
                  <a:lnTo>
                    <a:pt x="3761331" y="1990663"/>
                  </a:lnTo>
                  <a:lnTo>
                    <a:pt x="3766145" y="2007371"/>
                  </a:lnTo>
                  <a:lnTo>
                    <a:pt x="3764540" y="2032433"/>
                  </a:lnTo>
                  <a:lnTo>
                    <a:pt x="3745284" y="2067520"/>
                  </a:lnTo>
                  <a:lnTo>
                    <a:pt x="3742074" y="2107619"/>
                  </a:lnTo>
                  <a:lnTo>
                    <a:pt x="3740470" y="2149389"/>
                  </a:lnTo>
                  <a:lnTo>
                    <a:pt x="3713190" y="2152731"/>
                  </a:lnTo>
                  <a:lnTo>
                    <a:pt x="3711585" y="2131010"/>
                  </a:lnTo>
                  <a:lnTo>
                    <a:pt x="3711585" y="2109290"/>
                  </a:lnTo>
                  <a:lnTo>
                    <a:pt x="3709980" y="2085899"/>
                  </a:lnTo>
                  <a:lnTo>
                    <a:pt x="3709980" y="2062508"/>
                  </a:lnTo>
                  <a:lnTo>
                    <a:pt x="3706771" y="2039116"/>
                  </a:lnTo>
                  <a:lnTo>
                    <a:pt x="3692329" y="2022408"/>
                  </a:lnTo>
                  <a:lnTo>
                    <a:pt x="3693933" y="2009042"/>
                  </a:lnTo>
                  <a:lnTo>
                    <a:pt x="3697143" y="2009042"/>
                  </a:lnTo>
                  <a:lnTo>
                    <a:pt x="3711585" y="1999017"/>
                  </a:lnTo>
                  <a:lnTo>
                    <a:pt x="3730841" y="1987322"/>
                  </a:lnTo>
                  <a:lnTo>
                    <a:pt x="3732446" y="1982309"/>
                  </a:lnTo>
                  <a:lnTo>
                    <a:pt x="3732446" y="1981359"/>
                  </a:lnTo>
                  <a:lnTo>
                    <a:pt x="3727584" y="1966725"/>
                  </a:lnTo>
                  <a:lnTo>
                    <a:pt x="3720896" y="1958340"/>
                  </a:lnTo>
                  <a:lnTo>
                    <a:pt x="3720865" y="1958345"/>
                  </a:lnTo>
                  <a:lnTo>
                    <a:pt x="3726504" y="1965482"/>
                  </a:lnTo>
                  <a:lnTo>
                    <a:pt x="3731497" y="1980651"/>
                  </a:lnTo>
                  <a:lnTo>
                    <a:pt x="3729832" y="1985708"/>
                  </a:lnTo>
                  <a:lnTo>
                    <a:pt x="3709860" y="1997506"/>
                  </a:lnTo>
                  <a:lnTo>
                    <a:pt x="3694880" y="2007618"/>
                  </a:lnTo>
                  <a:lnTo>
                    <a:pt x="3686558" y="2007618"/>
                  </a:lnTo>
                  <a:lnTo>
                    <a:pt x="3664921" y="2004248"/>
                  </a:lnTo>
                  <a:lnTo>
                    <a:pt x="3656599" y="2005933"/>
                  </a:lnTo>
                  <a:lnTo>
                    <a:pt x="3626640" y="2007618"/>
                  </a:lnTo>
                  <a:lnTo>
                    <a:pt x="3595016" y="2007618"/>
                  </a:lnTo>
                  <a:lnTo>
                    <a:pt x="3596681" y="2031215"/>
                  </a:lnTo>
                  <a:lnTo>
                    <a:pt x="3598345" y="2054811"/>
                  </a:lnTo>
                  <a:lnTo>
                    <a:pt x="3575044" y="2039642"/>
                  </a:lnTo>
                  <a:lnTo>
                    <a:pt x="3550078" y="2048069"/>
                  </a:lnTo>
                  <a:lnTo>
                    <a:pt x="3535098" y="2029529"/>
                  </a:lnTo>
                  <a:lnTo>
                    <a:pt x="3525112" y="2026158"/>
                  </a:lnTo>
                  <a:lnTo>
                    <a:pt x="3530036" y="1986265"/>
                  </a:lnTo>
                  <a:lnTo>
                    <a:pt x="3529374" y="1986794"/>
                  </a:lnTo>
                  <a:lnTo>
                    <a:pt x="3524364" y="2026876"/>
                  </a:lnTo>
                  <a:lnTo>
                    <a:pt x="3505995" y="2030217"/>
                  </a:lnTo>
                  <a:lnTo>
                    <a:pt x="3500985" y="2018526"/>
                  </a:lnTo>
                  <a:lnTo>
                    <a:pt x="3500093" y="2019121"/>
                  </a:lnTo>
                  <a:lnTo>
                    <a:pt x="3504994" y="2030404"/>
                  </a:lnTo>
                  <a:lnTo>
                    <a:pt x="3523703" y="2027047"/>
                  </a:lnTo>
                  <a:lnTo>
                    <a:pt x="3533908" y="2030404"/>
                  </a:lnTo>
                  <a:lnTo>
                    <a:pt x="3549216" y="2048864"/>
                  </a:lnTo>
                  <a:lnTo>
                    <a:pt x="3574728" y="2040473"/>
                  </a:lnTo>
                  <a:lnTo>
                    <a:pt x="3598540" y="2055577"/>
                  </a:lnTo>
                  <a:lnTo>
                    <a:pt x="3601942" y="2092499"/>
                  </a:lnTo>
                  <a:lnTo>
                    <a:pt x="3595138" y="2115994"/>
                  </a:lnTo>
                  <a:lnTo>
                    <a:pt x="3584933" y="2136133"/>
                  </a:lnTo>
                  <a:lnTo>
                    <a:pt x="3590036" y="2157950"/>
                  </a:lnTo>
                  <a:lnTo>
                    <a:pt x="3595138" y="2181446"/>
                  </a:lnTo>
                  <a:lnTo>
                    <a:pt x="3586634" y="2188159"/>
                  </a:lnTo>
                  <a:lnTo>
                    <a:pt x="3581532" y="2183124"/>
                  </a:lnTo>
                  <a:lnTo>
                    <a:pt x="3566224" y="2181446"/>
                  </a:lnTo>
                  <a:lnTo>
                    <a:pt x="3545814" y="2183124"/>
                  </a:lnTo>
                  <a:lnTo>
                    <a:pt x="3561122" y="2183124"/>
                  </a:lnTo>
                  <a:lnTo>
                    <a:pt x="3527105" y="2186480"/>
                  </a:lnTo>
                  <a:lnTo>
                    <a:pt x="3535609" y="2186480"/>
                  </a:lnTo>
                  <a:lnTo>
                    <a:pt x="3503293" y="2198228"/>
                  </a:lnTo>
                  <a:lnTo>
                    <a:pt x="3468875" y="2209549"/>
                  </a:lnTo>
                  <a:lnTo>
                    <a:pt x="3468816" y="2209976"/>
                  </a:lnTo>
                  <a:lnTo>
                    <a:pt x="3468398" y="2209705"/>
                  </a:lnTo>
                  <a:lnTo>
                    <a:pt x="3467575" y="2209976"/>
                  </a:lnTo>
                  <a:lnTo>
                    <a:pt x="3467677" y="2209240"/>
                  </a:lnTo>
                  <a:lnTo>
                    <a:pt x="3440055" y="2191389"/>
                  </a:lnTo>
                  <a:lnTo>
                    <a:pt x="3412985" y="2176182"/>
                  </a:lnTo>
                  <a:lnTo>
                    <a:pt x="3387607" y="2152527"/>
                  </a:lnTo>
                  <a:lnTo>
                    <a:pt x="3364681" y="2131266"/>
                  </a:lnTo>
                  <a:lnTo>
                    <a:pt x="3337181" y="2118054"/>
                  </a:lnTo>
                  <a:lnTo>
                    <a:pt x="3343835" y="2112960"/>
                  </a:lnTo>
                  <a:lnTo>
                    <a:pt x="3337181" y="2109564"/>
                  </a:lnTo>
                  <a:lnTo>
                    <a:pt x="3318884" y="2089185"/>
                  </a:lnTo>
                  <a:lnTo>
                    <a:pt x="3327201" y="2082393"/>
                  </a:lnTo>
                  <a:lnTo>
                    <a:pt x="3318884" y="2078996"/>
                  </a:lnTo>
                  <a:lnTo>
                    <a:pt x="3325538" y="2075600"/>
                  </a:lnTo>
                  <a:lnTo>
                    <a:pt x="3318056" y="2069489"/>
                  </a:lnTo>
                  <a:lnTo>
                    <a:pt x="3317429" y="2070123"/>
                  </a:lnTo>
                  <a:lnTo>
                    <a:pt x="3315753" y="2059966"/>
                  </a:lnTo>
                  <a:lnTo>
                    <a:pt x="3309052" y="2051502"/>
                  </a:lnTo>
                  <a:lnTo>
                    <a:pt x="3305702" y="2046424"/>
                  </a:lnTo>
                  <a:lnTo>
                    <a:pt x="3297325" y="2037960"/>
                  </a:lnTo>
                  <a:lnTo>
                    <a:pt x="3283923" y="2021031"/>
                  </a:lnTo>
                  <a:lnTo>
                    <a:pt x="3283923" y="2015953"/>
                  </a:lnTo>
                  <a:lnTo>
                    <a:pt x="3280572" y="2017646"/>
                  </a:lnTo>
                  <a:lnTo>
                    <a:pt x="3278897" y="2009182"/>
                  </a:lnTo>
                  <a:lnTo>
                    <a:pt x="3270521" y="2012567"/>
                  </a:lnTo>
                  <a:lnTo>
                    <a:pt x="3273728" y="2010947"/>
                  </a:lnTo>
                  <a:lnTo>
                    <a:pt x="3269078" y="2007721"/>
                  </a:lnTo>
                  <a:lnTo>
                    <a:pt x="3265808" y="1999217"/>
                  </a:lnTo>
                  <a:lnTo>
                    <a:pt x="3269078" y="1990713"/>
                  </a:lnTo>
                  <a:lnTo>
                    <a:pt x="3259270" y="1989012"/>
                  </a:lnTo>
                  <a:lnTo>
                    <a:pt x="3273982" y="1987311"/>
                  </a:lnTo>
                  <a:lnTo>
                    <a:pt x="3267443" y="1982209"/>
                  </a:lnTo>
                  <a:lnTo>
                    <a:pt x="3249462" y="1982209"/>
                  </a:lnTo>
                  <a:lnTo>
                    <a:pt x="3251096" y="1978807"/>
                  </a:lnTo>
                  <a:lnTo>
                    <a:pt x="3238019" y="1977106"/>
                  </a:lnTo>
                  <a:lnTo>
                    <a:pt x="3241288" y="1970303"/>
                  </a:lnTo>
                  <a:lnTo>
                    <a:pt x="3235698" y="1970303"/>
                  </a:lnTo>
                  <a:lnTo>
                    <a:pt x="3228752" y="1971956"/>
                  </a:lnTo>
                  <a:lnTo>
                    <a:pt x="3229854" y="1970303"/>
                  </a:lnTo>
                  <a:lnTo>
                    <a:pt x="3229846" y="1970303"/>
                  </a:lnTo>
                  <a:lnTo>
                    <a:pt x="3229856" y="1970300"/>
                  </a:lnTo>
                  <a:lnTo>
                    <a:pt x="3235475" y="1961874"/>
                  </a:lnTo>
                  <a:lnTo>
                    <a:pt x="3259008" y="1960194"/>
                  </a:lnTo>
                  <a:lnTo>
                    <a:pt x="3259008" y="1956833"/>
                  </a:lnTo>
                  <a:lnTo>
                    <a:pt x="3248922" y="1960194"/>
                  </a:lnTo>
                  <a:lnTo>
                    <a:pt x="3230432" y="1961874"/>
                  </a:lnTo>
                  <a:lnTo>
                    <a:pt x="3227071" y="1948432"/>
                  </a:lnTo>
                  <a:lnTo>
                    <a:pt x="3248922" y="1941711"/>
                  </a:lnTo>
                  <a:lnTo>
                    <a:pt x="3269093" y="1933309"/>
                  </a:lnTo>
                  <a:lnTo>
                    <a:pt x="3304392" y="1941711"/>
                  </a:lnTo>
                  <a:lnTo>
                    <a:pt x="3301215" y="1937741"/>
                  </a:lnTo>
                  <a:lnTo>
                    <a:pt x="3268589" y="1930151"/>
                  </a:lnTo>
                  <a:lnTo>
                    <a:pt x="3248546" y="1938311"/>
                  </a:lnTo>
                  <a:lnTo>
                    <a:pt x="3226834" y="1944839"/>
                  </a:lnTo>
                  <a:lnTo>
                    <a:pt x="3230174" y="1933415"/>
                  </a:lnTo>
                  <a:lnTo>
                    <a:pt x="3243536" y="1938311"/>
                  </a:lnTo>
                  <a:lnTo>
                    <a:pt x="3256897" y="1933415"/>
                  </a:lnTo>
                  <a:lnTo>
                    <a:pt x="3233515" y="1933415"/>
                  </a:lnTo>
                  <a:lnTo>
                    <a:pt x="3233515" y="1930151"/>
                  </a:lnTo>
                  <a:lnTo>
                    <a:pt x="3233794" y="1930151"/>
                  </a:lnTo>
                  <a:lnTo>
                    <a:pt x="3233794" y="1923228"/>
                  </a:lnTo>
                  <a:lnTo>
                    <a:pt x="3228752" y="1921547"/>
                  </a:lnTo>
                  <a:lnTo>
                    <a:pt x="3235475" y="1916507"/>
                  </a:lnTo>
                  <a:lnTo>
                    <a:pt x="3227071" y="1921547"/>
                  </a:lnTo>
                  <a:lnTo>
                    <a:pt x="3210262" y="1899704"/>
                  </a:lnTo>
                  <a:lnTo>
                    <a:pt x="3223709" y="1879540"/>
                  </a:lnTo>
                  <a:lnTo>
                    <a:pt x="3235475" y="1859377"/>
                  </a:lnTo>
                  <a:lnTo>
                    <a:pt x="3240518" y="1847615"/>
                  </a:lnTo>
                  <a:lnTo>
                    <a:pt x="3264050" y="1842574"/>
                  </a:lnTo>
                  <a:lnTo>
                    <a:pt x="3284221" y="1840894"/>
                  </a:lnTo>
                  <a:lnTo>
                    <a:pt x="3306922" y="1855482"/>
                  </a:lnTo>
                  <a:lnTo>
                    <a:pt x="3306140" y="1854638"/>
                  </a:lnTo>
                  <a:lnTo>
                    <a:pt x="3282620" y="1839580"/>
                  </a:lnTo>
                  <a:lnTo>
                    <a:pt x="3262460" y="1841253"/>
                  </a:lnTo>
                  <a:lnTo>
                    <a:pt x="3238941" y="1846273"/>
                  </a:lnTo>
                  <a:lnTo>
                    <a:pt x="3233901" y="1857984"/>
                  </a:lnTo>
                  <a:lnTo>
                    <a:pt x="3242301" y="1821176"/>
                  </a:lnTo>
                  <a:lnTo>
                    <a:pt x="3247340" y="1786041"/>
                  </a:lnTo>
                  <a:lnTo>
                    <a:pt x="3238941" y="1757598"/>
                  </a:lnTo>
                  <a:lnTo>
                    <a:pt x="3242301" y="1725809"/>
                  </a:lnTo>
                  <a:lnTo>
                    <a:pt x="3225501" y="1707405"/>
                  </a:lnTo>
                  <a:lnTo>
                    <a:pt x="3227181" y="1699040"/>
                  </a:lnTo>
                  <a:lnTo>
                    <a:pt x="3252380" y="1699040"/>
                  </a:lnTo>
                  <a:lnTo>
                    <a:pt x="3277580" y="1699040"/>
                  </a:lnTo>
                  <a:lnTo>
                    <a:pt x="3304460" y="1699040"/>
                  </a:lnTo>
                  <a:lnTo>
                    <a:pt x="3329659" y="1699040"/>
                  </a:lnTo>
                  <a:lnTo>
                    <a:pt x="3329659" y="1673943"/>
                  </a:lnTo>
                  <a:lnTo>
                    <a:pt x="3329659" y="1648847"/>
                  </a:lnTo>
                  <a:lnTo>
                    <a:pt x="3356539" y="1635462"/>
                  </a:lnTo>
                  <a:lnTo>
                    <a:pt x="3358219" y="1596981"/>
                  </a:lnTo>
                  <a:lnTo>
                    <a:pt x="3358219" y="1559039"/>
                  </a:lnTo>
                  <a:lnTo>
                    <a:pt x="3357120" y="1559039"/>
                  </a:lnTo>
                  <a:lnTo>
                    <a:pt x="3357120" y="1597041"/>
                  </a:lnTo>
                  <a:lnTo>
                    <a:pt x="3355453" y="1635042"/>
                  </a:lnTo>
                  <a:lnTo>
                    <a:pt x="3328794" y="1648260"/>
                  </a:lnTo>
                  <a:lnTo>
                    <a:pt x="3328794" y="1673044"/>
                  </a:lnTo>
                  <a:lnTo>
                    <a:pt x="3328794" y="1697827"/>
                  </a:lnTo>
                  <a:lnTo>
                    <a:pt x="3303800" y="1697827"/>
                  </a:lnTo>
                  <a:lnTo>
                    <a:pt x="3277140" y="1697827"/>
                  </a:lnTo>
                  <a:lnTo>
                    <a:pt x="3252147" y="1697827"/>
                  </a:lnTo>
                  <a:lnTo>
                    <a:pt x="3227153" y="1697827"/>
                  </a:lnTo>
                  <a:lnTo>
                    <a:pt x="3223821" y="1714350"/>
                  </a:lnTo>
                  <a:lnTo>
                    <a:pt x="3223821" y="1697827"/>
                  </a:lnTo>
                  <a:lnTo>
                    <a:pt x="3242149" y="1659826"/>
                  </a:lnTo>
                  <a:lnTo>
                    <a:pt x="3258812" y="1625129"/>
                  </a:lnTo>
                  <a:lnTo>
                    <a:pt x="3253813" y="1628433"/>
                  </a:lnTo>
                  <a:lnTo>
                    <a:pt x="3275474" y="1605302"/>
                  </a:lnTo>
                  <a:lnTo>
                    <a:pt x="3283805" y="1580518"/>
                  </a:lnTo>
                  <a:lnTo>
                    <a:pt x="3293803" y="1559039"/>
                  </a:lnTo>
                  <a:lnTo>
                    <a:pt x="3313797" y="1539212"/>
                  </a:lnTo>
                  <a:lnTo>
                    <a:pt x="3328794" y="1509472"/>
                  </a:lnTo>
                  <a:lnTo>
                    <a:pt x="3330779" y="1509472"/>
                  </a:lnTo>
                  <a:lnTo>
                    <a:pt x="3359142" y="1497707"/>
                  </a:lnTo>
                  <a:lnTo>
                    <a:pt x="3379164" y="1484262"/>
                  </a:lnTo>
                  <a:lnTo>
                    <a:pt x="3399185" y="1469136"/>
                  </a:lnTo>
                  <a:lnTo>
                    <a:pt x="3410864" y="1447287"/>
                  </a:lnTo>
                  <a:lnTo>
                    <a:pt x="3424211" y="1427119"/>
                  </a:lnTo>
                  <a:lnTo>
                    <a:pt x="3419206" y="1398547"/>
                  </a:lnTo>
                  <a:lnTo>
                    <a:pt x="3430885" y="1376699"/>
                  </a:lnTo>
                  <a:lnTo>
                    <a:pt x="3445901" y="1353169"/>
                  </a:lnTo>
                  <a:lnTo>
                    <a:pt x="3467591" y="1338043"/>
                  </a:lnTo>
                  <a:lnTo>
                    <a:pt x="3490949" y="1322917"/>
                  </a:lnTo>
                  <a:lnTo>
                    <a:pt x="3505965" y="1297707"/>
                  </a:lnTo>
                  <a:lnTo>
                    <a:pt x="3517644" y="1274178"/>
                  </a:lnTo>
                  <a:lnTo>
                    <a:pt x="3530992" y="1262413"/>
                  </a:lnTo>
                  <a:lnTo>
                    <a:pt x="3546008" y="1277539"/>
                  </a:lnTo>
                  <a:lnTo>
                    <a:pt x="3587719" y="1282581"/>
                  </a:lnTo>
                  <a:lnTo>
                    <a:pt x="3596061" y="1279220"/>
                  </a:lnTo>
                  <a:lnTo>
                    <a:pt x="3613747" y="1285698"/>
                  </a:lnTo>
                  <a:lnTo>
                    <a:pt x="3635419" y="1274090"/>
                  </a:lnTo>
                  <a:lnTo>
                    <a:pt x="3658956" y="1262385"/>
                  </a:lnTo>
                  <a:lnTo>
                    <a:pt x="3674087" y="1255696"/>
                  </a:lnTo>
                  <a:lnTo>
                    <a:pt x="3706029" y="1245662"/>
                  </a:lnTo>
                  <a:lnTo>
                    <a:pt x="3737972" y="1235628"/>
                  </a:lnTo>
                  <a:lnTo>
                    <a:pt x="3766552" y="1235628"/>
                  </a:lnTo>
                  <a:lnTo>
                    <a:pt x="3795132" y="1235628"/>
                  </a:lnTo>
                  <a:lnTo>
                    <a:pt x="3822031" y="1232284"/>
                  </a:lnTo>
                  <a:lnTo>
                    <a:pt x="3842205" y="1232284"/>
                  </a:lnTo>
                  <a:lnTo>
                    <a:pt x="3881345" y="1232284"/>
                  </a:lnTo>
                  <a:lnTo>
                    <a:pt x="3881723" y="1231782"/>
                  </a:lnTo>
                  <a:lnTo>
                    <a:pt x="3910271" y="1221739"/>
                  </a:lnTo>
                  <a:lnTo>
                    <a:pt x="3920347" y="1226760"/>
                  </a:lnTo>
                  <a:lnTo>
                    <a:pt x="3927065" y="1236803"/>
                  </a:lnTo>
                  <a:lnTo>
                    <a:pt x="3942178" y="1226760"/>
                  </a:lnTo>
                  <a:lnTo>
                    <a:pt x="3930423" y="1258563"/>
                  </a:lnTo>
                  <a:lnTo>
                    <a:pt x="3947216" y="1281997"/>
                  </a:lnTo>
                  <a:lnTo>
                    <a:pt x="3932103" y="1298736"/>
                  </a:lnTo>
                  <a:lnTo>
                    <a:pt x="3920347" y="1317148"/>
                  </a:lnTo>
                  <a:lnTo>
                    <a:pt x="3942178" y="1332212"/>
                  </a:lnTo>
                  <a:lnTo>
                    <a:pt x="3958972" y="1343929"/>
                  </a:lnTo>
                  <a:lnTo>
                    <a:pt x="3957384" y="1366078"/>
                  </a:lnTo>
                  <a:lnTo>
                    <a:pt x="3957741" y="1365756"/>
                  </a:lnTo>
                  <a:lnTo>
                    <a:pt x="3959413" y="1342255"/>
                  </a:lnTo>
                  <a:lnTo>
                    <a:pt x="3996192" y="1350648"/>
                  </a:lnTo>
                  <a:lnTo>
                    <a:pt x="4022941" y="1357362"/>
                  </a:lnTo>
                  <a:lnTo>
                    <a:pt x="4051362" y="1364077"/>
                  </a:lnTo>
                  <a:lnTo>
                    <a:pt x="4063064" y="1392614"/>
                  </a:lnTo>
                  <a:lnTo>
                    <a:pt x="4093157" y="1401007"/>
                  </a:lnTo>
                  <a:lnTo>
                    <a:pt x="4121577" y="1414436"/>
                  </a:lnTo>
                  <a:lnTo>
                    <a:pt x="4151670" y="1427865"/>
                  </a:lnTo>
                  <a:lnTo>
                    <a:pt x="4178419" y="1412757"/>
                  </a:lnTo>
                  <a:lnTo>
                    <a:pt x="4176747" y="1372470"/>
                  </a:lnTo>
                  <a:lnTo>
                    <a:pt x="4193465" y="1360720"/>
                  </a:lnTo>
                  <a:lnTo>
                    <a:pt x="4213527" y="1347291"/>
                  </a:lnTo>
                  <a:lnTo>
                    <a:pt x="4246963" y="1355684"/>
                  </a:lnTo>
                  <a:lnTo>
                    <a:pt x="4251978" y="1365756"/>
                  </a:lnTo>
                  <a:lnTo>
                    <a:pt x="4290429" y="1375827"/>
                  </a:lnTo>
                  <a:lnTo>
                    <a:pt x="4303804" y="1385899"/>
                  </a:lnTo>
                  <a:lnTo>
                    <a:pt x="4300460" y="1406043"/>
                  </a:lnTo>
                  <a:lnTo>
                    <a:pt x="4302132" y="1427865"/>
                  </a:lnTo>
                  <a:lnTo>
                    <a:pt x="4302132" y="1451365"/>
                  </a:lnTo>
                  <a:lnTo>
                    <a:pt x="4303804" y="1481581"/>
                  </a:lnTo>
                  <a:lnTo>
                    <a:pt x="4307147" y="1508439"/>
                  </a:lnTo>
                  <a:lnTo>
                    <a:pt x="4308819" y="1536975"/>
                  </a:lnTo>
                  <a:lnTo>
                    <a:pt x="4310491" y="1565512"/>
                  </a:lnTo>
                  <a:lnTo>
                    <a:pt x="4312163" y="1594049"/>
                  </a:lnTo>
                  <a:lnTo>
                    <a:pt x="4313835" y="1622585"/>
                  </a:lnTo>
                  <a:lnTo>
                    <a:pt x="4317178" y="1649443"/>
                  </a:lnTo>
                  <a:lnTo>
                    <a:pt x="4318850" y="1677980"/>
                  </a:lnTo>
                  <a:lnTo>
                    <a:pt x="4318850" y="1708195"/>
                  </a:lnTo>
                  <a:lnTo>
                    <a:pt x="4320470" y="1737468"/>
                  </a:lnTo>
                  <a:lnTo>
                    <a:pt x="4321079" y="1737468"/>
                  </a:lnTo>
                  <a:lnTo>
                    <a:pt x="4319397" y="1707279"/>
                  </a:lnTo>
                  <a:lnTo>
                    <a:pt x="4319397" y="1677090"/>
                  </a:lnTo>
                  <a:lnTo>
                    <a:pt x="4319469" y="1677090"/>
                  </a:lnTo>
                  <a:lnTo>
                    <a:pt x="4317811" y="1649387"/>
                  </a:lnTo>
                  <a:lnTo>
                    <a:pt x="4314437" y="1622846"/>
                  </a:lnTo>
                  <a:lnTo>
                    <a:pt x="4312749" y="1594647"/>
                  </a:lnTo>
                  <a:lnTo>
                    <a:pt x="4311062" y="1566447"/>
                  </a:lnTo>
                  <a:lnTo>
                    <a:pt x="4309375" y="1538248"/>
                  </a:lnTo>
                  <a:lnTo>
                    <a:pt x="4307688" y="1510048"/>
                  </a:lnTo>
                  <a:lnTo>
                    <a:pt x="4304313" y="1483507"/>
                  </a:lnTo>
                  <a:lnTo>
                    <a:pt x="4302626" y="1453649"/>
                  </a:lnTo>
                  <a:lnTo>
                    <a:pt x="4302626" y="1430426"/>
                  </a:lnTo>
                  <a:lnTo>
                    <a:pt x="4300939" y="1408861"/>
                  </a:lnTo>
                  <a:lnTo>
                    <a:pt x="4304313" y="1388956"/>
                  </a:lnTo>
                  <a:lnTo>
                    <a:pt x="4322873" y="1390615"/>
                  </a:lnTo>
                  <a:lnTo>
                    <a:pt x="4361679" y="1400567"/>
                  </a:lnTo>
                  <a:lnTo>
                    <a:pt x="4402173" y="1413838"/>
                  </a:lnTo>
                  <a:lnTo>
                    <a:pt x="4435918" y="1400567"/>
                  </a:lnTo>
                  <a:lnTo>
                    <a:pt x="4454477" y="1390615"/>
                  </a:lnTo>
                  <a:lnTo>
                    <a:pt x="4446041" y="1397250"/>
                  </a:lnTo>
                  <a:lnTo>
                    <a:pt x="4459539" y="1393932"/>
                  </a:lnTo>
                  <a:lnTo>
                    <a:pt x="4481473" y="1398909"/>
                  </a:lnTo>
                  <a:lnTo>
                    <a:pt x="4489909" y="1405544"/>
                  </a:lnTo>
                  <a:lnTo>
                    <a:pt x="4501720" y="1407203"/>
                  </a:lnTo>
                  <a:lnTo>
                    <a:pt x="4537076" y="1398926"/>
                  </a:lnTo>
                  <a:lnTo>
                    <a:pt x="4535946" y="1396553"/>
                  </a:lnTo>
                  <a:lnTo>
                    <a:pt x="4545888" y="1371991"/>
                  </a:lnTo>
                  <a:lnTo>
                    <a:pt x="4554174" y="1345792"/>
                  </a:lnTo>
                  <a:lnTo>
                    <a:pt x="4555636" y="1344966"/>
                  </a:lnTo>
                  <a:lnTo>
                    <a:pt x="4563458" y="1322723"/>
                  </a:lnTo>
                  <a:lnTo>
                    <a:pt x="4571387" y="1298568"/>
                  </a:lnTo>
                  <a:lnTo>
                    <a:pt x="4585659" y="1306620"/>
                  </a:lnTo>
                  <a:lnTo>
                    <a:pt x="4582487" y="1324333"/>
                  </a:lnTo>
                  <a:lnTo>
                    <a:pt x="4566630" y="1338826"/>
                  </a:lnTo>
                  <a:lnTo>
                    <a:pt x="4565788" y="1339315"/>
                  </a:lnTo>
                  <a:lnTo>
                    <a:pt x="4569088" y="1355616"/>
                  </a:lnTo>
                  <a:lnTo>
                    <a:pt x="4568906" y="1356874"/>
                  </a:lnTo>
                  <a:lnTo>
                    <a:pt x="4583484" y="1362122"/>
                  </a:lnTo>
                  <a:lnTo>
                    <a:pt x="4571031" y="1357355"/>
                  </a:lnTo>
                  <a:lnTo>
                    <a:pt x="4567727" y="1340189"/>
                  </a:lnTo>
                  <a:lnTo>
                    <a:pt x="4584249" y="1324739"/>
                  </a:lnTo>
                  <a:lnTo>
                    <a:pt x="4587554" y="1305855"/>
                  </a:lnTo>
                  <a:lnTo>
                    <a:pt x="4572684" y="1297272"/>
                  </a:lnTo>
                  <a:lnTo>
                    <a:pt x="4566789" y="1262054"/>
                  </a:lnTo>
                  <a:lnTo>
                    <a:pt x="4566432" y="1262414"/>
                  </a:lnTo>
                  <a:lnTo>
                    <a:pt x="4564763" y="1259045"/>
                  </a:lnTo>
                  <a:lnTo>
                    <a:pt x="4564763" y="1255676"/>
                  </a:lnTo>
                  <a:lnTo>
                    <a:pt x="4566432" y="1232093"/>
                  </a:lnTo>
                  <a:lnTo>
                    <a:pt x="4554753" y="1237146"/>
                  </a:lnTo>
                  <a:lnTo>
                    <a:pt x="4539737" y="1237146"/>
                  </a:lnTo>
                  <a:lnTo>
                    <a:pt x="4519715" y="1243884"/>
                  </a:lnTo>
                  <a:lnTo>
                    <a:pt x="4493020" y="1255676"/>
                  </a:lnTo>
                  <a:lnTo>
                    <a:pt x="4472999" y="1248938"/>
                  </a:lnTo>
                  <a:lnTo>
                    <a:pt x="4432956" y="1233777"/>
                  </a:lnTo>
                  <a:lnTo>
                    <a:pt x="4429619" y="1245569"/>
                  </a:lnTo>
                  <a:lnTo>
                    <a:pt x="4416272" y="1252307"/>
                  </a:lnTo>
                  <a:lnTo>
                    <a:pt x="4392914" y="1243884"/>
                  </a:lnTo>
                  <a:lnTo>
                    <a:pt x="4381235" y="1235462"/>
                  </a:lnTo>
                  <a:lnTo>
                    <a:pt x="4366219" y="1237146"/>
                  </a:lnTo>
                  <a:lnTo>
                    <a:pt x="4354539" y="1237146"/>
                  </a:lnTo>
                  <a:lnTo>
                    <a:pt x="4369555" y="1228724"/>
                  </a:lnTo>
                  <a:lnTo>
                    <a:pt x="4351203" y="1227039"/>
                  </a:lnTo>
                  <a:lnTo>
                    <a:pt x="4352871" y="1218617"/>
                  </a:lnTo>
                  <a:lnTo>
                    <a:pt x="4341192" y="1208510"/>
                  </a:lnTo>
                  <a:lnTo>
                    <a:pt x="4344529" y="1203456"/>
                  </a:lnTo>
                  <a:lnTo>
                    <a:pt x="4322839" y="1193349"/>
                  </a:lnTo>
                  <a:lnTo>
                    <a:pt x="4321171" y="1183242"/>
                  </a:lnTo>
                  <a:lnTo>
                    <a:pt x="4326176" y="1183242"/>
                  </a:lnTo>
                  <a:lnTo>
                    <a:pt x="4334518" y="1186611"/>
                  </a:lnTo>
                  <a:lnTo>
                    <a:pt x="4331181" y="1174820"/>
                  </a:lnTo>
                  <a:lnTo>
                    <a:pt x="4331181" y="1171451"/>
                  </a:lnTo>
                  <a:lnTo>
                    <a:pt x="4329513" y="1154606"/>
                  </a:lnTo>
                  <a:lnTo>
                    <a:pt x="4314497" y="1152921"/>
                  </a:lnTo>
                  <a:lnTo>
                    <a:pt x="4316165" y="1132707"/>
                  </a:lnTo>
                  <a:lnTo>
                    <a:pt x="4341192" y="1127654"/>
                  </a:lnTo>
                  <a:lnTo>
                    <a:pt x="4349534" y="1122600"/>
                  </a:lnTo>
                  <a:lnTo>
                    <a:pt x="4379566" y="1124285"/>
                  </a:lnTo>
                  <a:lnTo>
                    <a:pt x="4396251" y="1115862"/>
                  </a:lnTo>
                  <a:lnTo>
                    <a:pt x="4389577" y="1114178"/>
                  </a:lnTo>
                  <a:lnTo>
                    <a:pt x="4376229" y="1104071"/>
                  </a:lnTo>
                  <a:lnTo>
                    <a:pt x="4422946" y="1105755"/>
                  </a:lnTo>
                  <a:lnTo>
                    <a:pt x="4456315" y="1083857"/>
                  </a:lnTo>
                  <a:lnTo>
                    <a:pt x="4481341" y="1082172"/>
                  </a:lnTo>
                  <a:lnTo>
                    <a:pt x="4504699" y="1077119"/>
                  </a:lnTo>
                  <a:lnTo>
                    <a:pt x="4519715" y="1080488"/>
                  </a:lnTo>
                  <a:lnTo>
                    <a:pt x="4536400" y="1087226"/>
                  </a:lnTo>
                  <a:lnTo>
                    <a:pt x="4546411" y="1093964"/>
                  </a:lnTo>
                  <a:lnTo>
                    <a:pt x="4579779" y="1102386"/>
                  </a:lnTo>
                  <a:lnTo>
                    <a:pt x="4609811" y="1107440"/>
                  </a:lnTo>
                  <a:lnTo>
                    <a:pt x="4641512" y="1110809"/>
                  </a:lnTo>
                  <a:lnTo>
                    <a:pt x="4674855" y="1093175"/>
                  </a:lnTo>
                  <a:lnTo>
                    <a:pt x="4673210" y="1071354"/>
                  </a:lnTo>
                  <a:lnTo>
                    <a:pt x="4649835" y="1045810"/>
                  </a:lnTo>
                  <a:lnTo>
                    <a:pt x="4610404" y="1022350"/>
                  </a:lnTo>
                  <a:lnTo>
                    <a:pt x="4610371" y="1022451"/>
                  </a:lnTo>
                  <a:lnTo>
                    <a:pt x="4573552" y="1002386"/>
                  </a:lnTo>
                  <a:lnTo>
                    <a:pt x="4538407" y="983992"/>
                  </a:lnTo>
                  <a:lnTo>
                    <a:pt x="4543428" y="977304"/>
                  </a:lnTo>
                  <a:lnTo>
                    <a:pt x="4563511" y="975632"/>
                  </a:lnTo>
                  <a:lnTo>
                    <a:pt x="4565184" y="957239"/>
                  </a:lnTo>
                  <a:lnTo>
                    <a:pt x="4570205" y="965599"/>
                  </a:lnTo>
                  <a:lnTo>
                    <a:pt x="4571879" y="955566"/>
                  </a:lnTo>
                  <a:lnTo>
                    <a:pt x="4580246" y="957239"/>
                  </a:lnTo>
                  <a:lnTo>
                    <a:pt x="4560163" y="942190"/>
                  </a:lnTo>
                  <a:lnTo>
                    <a:pt x="4571879" y="937173"/>
                  </a:lnTo>
                  <a:lnTo>
                    <a:pt x="4590288" y="927140"/>
                  </a:lnTo>
                  <a:lnTo>
                    <a:pt x="4586147" y="923004"/>
                  </a:lnTo>
                  <a:lnTo>
                    <a:pt x="4585942" y="923417"/>
                  </a:lnTo>
                  <a:lnTo>
                    <a:pt x="4572525" y="925105"/>
                  </a:lnTo>
                  <a:lnTo>
                    <a:pt x="4535629" y="938610"/>
                  </a:lnTo>
                  <a:lnTo>
                    <a:pt x="4503763" y="952115"/>
                  </a:lnTo>
                  <a:lnTo>
                    <a:pt x="4497157" y="956105"/>
                  </a:lnTo>
                  <a:lnTo>
                    <a:pt x="4500409" y="948739"/>
                  </a:lnTo>
                  <a:lnTo>
                    <a:pt x="4495378" y="957179"/>
                  </a:lnTo>
                  <a:lnTo>
                    <a:pt x="4497157" y="956105"/>
                  </a:lnTo>
                  <a:lnTo>
                    <a:pt x="4493701" y="963931"/>
                  </a:lnTo>
                  <a:lnTo>
                    <a:pt x="4515503" y="982500"/>
                  </a:lnTo>
                  <a:lnTo>
                    <a:pt x="4535629" y="982500"/>
                  </a:lnTo>
                  <a:lnTo>
                    <a:pt x="4522212" y="992629"/>
                  </a:lnTo>
                  <a:lnTo>
                    <a:pt x="4505441" y="994317"/>
                  </a:lnTo>
                  <a:lnTo>
                    <a:pt x="4471898" y="1007822"/>
                  </a:lnTo>
                  <a:lnTo>
                    <a:pt x="4468544" y="996005"/>
                  </a:lnTo>
                  <a:lnTo>
                    <a:pt x="4458481" y="985877"/>
                  </a:lnTo>
                  <a:lnTo>
                    <a:pt x="4440033" y="977436"/>
                  </a:lnTo>
                  <a:lnTo>
                    <a:pt x="4463513" y="962243"/>
                  </a:lnTo>
                  <a:lnTo>
                    <a:pt x="4443387" y="957179"/>
                  </a:lnTo>
                  <a:lnTo>
                    <a:pt x="4423262" y="952115"/>
                  </a:lnTo>
                  <a:lnTo>
                    <a:pt x="4413199" y="945362"/>
                  </a:lnTo>
                  <a:lnTo>
                    <a:pt x="4438356" y="943674"/>
                  </a:lnTo>
                  <a:lnTo>
                    <a:pt x="4419908" y="938610"/>
                  </a:lnTo>
                  <a:lnTo>
                    <a:pt x="4414876" y="928482"/>
                  </a:lnTo>
                  <a:lnTo>
                    <a:pt x="4418231" y="943674"/>
                  </a:lnTo>
                  <a:lnTo>
                    <a:pt x="4411522" y="938610"/>
                  </a:lnTo>
                  <a:lnTo>
                    <a:pt x="4391397" y="952115"/>
                  </a:lnTo>
                  <a:lnTo>
                    <a:pt x="4389844" y="950552"/>
                  </a:lnTo>
                  <a:lnTo>
                    <a:pt x="4370877" y="965855"/>
                  </a:lnTo>
                  <a:lnTo>
                    <a:pt x="4372581" y="980705"/>
                  </a:lnTo>
                  <a:lnTo>
                    <a:pt x="4358949" y="975755"/>
                  </a:lnTo>
                  <a:lnTo>
                    <a:pt x="4340406" y="975755"/>
                  </a:lnTo>
                  <a:lnTo>
                    <a:pt x="4340803" y="977127"/>
                  </a:lnTo>
                  <a:lnTo>
                    <a:pt x="4361174" y="977127"/>
                  </a:lnTo>
                  <a:lnTo>
                    <a:pt x="4374755" y="982155"/>
                  </a:lnTo>
                  <a:lnTo>
                    <a:pt x="4374755" y="990534"/>
                  </a:lnTo>
                  <a:lnTo>
                    <a:pt x="4364569" y="995562"/>
                  </a:lnTo>
                  <a:lnTo>
                    <a:pt x="4362872" y="993886"/>
                  </a:lnTo>
                  <a:lnTo>
                    <a:pt x="4356081" y="1003942"/>
                  </a:lnTo>
                  <a:lnTo>
                    <a:pt x="4354488" y="1024389"/>
                  </a:lnTo>
                  <a:lnTo>
                    <a:pt x="4355171" y="1024540"/>
                  </a:lnTo>
                  <a:lnTo>
                    <a:pt x="4350021" y="1034819"/>
                  </a:lnTo>
                  <a:lnTo>
                    <a:pt x="4343154" y="1053665"/>
                  </a:lnTo>
                  <a:lnTo>
                    <a:pt x="4339721" y="1065657"/>
                  </a:lnTo>
                  <a:lnTo>
                    <a:pt x="4350021" y="1077650"/>
                  </a:lnTo>
                  <a:lnTo>
                    <a:pt x="4348886" y="1077753"/>
                  </a:lnTo>
                  <a:lnTo>
                    <a:pt x="4363229" y="1096840"/>
                  </a:lnTo>
                  <a:lnTo>
                    <a:pt x="4374755" y="1105057"/>
                  </a:lnTo>
                  <a:lnTo>
                    <a:pt x="4338529" y="1111631"/>
                  </a:lnTo>
                  <a:lnTo>
                    <a:pt x="4312184" y="1131352"/>
                  </a:lnTo>
                  <a:lnTo>
                    <a:pt x="4320417" y="1116561"/>
                  </a:lnTo>
                  <a:lnTo>
                    <a:pt x="4305501" y="1115072"/>
                  </a:lnTo>
                  <a:lnTo>
                    <a:pt x="4304365" y="1117088"/>
                  </a:lnTo>
                  <a:lnTo>
                    <a:pt x="4275660" y="1112184"/>
                  </a:lnTo>
                  <a:lnTo>
                    <a:pt x="4250331" y="1118723"/>
                  </a:lnTo>
                  <a:lnTo>
                    <a:pt x="4262151" y="1131800"/>
                  </a:lnTo>
                  <a:lnTo>
                    <a:pt x="4250331" y="1133435"/>
                  </a:lnTo>
                  <a:lnTo>
                    <a:pt x="4252020" y="1136704"/>
                  </a:lnTo>
                  <a:lnTo>
                    <a:pt x="4241889" y="1135069"/>
                  </a:lnTo>
                  <a:lnTo>
                    <a:pt x="4230069" y="1123627"/>
                  </a:lnTo>
                  <a:lnTo>
                    <a:pt x="4223314" y="1126896"/>
                  </a:lnTo>
                  <a:lnTo>
                    <a:pt x="4233446" y="1153051"/>
                  </a:lnTo>
                  <a:lnTo>
                    <a:pt x="4240200" y="1164493"/>
                  </a:lnTo>
                  <a:lnTo>
                    <a:pt x="4230069" y="1161224"/>
                  </a:lnTo>
                  <a:lnTo>
                    <a:pt x="4233446" y="1171032"/>
                  </a:lnTo>
                  <a:lnTo>
                    <a:pt x="4228380" y="1172667"/>
                  </a:lnTo>
                  <a:lnTo>
                    <a:pt x="4262151" y="1193917"/>
                  </a:lnTo>
                  <a:lnTo>
                    <a:pt x="4260463" y="1203725"/>
                  </a:lnTo>
                  <a:lnTo>
                    <a:pt x="4248643" y="1197187"/>
                  </a:lnTo>
                  <a:lnTo>
                    <a:pt x="4241889" y="1202091"/>
                  </a:lnTo>
                  <a:lnTo>
                    <a:pt x="4248643" y="1213533"/>
                  </a:lnTo>
                  <a:lnTo>
                    <a:pt x="4233446" y="1213533"/>
                  </a:lnTo>
                  <a:lnTo>
                    <a:pt x="4241889" y="1241323"/>
                  </a:lnTo>
                  <a:lnTo>
                    <a:pt x="4230069" y="1234784"/>
                  </a:lnTo>
                  <a:lnTo>
                    <a:pt x="4225003" y="1241323"/>
                  </a:lnTo>
                  <a:lnTo>
                    <a:pt x="4213183" y="1226611"/>
                  </a:lnTo>
                  <a:lnTo>
                    <a:pt x="4209806" y="1233150"/>
                  </a:lnTo>
                  <a:lnTo>
                    <a:pt x="4197986" y="1206995"/>
                  </a:lnTo>
                  <a:lnTo>
                    <a:pt x="4194609" y="1195552"/>
                  </a:lnTo>
                  <a:lnTo>
                    <a:pt x="4214872" y="1190648"/>
                  </a:lnTo>
                  <a:lnTo>
                    <a:pt x="4238512" y="1195552"/>
                  </a:lnTo>
                  <a:lnTo>
                    <a:pt x="4238512" y="1190648"/>
                  </a:lnTo>
                  <a:lnTo>
                    <a:pt x="4223314" y="1184109"/>
                  </a:lnTo>
                  <a:lnTo>
                    <a:pt x="4194609" y="1182475"/>
                  </a:lnTo>
                  <a:lnTo>
                    <a:pt x="4189543" y="1184109"/>
                  </a:lnTo>
                  <a:lnTo>
                    <a:pt x="4182789" y="1171032"/>
                  </a:lnTo>
                  <a:lnTo>
                    <a:pt x="4189543" y="1167763"/>
                  </a:lnTo>
                  <a:lnTo>
                    <a:pt x="4172658" y="1161224"/>
                  </a:lnTo>
                  <a:lnTo>
                    <a:pt x="4160838" y="1146512"/>
                  </a:lnTo>
                  <a:lnTo>
                    <a:pt x="4167592" y="1138339"/>
                  </a:lnTo>
                  <a:lnTo>
                    <a:pt x="4181100" y="1115453"/>
                  </a:lnTo>
                  <a:lnTo>
                    <a:pt x="4181100" y="1113819"/>
                  </a:lnTo>
                  <a:lnTo>
                    <a:pt x="4225003" y="1099107"/>
                  </a:lnTo>
                  <a:lnTo>
                    <a:pt x="4252020" y="1095837"/>
                  </a:lnTo>
                  <a:lnTo>
                    <a:pt x="4294234" y="1099107"/>
                  </a:lnTo>
                  <a:lnTo>
                    <a:pt x="4304365" y="1092568"/>
                  </a:lnTo>
                  <a:lnTo>
                    <a:pt x="4309431" y="1087664"/>
                  </a:lnTo>
                  <a:lnTo>
                    <a:pt x="4313644" y="1097181"/>
                  </a:lnTo>
                  <a:lnTo>
                    <a:pt x="4313830" y="1096840"/>
                  </a:lnTo>
                  <a:lnTo>
                    <a:pt x="4309094" y="1085808"/>
                  </a:lnTo>
                  <a:lnTo>
                    <a:pt x="4308821" y="1086216"/>
                  </a:lnTo>
                  <a:lnTo>
                    <a:pt x="4303671" y="1091356"/>
                  </a:lnTo>
                  <a:lnTo>
                    <a:pt x="4293371" y="1098209"/>
                  </a:lnTo>
                  <a:lnTo>
                    <a:pt x="4250454" y="1094782"/>
                  </a:lnTo>
                  <a:lnTo>
                    <a:pt x="4222988" y="1098209"/>
                  </a:lnTo>
                  <a:lnTo>
                    <a:pt x="4222896" y="1097611"/>
                  </a:lnTo>
                  <a:lnTo>
                    <a:pt x="4180589" y="1111767"/>
                  </a:lnTo>
                  <a:lnTo>
                    <a:pt x="4163851" y="1082642"/>
                  </a:lnTo>
                  <a:lnTo>
                    <a:pt x="4168872" y="1081024"/>
                  </a:lnTo>
                  <a:lnTo>
                    <a:pt x="4168872" y="1080175"/>
                  </a:lnTo>
                  <a:lnTo>
                    <a:pt x="4164487" y="1081638"/>
                  </a:lnTo>
                  <a:lnTo>
                    <a:pt x="4157990" y="1065384"/>
                  </a:lnTo>
                  <a:lnTo>
                    <a:pt x="4156348" y="1065019"/>
                  </a:lnTo>
                  <a:lnTo>
                    <a:pt x="4162947" y="1081517"/>
                  </a:lnTo>
                  <a:lnTo>
                    <a:pt x="4180422" y="1112972"/>
                  </a:lnTo>
                  <a:lnTo>
                    <a:pt x="4180422" y="1114719"/>
                  </a:lnTo>
                  <a:lnTo>
                    <a:pt x="4166442" y="1139184"/>
                  </a:lnTo>
                  <a:lnTo>
                    <a:pt x="4159452" y="1147922"/>
                  </a:lnTo>
                  <a:lnTo>
                    <a:pt x="4140230" y="1123457"/>
                  </a:lnTo>
                  <a:lnTo>
                    <a:pt x="4136735" y="1081517"/>
                  </a:lnTo>
                  <a:lnTo>
                    <a:pt x="4137131" y="1079141"/>
                  </a:lnTo>
                  <a:lnTo>
                    <a:pt x="4130379" y="1073511"/>
                  </a:lnTo>
                  <a:lnTo>
                    <a:pt x="4114138" y="1065384"/>
                  </a:lnTo>
                  <a:lnTo>
                    <a:pt x="4114138" y="1062133"/>
                  </a:lnTo>
                  <a:lnTo>
                    <a:pt x="4114138" y="1060508"/>
                  </a:lnTo>
                  <a:lnTo>
                    <a:pt x="4120634" y="1057257"/>
                  </a:lnTo>
                  <a:lnTo>
                    <a:pt x="4114138" y="1050755"/>
                  </a:lnTo>
                  <a:lnTo>
                    <a:pt x="4119010" y="1047505"/>
                  </a:lnTo>
                  <a:lnTo>
                    <a:pt x="4123657" y="1041305"/>
                  </a:lnTo>
                  <a:lnTo>
                    <a:pt x="4120348" y="1040162"/>
                  </a:lnTo>
                  <a:lnTo>
                    <a:pt x="4115432" y="1046957"/>
                  </a:lnTo>
                  <a:lnTo>
                    <a:pt x="4110516" y="1050354"/>
                  </a:lnTo>
                  <a:lnTo>
                    <a:pt x="4117071" y="1057149"/>
                  </a:lnTo>
                  <a:lnTo>
                    <a:pt x="4111622" y="1059974"/>
                  </a:lnTo>
                  <a:lnTo>
                    <a:pt x="4114137" y="1062556"/>
                  </a:lnTo>
                  <a:lnTo>
                    <a:pt x="4114137" y="1064397"/>
                  </a:lnTo>
                  <a:lnTo>
                    <a:pt x="4114137" y="1068080"/>
                  </a:lnTo>
                  <a:lnTo>
                    <a:pt x="4076476" y="1051509"/>
                  </a:lnTo>
                  <a:lnTo>
                    <a:pt x="4092616" y="1053350"/>
                  </a:lnTo>
                  <a:lnTo>
                    <a:pt x="4094410" y="1051509"/>
                  </a:lnTo>
                  <a:lnTo>
                    <a:pt x="4101583" y="1055191"/>
                  </a:lnTo>
                  <a:lnTo>
                    <a:pt x="4107822" y="1057754"/>
                  </a:lnTo>
                  <a:lnTo>
                    <a:pt x="4107239" y="1057149"/>
                  </a:lnTo>
                  <a:lnTo>
                    <a:pt x="4099046" y="1053752"/>
                  </a:lnTo>
                  <a:lnTo>
                    <a:pt x="4093929" y="1051100"/>
                  </a:lnTo>
                  <a:lnTo>
                    <a:pt x="4093929" y="1051509"/>
                  </a:lnTo>
                  <a:lnTo>
                    <a:pt x="4092257" y="1051509"/>
                  </a:lnTo>
                  <a:lnTo>
                    <a:pt x="4088914" y="1051509"/>
                  </a:lnTo>
                  <a:lnTo>
                    <a:pt x="4058821" y="1034358"/>
                  </a:lnTo>
                  <a:lnTo>
                    <a:pt x="4037088" y="1020638"/>
                  </a:lnTo>
                  <a:lnTo>
                    <a:pt x="4028729" y="1012063"/>
                  </a:lnTo>
                  <a:lnTo>
                    <a:pt x="4010339" y="982907"/>
                  </a:lnTo>
                  <a:lnTo>
                    <a:pt x="4003652" y="989767"/>
                  </a:lnTo>
                  <a:lnTo>
                    <a:pt x="3998636" y="981192"/>
                  </a:lnTo>
                  <a:lnTo>
                    <a:pt x="3996606" y="977027"/>
                  </a:lnTo>
                  <a:lnTo>
                    <a:pt x="3991146" y="974197"/>
                  </a:lnTo>
                  <a:lnTo>
                    <a:pt x="3990126" y="970317"/>
                  </a:lnTo>
                  <a:lnTo>
                    <a:pt x="3979756" y="966361"/>
                  </a:lnTo>
                  <a:lnTo>
                    <a:pt x="3959892" y="981519"/>
                  </a:lnTo>
                  <a:lnTo>
                    <a:pt x="3963203" y="994993"/>
                  </a:lnTo>
                  <a:lnTo>
                    <a:pt x="3969749" y="1014974"/>
                  </a:lnTo>
                  <a:lnTo>
                    <a:pt x="3971480" y="1020257"/>
                  </a:lnTo>
                  <a:lnTo>
                    <a:pt x="3996310" y="1033731"/>
                  </a:lnTo>
                  <a:lnTo>
                    <a:pt x="4007897" y="1052257"/>
                  </a:lnTo>
                  <a:lnTo>
                    <a:pt x="4019485" y="1072468"/>
                  </a:lnTo>
                  <a:lnTo>
                    <a:pt x="4050937" y="1080889"/>
                  </a:lnTo>
                  <a:lnTo>
                    <a:pt x="4059213" y="1084258"/>
                  </a:lnTo>
                  <a:lnTo>
                    <a:pt x="4055903" y="1094363"/>
                  </a:lnTo>
                  <a:lnTo>
                    <a:pt x="4087354" y="1112890"/>
                  </a:lnTo>
                  <a:lnTo>
                    <a:pt x="4117151" y="1128048"/>
                  </a:lnTo>
                  <a:lnTo>
                    <a:pt x="4112185" y="1143206"/>
                  </a:lnTo>
                  <a:lnTo>
                    <a:pt x="4095631" y="1128048"/>
                  </a:lnTo>
                  <a:lnTo>
                    <a:pt x="4080733" y="1124680"/>
                  </a:lnTo>
                  <a:lnTo>
                    <a:pt x="4075767" y="1148259"/>
                  </a:lnTo>
                  <a:lnTo>
                    <a:pt x="4089010" y="1163417"/>
                  </a:lnTo>
                  <a:lnTo>
                    <a:pt x="4085699" y="1168470"/>
                  </a:lnTo>
                  <a:lnTo>
                    <a:pt x="4075767" y="1181944"/>
                  </a:lnTo>
                  <a:lnTo>
                    <a:pt x="4065835" y="1202155"/>
                  </a:lnTo>
                  <a:lnTo>
                    <a:pt x="4052592" y="1193734"/>
                  </a:lnTo>
                  <a:lnTo>
                    <a:pt x="4062524" y="1166786"/>
                  </a:lnTo>
                  <a:lnTo>
                    <a:pt x="4047626" y="1136469"/>
                  </a:lnTo>
                  <a:lnTo>
                    <a:pt x="4036038" y="1126364"/>
                  </a:lnTo>
                  <a:lnTo>
                    <a:pt x="4021140" y="1117943"/>
                  </a:lnTo>
                  <a:lnTo>
                    <a:pt x="3991344" y="1097732"/>
                  </a:lnTo>
                  <a:lnTo>
                    <a:pt x="3973135" y="1090995"/>
                  </a:lnTo>
                  <a:lnTo>
                    <a:pt x="3971480" y="1090995"/>
                  </a:lnTo>
                  <a:lnTo>
                    <a:pt x="3966513" y="1085942"/>
                  </a:lnTo>
                  <a:lnTo>
                    <a:pt x="3943339" y="1065731"/>
                  </a:lnTo>
                  <a:lnTo>
                    <a:pt x="3921819" y="1045520"/>
                  </a:lnTo>
                  <a:lnTo>
                    <a:pt x="3903610" y="1015204"/>
                  </a:lnTo>
                  <a:lnTo>
                    <a:pt x="3872158" y="1010151"/>
                  </a:lnTo>
                  <a:lnTo>
                    <a:pt x="3850639" y="1025309"/>
                  </a:lnTo>
                  <a:lnTo>
                    <a:pt x="3850639" y="1013520"/>
                  </a:lnTo>
                  <a:lnTo>
                    <a:pt x="3834085" y="1003414"/>
                  </a:lnTo>
                  <a:lnTo>
                    <a:pt x="3832430" y="993309"/>
                  </a:lnTo>
                  <a:lnTo>
                    <a:pt x="3832430" y="984888"/>
                  </a:lnTo>
                  <a:lnTo>
                    <a:pt x="3837396" y="973098"/>
                  </a:lnTo>
                  <a:lnTo>
                    <a:pt x="3837396" y="961308"/>
                  </a:lnTo>
                  <a:lnTo>
                    <a:pt x="3850639" y="959624"/>
                  </a:lnTo>
                  <a:lnTo>
                    <a:pt x="3863760" y="949611"/>
                  </a:lnTo>
                  <a:lnTo>
                    <a:pt x="3863142" y="949171"/>
                  </a:lnTo>
                  <a:lnTo>
                    <a:pt x="3849730" y="959415"/>
                  </a:lnTo>
                  <a:lnTo>
                    <a:pt x="3836317" y="961122"/>
                  </a:lnTo>
                  <a:lnTo>
                    <a:pt x="3821228" y="944049"/>
                  </a:lnTo>
                  <a:lnTo>
                    <a:pt x="3812846" y="950878"/>
                  </a:lnTo>
                  <a:lnTo>
                    <a:pt x="3832282" y="921189"/>
                  </a:lnTo>
                  <a:lnTo>
                    <a:pt x="3831537" y="921753"/>
                  </a:lnTo>
                  <a:lnTo>
                    <a:pt x="3811541" y="952102"/>
                  </a:lnTo>
                  <a:lnTo>
                    <a:pt x="3819873" y="945358"/>
                  </a:lnTo>
                  <a:lnTo>
                    <a:pt x="3834870" y="962218"/>
                  </a:lnTo>
                  <a:lnTo>
                    <a:pt x="3834870" y="974021"/>
                  </a:lnTo>
                  <a:lnTo>
                    <a:pt x="3829871" y="985823"/>
                  </a:lnTo>
                  <a:lnTo>
                    <a:pt x="3829871" y="994253"/>
                  </a:lnTo>
                  <a:lnTo>
                    <a:pt x="3831537" y="1004369"/>
                  </a:lnTo>
                  <a:lnTo>
                    <a:pt x="3848201" y="1014486"/>
                  </a:lnTo>
                  <a:lnTo>
                    <a:pt x="3848201" y="1026288"/>
                  </a:lnTo>
                  <a:lnTo>
                    <a:pt x="3846535" y="1026288"/>
                  </a:lnTo>
                  <a:lnTo>
                    <a:pt x="3844868" y="1026288"/>
                  </a:lnTo>
                  <a:lnTo>
                    <a:pt x="3819873" y="1046520"/>
                  </a:lnTo>
                  <a:lnTo>
                    <a:pt x="3789878" y="1036404"/>
                  </a:lnTo>
                  <a:lnTo>
                    <a:pt x="3781546" y="1034718"/>
                  </a:lnTo>
                  <a:lnTo>
                    <a:pt x="3778214" y="1036404"/>
                  </a:lnTo>
                  <a:lnTo>
                    <a:pt x="3758217" y="1036404"/>
                  </a:lnTo>
                  <a:lnTo>
                    <a:pt x="3744886" y="1046520"/>
                  </a:lnTo>
                  <a:lnTo>
                    <a:pt x="3746553" y="1065067"/>
                  </a:lnTo>
                  <a:lnTo>
                    <a:pt x="3709893" y="1065067"/>
                  </a:lnTo>
                  <a:lnTo>
                    <a:pt x="3709995" y="1064860"/>
                  </a:lnTo>
                  <a:lnTo>
                    <a:pt x="3705887" y="1062806"/>
                  </a:lnTo>
                  <a:lnTo>
                    <a:pt x="3705887" y="1061695"/>
                  </a:lnTo>
                  <a:lnTo>
                    <a:pt x="3704894" y="1061695"/>
                  </a:lnTo>
                  <a:lnTo>
                    <a:pt x="3638239" y="1046520"/>
                  </a:lnTo>
                  <a:lnTo>
                    <a:pt x="3626575" y="1036404"/>
                  </a:lnTo>
                  <a:lnTo>
                    <a:pt x="3636573" y="1022916"/>
                  </a:lnTo>
                  <a:lnTo>
                    <a:pt x="3638239" y="997625"/>
                  </a:lnTo>
                  <a:lnTo>
                    <a:pt x="3641572" y="975707"/>
                  </a:lnTo>
                  <a:lnTo>
                    <a:pt x="3651570" y="987509"/>
                  </a:lnTo>
                  <a:lnTo>
                    <a:pt x="3641572" y="965591"/>
                  </a:lnTo>
                  <a:lnTo>
                    <a:pt x="3641572" y="957160"/>
                  </a:lnTo>
                  <a:lnTo>
                    <a:pt x="3629907" y="947044"/>
                  </a:lnTo>
                  <a:lnTo>
                    <a:pt x="3619909" y="926812"/>
                  </a:lnTo>
                  <a:lnTo>
                    <a:pt x="3621576" y="921753"/>
                  </a:lnTo>
                  <a:lnTo>
                    <a:pt x="3609911" y="916695"/>
                  </a:lnTo>
                  <a:lnTo>
                    <a:pt x="3596580" y="913323"/>
                  </a:lnTo>
                  <a:lnTo>
                    <a:pt x="3576584" y="904893"/>
                  </a:lnTo>
                  <a:lnTo>
                    <a:pt x="3561586" y="901521"/>
                  </a:lnTo>
                  <a:lnTo>
                    <a:pt x="3566586" y="893091"/>
                  </a:lnTo>
                  <a:lnTo>
                    <a:pt x="3568252" y="891405"/>
                  </a:lnTo>
                  <a:lnTo>
                    <a:pt x="3558254" y="889719"/>
                  </a:lnTo>
                  <a:lnTo>
                    <a:pt x="3586582" y="879603"/>
                  </a:lnTo>
                  <a:lnTo>
                    <a:pt x="3604912" y="881289"/>
                  </a:lnTo>
                  <a:lnTo>
                    <a:pt x="3631574" y="882975"/>
                  </a:lnTo>
                  <a:lnTo>
                    <a:pt x="3626575" y="854312"/>
                  </a:lnTo>
                  <a:lnTo>
                    <a:pt x="3634906" y="850940"/>
                  </a:lnTo>
                  <a:lnTo>
                    <a:pt x="3641572" y="859370"/>
                  </a:lnTo>
                  <a:lnTo>
                    <a:pt x="3678232" y="859370"/>
                  </a:lnTo>
                  <a:lnTo>
                    <a:pt x="3669900" y="855998"/>
                  </a:lnTo>
                  <a:lnTo>
                    <a:pt x="3701561" y="839138"/>
                  </a:lnTo>
                  <a:lnTo>
                    <a:pt x="3704894" y="818905"/>
                  </a:lnTo>
                  <a:lnTo>
                    <a:pt x="3726556" y="810475"/>
                  </a:lnTo>
                  <a:lnTo>
                    <a:pt x="3727048" y="810972"/>
                  </a:lnTo>
                  <a:lnTo>
                    <a:pt x="3744693" y="802943"/>
                  </a:lnTo>
                  <a:lnTo>
                    <a:pt x="3765663" y="802943"/>
                  </a:lnTo>
                  <a:lnTo>
                    <a:pt x="3796771" y="804673"/>
                  </a:lnTo>
                  <a:lnTo>
                    <a:pt x="3796452" y="803794"/>
                  </a:lnTo>
                  <a:lnTo>
                    <a:pt x="3765614" y="802222"/>
                  </a:lnTo>
                  <a:lnTo>
                    <a:pt x="3745055" y="802222"/>
                  </a:lnTo>
                  <a:lnTo>
                    <a:pt x="3751908" y="792791"/>
                  </a:lnTo>
                  <a:lnTo>
                    <a:pt x="3772467" y="764495"/>
                  </a:lnTo>
                  <a:lnTo>
                    <a:pt x="3803305" y="747204"/>
                  </a:lnTo>
                  <a:lnTo>
                    <a:pt x="3827056" y="751050"/>
                  </a:lnTo>
                  <a:lnTo>
                    <a:pt x="3828865" y="748020"/>
                  </a:lnTo>
                  <a:lnTo>
                    <a:pt x="3825500" y="744640"/>
                  </a:lnTo>
                  <a:lnTo>
                    <a:pt x="3828865" y="734498"/>
                  </a:lnTo>
                  <a:lnTo>
                    <a:pt x="3854098" y="739568"/>
                  </a:lnTo>
                  <a:lnTo>
                    <a:pt x="3857462" y="741259"/>
                  </a:lnTo>
                  <a:lnTo>
                    <a:pt x="3857462" y="734498"/>
                  </a:lnTo>
                  <a:lnTo>
                    <a:pt x="3865873" y="731117"/>
                  </a:lnTo>
                  <a:lnTo>
                    <a:pt x="3881013" y="737879"/>
                  </a:lnTo>
                  <a:lnTo>
                    <a:pt x="3874284" y="729426"/>
                  </a:lnTo>
                  <a:lnTo>
                    <a:pt x="3865873" y="717592"/>
                  </a:lnTo>
                  <a:lnTo>
                    <a:pt x="3864191" y="714212"/>
                  </a:lnTo>
                  <a:lnTo>
                    <a:pt x="3859144" y="698997"/>
                  </a:lnTo>
                  <a:lnTo>
                    <a:pt x="3859178" y="699004"/>
                  </a:lnTo>
                  <a:lnTo>
                    <a:pt x="3858623" y="698161"/>
                  </a:lnTo>
                  <a:lnTo>
                    <a:pt x="3852014" y="684770"/>
                  </a:lnTo>
                  <a:lnTo>
                    <a:pt x="3852014" y="656315"/>
                  </a:lnTo>
                  <a:lnTo>
                    <a:pt x="3863580" y="654641"/>
                  </a:lnTo>
                  <a:lnTo>
                    <a:pt x="3868536" y="656315"/>
                  </a:lnTo>
                  <a:lnTo>
                    <a:pt x="3870189" y="651293"/>
                  </a:lnTo>
                  <a:lnTo>
                    <a:pt x="3886711" y="646272"/>
                  </a:lnTo>
                  <a:lnTo>
                    <a:pt x="3891668" y="656315"/>
                  </a:lnTo>
                  <a:lnTo>
                    <a:pt x="3903234" y="657989"/>
                  </a:lnTo>
                  <a:lnTo>
                    <a:pt x="3899929" y="668031"/>
                  </a:lnTo>
                  <a:lnTo>
                    <a:pt x="3883407" y="681422"/>
                  </a:lnTo>
                  <a:lnTo>
                    <a:pt x="3883407" y="684770"/>
                  </a:lnTo>
                  <a:lnTo>
                    <a:pt x="3881754" y="698161"/>
                  </a:lnTo>
                  <a:lnTo>
                    <a:pt x="3880922" y="702378"/>
                  </a:lnTo>
                  <a:lnTo>
                    <a:pt x="3884378" y="702378"/>
                  </a:lnTo>
                  <a:lnTo>
                    <a:pt x="3886060" y="710831"/>
                  </a:lnTo>
                  <a:lnTo>
                    <a:pt x="3909611" y="714212"/>
                  </a:lnTo>
                  <a:lnTo>
                    <a:pt x="3909611" y="722664"/>
                  </a:lnTo>
                  <a:lnTo>
                    <a:pt x="3918022" y="727735"/>
                  </a:lnTo>
                  <a:lnTo>
                    <a:pt x="3948301" y="712521"/>
                  </a:lnTo>
                  <a:lnTo>
                    <a:pt x="3948301" y="714212"/>
                  </a:lnTo>
                  <a:lnTo>
                    <a:pt x="3963563" y="719963"/>
                  </a:lnTo>
                  <a:lnTo>
                    <a:pt x="3969518" y="709542"/>
                  </a:lnTo>
                  <a:lnTo>
                    <a:pt x="3977050" y="720088"/>
                  </a:lnTo>
                  <a:lnTo>
                    <a:pt x="3963894" y="720088"/>
                  </a:lnTo>
                  <a:lnTo>
                    <a:pt x="3975217" y="724355"/>
                  </a:lnTo>
                  <a:lnTo>
                    <a:pt x="3985310" y="722664"/>
                  </a:lnTo>
                  <a:lnTo>
                    <a:pt x="3987391" y="724755"/>
                  </a:lnTo>
                  <a:lnTo>
                    <a:pt x="4017800" y="719935"/>
                  </a:lnTo>
                  <a:lnTo>
                    <a:pt x="4047843" y="709882"/>
                  </a:lnTo>
                  <a:lnTo>
                    <a:pt x="4077885" y="706530"/>
                  </a:lnTo>
                  <a:lnTo>
                    <a:pt x="4081223" y="714908"/>
                  </a:lnTo>
                  <a:lnTo>
                    <a:pt x="4106259" y="714908"/>
                  </a:lnTo>
                  <a:lnTo>
                    <a:pt x="4127535" y="715799"/>
                  </a:lnTo>
                  <a:lnTo>
                    <a:pt x="4120164" y="714335"/>
                  </a:lnTo>
                  <a:lnTo>
                    <a:pt x="4120164" y="710501"/>
                  </a:lnTo>
                  <a:lnTo>
                    <a:pt x="4123384" y="708584"/>
                  </a:lnTo>
                  <a:lnTo>
                    <a:pt x="4121774" y="708584"/>
                  </a:lnTo>
                  <a:lnTo>
                    <a:pt x="4120164" y="704749"/>
                  </a:lnTo>
                  <a:lnTo>
                    <a:pt x="4120164" y="702832"/>
                  </a:lnTo>
                  <a:lnTo>
                    <a:pt x="4131436" y="704749"/>
                  </a:lnTo>
                  <a:lnTo>
                    <a:pt x="4132728" y="700136"/>
                  </a:lnTo>
                  <a:lnTo>
                    <a:pt x="4127979" y="665913"/>
                  </a:lnTo>
                  <a:lnTo>
                    <a:pt x="4127696" y="665972"/>
                  </a:lnTo>
                  <a:lnTo>
                    <a:pt x="4127893" y="665295"/>
                  </a:lnTo>
                  <a:lnTo>
                    <a:pt x="4127696" y="663871"/>
                  </a:lnTo>
                  <a:lnTo>
                    <a:pt x="4128345" y="663744"/>
                  </a:lnTo>
                  <a:lnTo>
                    <a:pt x="4139339" y="625993"/>
                  </a:lnTo>
                  <a:lnTo>
                    <a:pt x="4157637" y="625993"/>
                  </a:lnTo>
                  <a:lnTo>
                    <a:pt x="4185914" y="645114"/>
                  </a:lnTo>
                  <a:lnTo>
                    <a:pt x="4197558" y="632946"/>
                  </a:lnTo>
                  <a:lnTo>
                    <a:pt x="4195932" y="609149"/>
                  </a:lnTo>
                  <a:lnTo>
                    <a:pt x="4188133" y="609149"/>
                  </a:lnTo>
                  <a:lnTo>
                    <a:pt x="4173196" y="592470"/>
                  </a:lnTo>
                  <a:lnTo>
                    <a:pt x="4169877" y="582463"/>
                  </a:lnTo>
                  <a:lnTo>
                    <a:pt x="4209709" y="572455"/>
                  </a:lnTo>
                  <a:lnTo>
                    <a:pt x="4261158" y="575792"/>
                  </a:lnTo>
                  <a:lnTo>
                    <a:pt x="4267797" y="600809"/>
                  </a:lnTo>
                  <a:lnTo>
                    <a:pt x="4257839" y="619156"/>
                  </a:lnTo>
                  <a:lnTo>
                    <a:pt x="4257463" y="619076"/>
                  </a:lnTo>
                  <a:lnTo>
                    <a:pt x="4270747" y="639899"/>
                  </a:lnTo>
                  <a:lnTo>
                    <a:pt x="4285544" y="669277"/>
                  </a:lnTo>
                  <a:lnTo>
                    <a:pt x="4287849" y="669037"/>
                  </a:lnTo>
                  <a:lnTo>
                    <a:pt x="4272308" y="639537"/>
                  </a:lnTo>
                  <a:lnTo>
                    <a:pt x="4258920" y="619471"/>
                  </a:lnTo>
                  <a:lnTo>
                    <a:pt x="4268961" y="601078"/>
                  </a:lnTo>
                  <a:lnTo>
                    <a:pt x="4262267" y="575996"/>
                  </a:lnTo>
                  <a:lnTo>
                    <a:pt x="4268961" y="569307"/>
                  </a:lnTo>
                  <a:lnTo>
                    <a:pt x="4287371" y="559275"/>
                  </a:lnTo>
                  <a:lnTo>
                    <a:pt x="4310801" y="560947"/>
                  </a:lnTo>
                  <a:lnTo>
                    <a:pt x="4272308" y="549243"/>
                  </a:lnTo>
                  <a:lnTo>
                    <a:pt x="4268961" y="544226"/>
                  </a:lnTo>
                  <a:lnTo>
                    <a:pt x="4257246" y="544226"/>
                  </a:lnTo>
                  <a:lnTo>
                    <a:pt x="4272308" y="529177"/>
                  </a:lnTo>
                  <a:lnTo>
                    <a:pt x="4289044" y="512455"/>
                  </a:lnTo>
                  <a:lnTo>
                    <a:pt x="4302433" y="495734"/>
                  </a:lnTo>
                  <a:lnTo>
                    <a:pt x="4319168" y="480686"/>
                  </a:lnTo>
                  <a:lnTo>
                    <a:pt x="4280676" y="458948"/>
                  </a:lnTo>
                  <a:lnTo>
                    <a:pt x="4290718" y="450588"/>
                  </a:lnTo>
                  <a:lnTo>
                    <a:pt x="4279003" y="438883"/>
                  </a:lnTo>
                  <a:lnTo>
                    <a:pt x="4270635" y="430522"/>
                  </a:lnTo>
                  <a:lnTo>
                    <a:pt x="4268961" y="405441"/>
                  </a:lnTo>
                  <a:lnTo>
                    <a:pt x="4243858" y="378686"/>
                  </a:lnTo>
                  <a:lnTo>
                    <a:pt x="4257246" y="358620"/>
                  </a:lnTo>
                  <a:lnTo>
                    <a:pt x="4227122" y="341899"/>
                  </a:lnTo>
                  <a:lnTo>
                    <a:pt x="4227122" y="325179"/>
                  </a:lnTo>
                  <a:lnTo>
                    <a:pt x="4227122" y="320163"/>
                  </a:lnTo>
                  <a:lnTo>
                    <a:pt x="4247205" y="308458"/>
                  </a:lnTo>
                  <a:lnTo>
                    <a:pt x="4258920" y="308458"/>
                  </a:lnTo>
                  <a:lnTo>
                    <a:pt x="4258920" y="300098"/>
                  </a:lnTo>
                  <a:lnTo>
                    <a:pt x="4268961" y="303442"/>
                  </a:lnTo>
                  <a:lnTo>
                    <a:pt x="4279003" y="298425"/>
                  </a:lnTo>
                  <a:lnTo>
                    <a:pt x="4302433" y="301769"/>
                  </a:lnTo>
                  <a:lnTo>
                    <a:pt x="4282350" y="303442"/>
                  </a:lnTo>
                  <a:lnTo>
                    <a:pt x="4299086" y="311802"/>
                  </a:lnTo>
                  <a:lnTo>
                    <a:pt x="4312474" y="310129"/>
                  </a:lnTo>
                  <a:lnTo>
                    <a:pt x="4304106" y="320163"/>
                  </a:lnTo>
                  <a:lnTo>
                    <a:pt x="4314148" y="318490"/>
                  </a:lnTo>
                  <a:lnTo>
                    <a:pt x="4347619" y="315147"/>
                  </a:lnTo>
                  <a:lnTo>
                    <a:pt x="4404521" y="333539"/>
                  </a:lnTo>
                  <a:lnTo>
                    <a:pt x="4461422" y="351933"/>
                  </a:lnTo>
                  <a:lnTo>
                    <a:pt x="4481505" y="365309"/>
                  </a:lnTo>
                  <a:lnTo>
                    <a:pt x="4474811" y="383703"/>
                  </a:lnTo>
                  <a:lnTo>
                    <a:pt x="4424604" y="395408"/>
                  </a:lnTo>
                  <a:lnTo>
                    <a:pt x="4371049" y="383703"/>
                  </a:lnTo>
                  <a:lnTo>
                    <a:pt x="4317495" y="373670"/>
                  </a:lnTo>
                  <a:lnTo>
                    <a:pt x="4300759" y="370326"/>
                  </a:lnTo>
                  <a:lnTo>
                    <a:pt x="4327536" y="383703"/>
                  </a:lnTo>
                  <a:lnTo>
                    <a:pt x="4337578" y="390391"/>
                  </a:lnTo>
                  <a:lnTo>
                    <a:pt x="4364355" y="403769"/>
                  </a:lnTo>
                  <a:lnTo>
                    <a:pt x="4361008" y="403769"/>
                  </a:lnTo>
                  <a:lnTo>
                    <a:pt x="4362681" y="412129"/>
                  </a:lnTo>
                  <a:lnTo>
                    <a:pt x="4377744" y="433867"/>
                  </a:lnTo>
                  <a:lnTo>
                    <a:pt x="4417909" y="453931"/>
                  </a:lnTo>
                  <a:lnTo>
                    <a:pt x="4443013" y="450588"/>
                  </a:lnTo>
                  <a:lnTo>
                    <a:pt x="4432972" y="442227"/>
                  </a:lnTo>
                  <a:lnTo>
                    <a:pt x="4411215" y="432195"/>
                  </a:lnTo>
                  <a:lnTo>
                    <a:pt x="4409542" y="420490"/>
                  </a:lnTo>
                  <a:lnTo>
                    <a:pt x="4439666" y="430522"/>
                  </a:lnTo>
                  <a:lnTo>
                    <a:pt x="4484853" y="435539"/>
                  </a:lnTo>
                  <a:lnTo>
                    <a:pt x="4464770" y="413801"/>
                  </a:lnTo>
                  <a:lnTo>
                    <a:pt x="4484853" y="400425"/>
                  </a:lnTo>
                  <a:lnTo>
                    <a:pt x="4504935" y="383703"/>
                  </a:lnTo>
                  <a:lnTo>
                    <a:pt x="4528366" y="388719"/>
                  </a:lnTo>
                  <a:lnTo>
                    <a:pt x="4535060" y="398753"/>
                  </a:lnTo>
                  <a:lnTo>
                    <a:pt x="4545101" y="398753"/>
                  </a:lnTo>
                  <a:lnTo>
                    <a:pt x="4548448" y="385375"/>
                  </a:lnTo>
                  <a:lnTo>
                    <a:pt x="4538407" y="368654"/>
                  </a:lnTo>
                  <a:lnTo>
                    <a:pt x="4530039" y="340228"/>
                  </a:lnTo>
                  <a:lnTo>
                    <a:pt x="4504935" y="330195"/>
                  </a:lnTo>
                  <a:lnTo>
                    <a:pt x="4545101" y="331868"/>
                  </a:lnTo>
                  <a:lnTo>
                    <a:pt x="4581920" y="350261"/>
                  </a:lnTo>
                  <a:lnTo>
                    <a:pt x="4551796" y="360293"/>
                  </a:lnTo>
                  <a:lnTo>
                    <a:pt x="4573552" y="375342"/>
                  </a:lnTo>
                  <a:lnTo>
                    <a:pt x="4603676" y="373670"/>
                  </a:lnTo>
                  <a:lnTo>
                    <a:pt x="4605350" y="358620"/>
                  </a:lnTo>
                  <a:lnTo>
                    <a:pt x="4623759" y="355277"/>
                  </a:lnTo>
                  <a:lnTo>
                    <a:pt x="4622086" y="351933"/>
                  </a:lnTo>
                  <a:lnTo>
                    <a:pt x="4643842" y="343572"/>
                  </a:lnTo>
                  <a:lnTo>
                    <a:pt x="4684008" y="335212"/>
                  </a:lnTo>
                  <a:lnTo>
                    <a:pt x="4685682" y="331868"/>
                  </a:lnTo>
                  <a:lnTo>
                    <a:pt x="4706721" y="326134"/>
                  </a:lnTo>
                  <a:lnTo>
                    <a:pt x="4714133" y="333539"/>
                  </a:lnTo>
                  <a:lnTo>
                    <a:pt x="4704091" y="338555"/>
                  </a:lnTo>
                  <a:lnTo>
                    <a:pt x="4735889" y="340228"/>
                  </a:lnTo>
                  <a:lnTo>
                    <a:pt x="4760993" y="331868"/>
                  </a:lnTo>
                  <a:lnTo>
                    <a:pt x="4782749" y="328523"/>
                  </a:lnTo>
                  <a:lnTo>
                    <a:pt x="4811200" y="323507"/>
                  </a:lnTo>
                  <a:lnTo>
                    <a:pt x="4814547" y="335212"/>
                  </a:lnTo>
                  <a:lnTo>
                    <a:pt x="4829609" y="338555"/>
                  </a:lnTo>
                  <a:lnTo>
                    <a:pt x="4829609" y="331868"/>
                  </a:lnTo>
                  <a:lnTo>
                    <a:pt x="4842998" y="323507"/>
                  </a:lnTo>
                  <a:lnTo>
                    <a:pt x="4821241" y="305113"/>
                  </a:lnTo>
                  <a:lnTo>
                    <a:pt x="4829609" y="300098"/>
                  </a:lnTo>
                  <a:lnTo>
                    <a:pt x="4873122" y="305113"/>
                  </a:lnTo>
                  <a:lnTo>
                    <a:pt x="4916635" y="313474"/>
                  </a:lnTo>
                  <a:lnTo>
                    <a:pt x="4965169" y="325179"/>
                  </a:lnTo>
                  <a:lnTo>
                    <a:pt x="4995293" y="341899"/>
                  </a:lnTo>
                  <a:lnTo>
                    <a:pt x="5003661" y="323507"/>
                  </a:lnTo>
                  <a:lnTo>
                    <a:pt x="4993620" y="323507"/>
                  </a:lnTo>
                  <a:lnTo>
                    <a:pt x="4976884" y="311802"/>
                  </a:lnTo>
                  <a:lnTo>
                    <a:pt x="4951780" y="303442"/>
                  </a:lnTo>
                  <a:lnTo>
                    <a:pt x="4945086" y="293409"/>
                  </a:lnTo>
                  <a:lnTo>
                    <a:pt x="4941739" y="278359"/>
                  </a:lnTo>
                  <a:lnTo>
                    <a:pt x="4930024" y="278359"/>
                  </a:lnTo>
                  <a:lnTo>
                    <a:pt x="4923330" y="271672"/>
                  </a:lnTo>
                  <a:lnTo>
                    <a:pt x="4940065" y="259965"/>
                  </a:lnTo>
                  <a:lnTo>
                    <a:pt x="4943412" y="228196"/>
                  </a:lnTo>
                  <a:lnTo>
                    <a:pt x="4983578" y="224851"/>
                  </a:lnTo>
                  <a:lnTo>
                    <a:pt x="5013703" y="233212"/>
                  </a:lnTo>
                  <a:lnTo>
                    <a:pt x="5013703" y="258294"/>
                  </a:lnTo>
                  <a:lnTo>
                    <a:pt x="5033786" y="268326"/>
                  </a:lnTo>
                  <a:lnTo>
                    <a:pt x="5050521" y="291737"/>
                  </a:lnTo>
                  <a:lnTo>
                    <a:pt x="5063910" y="315147"/>
                  </a:lnTo>
                  <a:lnTo>
                    <a:pt x="5097382" y="335212"/>
                  </a:lnTo>
                  <a:lnTo>
                    <a:pt x="5097382" y="348589"/>
                  </a:lnTo>
                  <a:lnTo>
                    <a:pt x="5082319" y="373670"/>
                  </a:lnTo>
                  <a:lnTo>
                    <a:pt x="5085666" y="380359"/>
                  </a:lnTo>
                  <a:lnTo>
                    <a:pt x="5062236" y="382031"/>
                  </a:lnTo>
                  <a:lnTo>
                    <a:pt x="5067257" y="380359"/>
                  </a:lnTo>
                  <a:lnTo>
                    <a:pt x="5032112" y="378686"/>
                  </a:lnTo>
                  <a:lnTo>
                    <a:pt x="5037133" y="383703"/>
                  </a:lnTo>
                  <a:lnTo>
                    <a:pt x="5094034" y="390391"/>
                  </a:lnTo>
                  <a:lnTo>
                    <a:pt x="5105749" y="385375"/>
                  </a:lnTo>
                  <a:lnTo>
                    <a:pt x="5114117" y="382031"/>
                  </a:lnTo>
                  <a:lnTo>
                    <a:pt x="5132527" y="355277"/>
                  </a:lnTo>
                  <a:lnTo>
                    <a:pt x="5110770" y="328523"/>
                  </a:lnTo>
                  <a:lnTo>
                    <a:pt x="5145915" y="321834"/>
                  </a:lnTo>
                  <a:lnTo>
                    <a:pt x="5160977" y="330195"/>
                  </a:lnTo>
                  <a:lnTo>
                    <a:pt x="5176040" y="351933"/>
                  </a:lnTo>
                  <a:lnTo>
                    <a:pt x="5217879" y="358620"/>
                  </a:lnTo>
                  <a:lnTo>
                    <a:pt x="5191102" y="351933"/>
                  </a:lnTo>
                  <a:lnTo>
                    <a:pt x="5182734" y="341899"/>
                  </a:lnTo>
                  <a:lnTo>
                    <a:pt x="5171019" y="323507"/>
                  </a:lnTo>
                  <a:lnTo>
                    <a:pt x="5144242" y="318490"/>
                  </a:lnTo>
                  <a:lnTo>
                    <a:pt x="5094034" y="320163"/>
                  </a:lnTo>
                  <a:lnTo>
                    <a:pt x="5075625" y="301769"/>
                  </a:lnTo>
                  <a:lnTo>
                    <a:pt x="5077299" y="281704"/>
                  </a:lnTo>
                  <a:lnTo>
                    <a:pt x="5050521" y="264982"/>
                  </a:lnTo>
                  <a:lnTo>
                    <a:pt x="5042154" y="254950"/>
                  </a:lnTo>
                  <a:lnTo>
                    <a:pt x="5060563" y="243245"/>
                  </a:lnTo>
                  <a:lnTo>
                    <a:pt x="5043827" y="228196"/>
                  </a:lnTo>
                  <a:lnTo>
                    <a:pt x="5060563" y="229868"/>
                  </a:lnTo>
                  <a:lnTo>
                    <a:pt x="5082319" y="259965"/>
                  </a:lnTo>
                  <a:lnTo>
                    <a:pt x="5150936" y="271672"/>
                  </a:lnTo>
                  <a:lnTo>
                    <a:pt x="5140895" y="264982"/>
                  </a:lnTo>
                  <a:lnTo>
                    <a:pt x="5094034" y="258294"/>
                  </a:lnTo>
                  <a:lnTo>
                    <a:pt x="5083993" y="249933"/>
                  </a:lnTo>
                  <a:lnTo>
                    <a:pt x="5122485" y="249933"/>
                  </a:lnTo>
                  <a:lnTo>
                    <a:pt x="5105749" y="243245"/>
                  </a:lnTo>
                  <a:lnTo>
                    <a:pt x="5140895" y="238229"/>
                  </a:lnTo>
                  <a:lnTo>
                    <a:pt x="5182734" y="251606"/>
                  </a:lnTo>
                  <a:lnTo>
                    <a:pt x="5224573" y="254950"/>
                  </a:lnTo>
                  <a:lnTo>
                    <a:pt x="5212858" y="264982"/>
                  </a:lnTo>
                  <a:lnTo>
                    <a:pt x="5224573" y="281704"/>
                  </a:lnTo>
                  <a:lnTo>
                    <a:pt x="5227920" y="271672"/>
                  </a:lnTo>
                  <a:lnTo>
                    <a:pt x="5244656" y="288393"/>
                  </a:lnTo>
                  <a:lnTo>
                    <a:pt x="5254698" y="288393"/>
                  </a:lnTo>
                  <a:lnTo>
                    <a:pt x="5248003" y="278359"/>
                  </a:lnTo>
                  <a:lnTo>
                    <a:pt x="5232941" y="254950"/>
                  </a:lnTo>
                  <a:lnTo>
                    <a:pt x="5196123" y="243245"/>
                  </a:lnTo>
                  <a:lnTo>
                    <a:pt x="5171019" y="238229"/>
                  </a:lnTo>
                  <a:lnTo>
                    <a:pt x="5147589" y="221507"/>
                  </a:lnTo>
                  <a:lnTo>
                    <a:pt x="5140895" y="211475"/>
                  </a:lnTo>
                  <a:lnTo>
                    <a:pt x="5191102" y="204786"/>
                  </a:lnTo>
                  <a:lnTo>
                    <a:pt x="5242983" y="201442"/>
                  </a:lnTo>
                  <a:lnTo>
                    <a:pt x="5242983" y="198098"/>
                  </a:lnTo>
                  <a:lnTo>
                    <a:pt x="5221226" y="191410"/>
                  </a:lnTo>
                  <a:lnTo>
                    <a:pt x="5236288" y="189738"/>
                  </a:lnTo>
                  <a:lnTo>
                    <a:pt x="5211185" y="181377"/>
                  </a:lnTo>
                  <a:lnTo>
                    <a:pt x="5226247" y="183049"/>
                  </a:lnTo>
                  <a:lnTo>
                    <a:pt x="5226247" y="173017"/>
                  </a:lnTo>
                  <a:lnTo>
                    <a:pt x="5241309" y="169672"/>
                  </a:lnTo>
                  <a:lnTo>
                    <a:pt x="5284822" y="161312"/>
                  </a:lnTo>
                  <a:lnTo>
                    <a:pt x="5326662" y="152951"/>
                  </a:lnTo>
                  <a:lnTo>
                    <a:pt x="5358459" y="152951"/>
                  </a:lnTo>
                  <a:lnTo>
                    <a:pt x="5386910" y="151279"/>
                  </a:lnTo>
                  <a:lnTo>
                    <a:pt x="5417035" y="149607"/>
                  </a:lnTo>
                  <a:lnTo>
                    <a:pt x="5401972" y="144591"/>
                  </a:lnTo>
                  <a:lnTo>
                    <a:pt x="5445485" y="141247"/>
                  </a:lnTo>
                  <a:lnTo>
                    <a:pt x="5428750" y="139575"/>
                  </a:lnTo>
                  <a:lnTo>
                    <a:pt x="5417035" y="131213"/>
                  </a:lnTo>
                  <a:close/>
                  <a:moveTo>
                    <a:pt x="4023750" y="103947"/>
                  </a:moveTo>
                  <a:lnTo>
                    <a:pt x="4066648" y="103947"/>
                  </a:lnTo>
                  <a:lnTo>
                    <a:pt x="4093047" y="112233"/>
                  </a:lnTo>
                  <a:lnTo>
                    <a:pt x="4078197" y="118861"/>
                  </a:lnTo>
                  <a:lnTo>
                    <a:pt x="4053448" y="120517"/>
                  </a:lnTo>
                  <a:lnTo>
                    <a:pt x="4031999" y="120517"/>
                  </a:lnTo>
                  <a:lnTo>
                    <a:pt x="4038599" y="110575"/>
                  </a:lnTo>
                  <a:close/>
                  <a:moveTo>
                    <a:pt x="2011832" y="90389"/>
                  </a:moveTo>
                  <a:lnTo>
                    <a:pt x="2062342" y="99659"/>
                  </a:lnTo>
                  <a:lnTo>
                    <a:pt x="2053924" y="105221"/>
                  </a:lnTo>
                  <a:lnTo>
                    <a:pt x="2011832" y="114491"/>
                  </a:lnTo>
                  <a:lnTo>
                    <a:pt x="2005103" y="105221"/>
                  </a:lnTo>
                  <a:lnTo>
                    <a:pt x="2005103" y="101513"/>
                  </a:lnTo>
                  <a:close/>
                  <a:moveTo>
                    <a:pt x="1900960" y="79842"/>
                  </a:moveTo>
                  <a:lnTo>
                    <a:pt x="1951002" y="79842"/>
                  </a:lnTo>
                  <a:lnTo>
                    <a:pt x="1951002" y="87137"/>
                  </a:lnTo>
                  <a:lnTo>
                    <a:pt x="1952728" y="83489"/>
                  </a:lnTo>
                  <a:lnTo>
                    <a:pt x="1975160" y="87137"/>
                  </a:lnTo>
                  <a:lnTo>
                    <a:pt x="1983789" y="88961"/>
                  </a:lnTo>
                  <a:lnTo>
                    <a:pt x="1980337" y="98079"/>
                  </a:lnTo>
                  <a:lnTo>
                    <a:pt x="1985516" y="109020"/>
                  </a:lnTo>
                  <a:lnTo>
                    <a:pt x="1961359" y="114491"/>
                  </a:lnTo>
                  <a:lnTo>
                    <a:pt x="1935475" y="101726"/>
                  </a:lnTo>
                  <a:lnTo>
                    <a:pt x="1890613" y="99902"/>
                  </a:lnTo>
                  <a:lnTo>
                    <a:pt x="1900960" y="94432"/>
                  </a:lnTo>
                  <a:lnTo>
                    <a:pt x="1923393" y="92608"/>
                  </a:lnTo>
                  <a:lnTo>
                    <a:pt x="1921667" y="87137"/>
                  </a:lnTo>
                  <a:lnTo>
                    <a:pt x="1907864" y="87137"/>
                  </a:lnTo>
                  <a:close/>
                  <a:moveTo>
                    <a:pt x="5371864" y="76831"/>
                  </a:moveTo>
                  <a:lnTo>
                    <a:pt x="5383581" y="76831"/>
                  </a:lnTo>
                  <a:lnTo>
                    <a:pt x="5391950" y="87931"/>
                  </a:lnTo>
                  <a:lnTo>
                    <a:pt x="5401993" y="80001"/>
                  </a:lnTo>
                  <a:lnTo>
                    <a:pt x="5447187" y="92688"/>
                  </a:lnTo>
                  <a:lnTo>
                    <a:pt x="5448861" y="95859"/>
                  </a:lnTo>
                  <a:lnTo>
                    <a:pt x="5368516" y="106959"/>
                  </a:lnTo>
                  <a:lnTo>
                    <a:pt x="5361820" y="92688"/>
                  </a:lnTo>
                  <a:lnTo>
                    <a:pt x="5373537" y="89516"/>
                  </a:lnTo>
                  <a:lnTo>
                    <a:pt x="5363494" y="83172"/>
                  </a:lnTo>
                  <a:lnTo>
                    <a:pt x="5358473" y="80001"/>
                  </a:lnTo>
                  <a:lnTo>
                    <a:pt x="5376885" y="80001"/>
                  </a:lnTo>
                  <a:close/>
                  <a:moveTo>
                    <a:pt x="3942401" y="63272"/>
                  </a:moveTo>
                  <a:lnTo>
                    <a:pt x="3967509" y="71296"/>
                  </a:lnTo>
                  <a:lnTo>
                    <a:pt x="3969183" y="77715"/>
                  </a:lnTo>
                  <a:lnTo>
                    <a:pt x="3980900" y="72900"/>
                  </a:lnTo>
                  <a:lnTo>
                    <a:pt x="3987595" y="80924"/>
                  </a:lnTo>
                  <a:lnTo>
                    <a:pt x="4032789" y="90552"/>
                  </a:lnTo>
                  <a:lnTo>
                    <a:pt x="3992617" y="98576"/>
                  </a:lnTo>
                  <a:lnTo>
                    <a:pt x="3989269" y="106600"/>
                  </a:lnTo>
                  <a:lnTo>
                    <a:pt x="3979226" y="117833"/>
                  </a:lnTo>
                  <a:lnTo>
                    <a:pt x="3964161" y="132275"/>
                  </a:lnTo>
                  <a:lnTo>
                    <a:pt x="3959140" y="137089"/>
                  </a:lnTo>
                  <a:lnTo>
                    <a:pt x="3947423" y="129065"/>
                  </a:lnTo>
                  <a:lnTo>
                    <a:pt x="3910598" y="117833"/>
                  </a:lnTo>
                  <a:lnTo>
                    <a:pt x="3942401" y="116227"/>
                  </a:lnTo>
                  <a:lnTo>
                    <a:pt x="3934032" y="111413"/>
                  </a:lnTo>
                  <a:lnTo>
                    <a:pt x="3954118" y="109808"/>
                  </a:lnTo>
                  <a:lnTo>
                    <a:pt x="3902229" y="109808"/>
                  </a:lnTo>
                  <a:lnTo>
                    <a:pt x="3908924" y="103390"/>
                  </a:lnTo>
                  <a:lnTo>
                    <a:pt x="3950770" y="96971"/>
                  </a:lnTo>
                  <a:lnTo>
                    <a:pt x="3949097" y="90552"/>
                  </a:lnTo>
                  <a:lnTo>
                    <a:pt x="3929011" y="93761"/>
                  </a:lnTo>
                  <a:lnTo>
                    <a:pt x="3927337" y="90552"/>
                  </a:lnTo>
                  <a:lnTo>
                    <a:pt x="3912272" y="96971"/>
                  </a:lnTo>
                  <a:lnTo>
                    <a:pt x="3900555" y="101785"/>
                  </a:lnTo>
                  <a:lnTo>
                    <a:pt x="3882143" y="96971"/>
                  </a:lnTo>
                  <a:lnTo>
                    <a:pt x="3860383" y="87342"/>
                  </a:lnTo>
                  <a:lnTo>
                    <a:pt x="3872100" y="84133"/>
                  </a:lnTo>
                  <a:lnTo>
                    <a:pt x="3870426" y="79319"/>
                  </a:lnTo>
                  <a:lnTo>
                    <a:pt x="3857035" y="80924"/>
                  </a:lnTo>
                  <a:lnTo>
                    <a:pt x="3852014" y="71296"/>
                  </a:lnTo>
                  <a:lnTo>
                    <a:pt x="3872100" y="69692"/>
                  </a:lnTo>
                  <a:lnTo>
                    <a:pt x="3897208" y="69692"/>
                  </a:lnTo>
                  <a:lnTo>
                    <a:pt x="3890512" y="72900"/>
                  </a:lnTo>
                  <a:lnTo>
                    <a:pt x="3903903" y="77715"/>
                  </a:lnTo>
                  <a:lnTo>
                    <a:pt x="3917294" y="69692"/>
                  </a:lnTo>
                  <a:lnTo>
                    <a:pt x="3947423" y="87342"/>
                  </a:lnTo>
                  <a:close/>
                  <a:moveTo>
                    <a:pt x="5271600" y="60258"/>
                  </a:moveTo>
                  <a:lnTo>
                    <a:pt x="5281643" y="66639"/>
                  </a:lnTo>
                  <a:lnTo>
                    <a:pt x="5293360" y="63449"/>
                  </a:lnTo>
                  <a:lnTo>
                    <a:pt x="5323489" y="68234"/>
                  </a:lnTo>
                  <a:lnTo>
                    <a:pt x="5333533" y="79400"/>
                  </a:lnTo>
                  <a:lnTo>
                    <a:pt x="5341902" y="87376"/>
                  </a:lnTo>
                  <a:lnTo>
                    <a:pt x="5261557" y="82590"/>
                  </a:lnTo>
                  <a:lnTo>
                    <a:pt x="5236449" y="73020"/>
                  </a:lnTo>
                  <a:lnTo>
                    <a:pt x="5221385" y="73020"/>
                  </a:lnTo>
                  <a:lnTo>
                    <a:pt x="5226406" y="63449"/>
                  </a:lnTo>
                  <a:close/>
                  <a:moveTo>
                    <a:pt x="4609763" y="57245"/>
                  </a:moveTo>
                  <a:lnTo>
                    <a:pt x="4642905" y="57245"/>
                  </a:lnTo>
                  <a:lnTo>
                    <a:pt x="4624677" y="60258"/>
                  </a:lnTo>
                  <a:close/>
                  <a:moveTo>
                    <a:pt x="4040846" y="54234"/>
                  </a:moveTo>
                  <a:lnTo>
                    <a:pt x="4050799" y="58753"/>
                  </a:lnTo>
                  <a:lnTo>
                    <a:pt x="4057434" y="58753"/>
                  </a:lnTo>
                  <a:lnTo>
                    <a:pt x="4105539" y="60259"/>
                  </a:lnTo>
                  <a:lnTo>
                    <a:pt x="4117151" y="63272"/>
                  </a:lnTo>
                  <a:lnTo>
                    <a:pt x="4097245" y="75325"/>
                  </a:lnTo>
                  <a:lnTo>
                    <a:pt x="4047481" y="76831"/>
                  </a:lnTo>
                  <a:lnTo>
                    <a:pt x="4001035" y="70806"/>
                  </a:lnTo>
                  <a:lnTo>
                    <a:pt x="4029234" y="67792"/>
                  </a:lnTo>
                  <a:lnTo>
                    <a:pt x="3969518" y="63272"/>
                  </a:lnTo>
                  <a:lnTo>
                    <a:pt x="3969518" y="61767"/>
                  </a:lnTo>
                  <a:lnTo>
                    <a:pt x="3986106" y="58753"/>
                  </a:lnTo>
                  <a:lnTo>
                    <a:pt x="3992741" y="57247"/>
                  </a:lnTo>
                  <a:lnTo>
                    <a:pt x="4035870" y="61767"/>
                  </a:lnTo>
                  <a:lnTo>
                    <a:pt x="4037528" y="58753"/>
                  </a:lnTo>
                  <a:close/>
                  <a:moveTo>
                    <a:pt x="4428820" y="49713"/>
                  </a:moveTo>
                  <a:lnTo>
                    <a:pt x="4465142" y="49713"/>
                  </a:lnTo>
                  <a:lnTo>
                    <a:pt x="4418442" y="54233"/>
                  </a:lnTo>
                  <a:close/>
                  <a:moveTo>
                    <a:pt x="4686592" y="46700"/>
                  </a:moveTo>
                  <a:lnTo>
                    <a:pt x="4663631" y="54233"/>
                  </a:lnTo>
                  <a:lnTo>
                    <a:pt x="4635372" y="49211"/>
                  </a:lnTo>
                  <a:close/>
                  <a:moveTo>
                    <a:pt x="4499825" y="46700"/>
                  </a:moveTo>
                  <a:lnTo>
                    <a:pt x="4511842" y="48638"/>
                  </a:lnTo>
                  <a:lnTo>
                    <a:pt x="4467209" y="56386"/>
                  </a:lnTo>
                  <a:lnTo>
                    <a:pt x="4451759" y="60258"/>
                  </a:lnTo>
                  <a:lnTo>
                    <a:pt x="4438026" y="60258"/>
                  </a:lnTo>
                  <a:lnTo>
                    <a:pt x="4451759" y="56386"/>
                  </a:lnTo>
                  <a:lnTo>
                    <a:pt x="4479225" y="48638"/>
                  </a:lnTo>
                  <a:close/>
                  <a:moveTo>
                    <a:pt x="5225043" y="43688"/>
                  </a:moveTo>
                  <a:lnTo>
                    <a:pt x="5268085" y="51220"/>
                  </a:lnTo>
                  <a:lnTo>
                    <a:pt x="5257755" y="54233"/>
                  </a:lnTo>
                  <a:lnTo>
                    <a:pt x="5268085" y="58753"/>
                  </a:lnTo>
                  <a:lnTo>
                    <a:pt x="5192332" y="60258"/>
                  </a:lnTo>
                  <a:lnTo>
                    <a:pt x="5200940" y="57246"/>
                  </a:lnTo>
                  <a:lnTo>
                    <a:pt x="5171672" y="57246"/>
                  </a:lnTo>
                  <a:lnTo>
                    <a:pt x="5185445" y="54233"/>
                  </a:lnTo>
                  <a:lnTo>
                    <a:pt x="5187167" y="49713"/>
                  </a:lnTo>
                  <a:lnTo>
                    <a:pt x="5175115" y="48207"/>
                  </a:lnTo>
                  <a:close/>
                  <a:moveTo>
                    <a:pt x="4724952" y="43688"/>
                  </a:moveTo>
                  <a:lnTo>
                    <a:pt x="4733292" y="45947"/>
                  </a:lnTo>
                  <a:lnTo>
                    <a:pt x="4686592" y="46700"/>
                  </a:lnTo>
                  <a:close/>
                  <a:moveTo>
                    <a:pt x="2158250" y="43687"/>
                  </a:moveTo>
                  <a:lnTo>
                    <a:pt x="2230963" y="58752"/>
                  </a:lnTo>
                  <a:lnTo>
                    <a:pt x="2212789" y="73816"/>
                  </a:lnTo>
                  <a:lnTo>
                    <a:pt x="2249144" y="80512"/>
                  </a:lnTo>
                  <a:lnTo>
                    <a:pt x="2188001" y="92228"/>
                  </a:lnTo>
                  <a:lnTo>
                    <a:pt x="2159905" y="103946"/>
                  </a:lnTo>
                  <a:lnTo>
                    <a:pt x="2149981" y="95577"/>
                  </a:lnTo>
                  <a:lnTo>
                    <a:pt x="2148328" y="103946"/>
                  </a:lnTo>
                  <a:lnTo>
                    <a:pt x="2088837" y="88881"/>
                  </a:lnTo>
                  <a:lnTo>
                    <a:pt x="2158250" y="80512"/>
                  </a:lnTo>
                  <a:lnTo>
                    <a:pt x="2078914" y="72142"/>
                  </a:lnTo>
                  <a:lnTo>
                    <a:pt x="2113624" y="62100"/>
                  </a:lnTo>
                  <a:lnTo>
                    <a:pt x="2100403" y="53730"/>
                  </a:lnTo>
                  <a:close/>
                  <a:moveTo>
                    <a:pt x="2453827" y="10546"/>
                  </a:moveTo>
                  <a:lnTo>
                    <a:pt x="2574273" y="17189"/>
                  </a:lnTo>
                  <a:lnTo>
                    <a:pt x="2698066" y="22173"/>
                  </a:lnTo>
                  <a:lnTo>
                    <a:pt x="2616095" y="32138"/>
                  </a:lnTo>
                  <a:lnTo>
                    <a:pt x="2534125" y="42105"/>
                  </a:lnTo>
                  <a:lnTo>
                    <a:pt x="2631151" y="37122"/>
                  </a:lnTo>
                  <a:lnTo>
                    <a:pt x="2542489" y="52070"/>
                  </a:lnTo>
                  <a:lnTo>
                    <a:pt x="2453827" y="68680"/>
                  </a:lnTo>
                  <a:lnTo>
                    <a:pt x="2371858" y="76985"/>
                  </a:lnTo>
                  <a:lnTo>
                    <a:pt x="2417025" y="83628"/>
                  </a:lnTo>
                  <a:lnTo>
                    <a:pt x="2353456" y="88611"/>
                  </a:lnTo>
                  <a:lnTo>
                    <a:pt x="2405315" y="91934"/>
                  </a:lnTo>
                  <a:lnTo>
                    <a:pt x="2333382" y="108544"/>
                  </a:lnTo>
                  <a:lnTo>
                    <a:pt x="2326691" y="118509"/>
                  </a:lnTo>
                  <a:lnTo>
                    <a:pt x="2266467" y="121831"/>
                  </a:lnTo>
                  <a:lnTo>
                    <a:pt x="2314980" y="136780"/>
                  </a:lnTo>
                  <a:lnTo>
                    <a:pt x="2254757" y="140102"/>
                  </a:lnTo>
                  <a:lnTo>
                    <a:pt x="2189515" y="140102"/>
                  </a:lnTo>
                  <a:lnTo>
                    <a:pt x="2122600" y="138440"/>
                  </a:lnTo>
                  <a:lnTo>
                    <a:pt x="2169441" y="121831"/>
                  </a:lnTo>
                  <a:lnTo>
                    <a:pt x="2159404" y="111866"/>
                  </a:lnTo>
                  <a:lnTo>
                    <a:pt x="2229664" y="120170"/>
                  </a:lnTo>
                  <a:lnTo>
                    <a:pt x="2264794" y="103560"/>
                  </a:lnTo>
                  <a:lnTo>
                    <a:pt x="2229664" y="118509"/>
                  </a:lnTo>
                  <a:lnTo>
                    <a:pt x="2209589" y="108544"/>
                  </a:lnTo>
                  <a:lnTo>
                    <a:pt x="2226318" y="101899"/>
                  </a:lnTo>
                  <a:lnTo>
                    <a:pt x="2192861" y="96917"/>
                  </a:lnTo>
                  <a:lnTo>
                    <a:pt x="2281523" y="86951"/>
                  </a:lnTo>
                  <a:lnTo>
                    <a:pt x="2241374" y="60375"/>
                  </a:lnTo>
                  <a:lnTo>
                    <a:pt x="2294906" y="58714"/>
                  </a:lnTo>
                  <a:lnTo>
                    <a:pt x="2316653" y="68680"/>
                  </a:lnTo>
                  <a:lnTo>
                    <a:pt x="2303270" y="57053"/>
                  </a:lnTo>
                  <a:lnTo>
                    <a:pt x="2385241" y="47087"/>
                  </a:lnTo>
                  <a:lnTo>
                    <a:pt x="2427061" y="37122"/>
                  </a:lnTo>
                  <a:lnTo>
                    <a:pt x="2341746" y="43766"/>
                  </a:lnTo>
                  <a:lnTo>
                    <a:pt x="2262290" y="49719"/>
                  </a:lnTo>
                  <a:lnTo>
                    <a:pt x="2330036" y="42105"/>
                  </a:lnTo>
                  <a:lnTo>
                    <a:pt x="2253084" y="50409"/>
                  </a:lnTo>
                  <a:lnTo>
                    <a:pt x="2262290" y="49719"/>
                  </a:lnTo>
                  <a:lnTo>
                    <a:pt x="2241374" y="52070"/>
                  </a:lnTo>
                  <a:lnTo>
                    <a:pt x="2214608" y="47087"/>
                  </a:lnTo>
                  <a:lnTo>
                    <a:pt x="2296579" y="40444"/>
                  </a:lnTo>
                  <a:lnTo>
                    <a:pt x="2209589" y="40444"/>
                  </a:lnTo>
                  <a:lnTo>
                    <a:pt x="2263121" y="37122"/>
                  </a:lnTo>
                  <a:lnTo>
                    <a:pt x="2194534" y="32138"/>
                  </a:lnTo>
                  <a:lnTo>
                    <a:pt x="2284869" y="23834"/>
                  </a:lnTo>
                  <a:lnTo>
                    <a:pt x="2396951" y="30477"/>
                  </a:lnTo>
                  <a:lnTo>
                    <a:pt x="2383568" y="12207"/>
                  </a:lnTo>
                  <a:lnTo>
                    <a:pt x="2473901" y="17189"/>
                  </a:lnTo>
                  <a:close/>
                  <a:moveTo>
                    <a:pt x="3212815" y="0"/>
                  </a:moveTo>
                  <a:lnTo>
                    <a:pt x="3259675" y="6694"/>
                  </a:lnTo>
                  <a:lnTo>
                    <a:pt x="3151642" y="9694"/>
                  </a:lnTo>
                  <a:lnTo>
                    <a:pt x="3119095" y="10040"/>
                  </a:lnTo>
                  <a:lnTo>
                    <a:pt x="3139178" y="10040"/>
                  </a:lnTo>
                  <a:lnTo>
                    <a:pt x="3151642" y="9694"/>
                  </a:lnTo>
                  <a:lnTo>
                    <a:pt x="3276411" y="8367"/>
                  </a:lnTo>
                  <a:lnTo>
                    <a:pt x="3274737" y="11714"/>
                  </a:lnTo>
                  <a:lnTo>
                    <a:pt x="3328292" y="18407"/>
                  </a:lnTo>
                  <a:lnTo>
                    <a:pt x="3249634" y="23427"/>
                  </a:lnTo>
                  <a:lnTo>
                    <a:pt x="3184364" y="23427"/>
                  </a:lnTo>
                  <a:lnTo>
                    <a:pt x="3149219" y="31794"/>
                  </a:lnTo>
                  <a:lnTo>
                    <a:pt x="3264696" y="26774"/>
                  </a:lnTo>
                  <a:lnTo>
                    <a:pt x="3258002" y="31794"/>
                  </a:lnTo>
                  <a:lnTo>
                    <a:pt x="3234572" y="38487"/>
                  </a:lnTo>
                  <a:lnTo>
                    <a:pt x="3283105" y="30120"/>
                  </a:lnTo>
                  <a:lnTo>
                    <a:pt x="3289800" y="26774"/>
                  </a:lnTo>
                  <a:lnTo>
                    <a:pt x="3316577" y="28447"/>
                  </a:lnTo>
                  <a:lnTo>
                    <a:pt x="3299841" y="40160"/>
                  </a:lnTo>
                  <a:lnTo>
                    <a:pt x="3276411" y="51874"/>
                  </a:lnTo>
                  <a:lnTo>
                    <a:pt x="3343354" y="33467"/>
                  </a:lnTo>
                  <a:lnTo>
                    <a:pt x="3345028" y="36814"/>
                  </a:lnTo>
                  <a:lnTo>
                    <a:pt x="3380173" y="33467"/>
                  </a:lnTo>
                  <a:lnTo>
                    <a:pt x="3413644" y="28447"/>
                  </a:lnTo>
                  <a:lnTo>
                    <a:pt x="3473893" y="33467"/>
                  </a:lnTo>
                  <a:lnTo>
                    <a:pt x="3427033" y="41834"/>
                  </a:lnTo>
                  <a:lnTo>
                    <a:pt x="3430380" y="46854"/>
                  </a:lnTo>
                  <a:lnTo>
                    <a:pt x="3333313" y="51874"/>
                  </a:lnTo>
                  <a:lnTo>
                    <a:pt x="3403603" y="51874"/>
                  </a:lnTo>
                  <a:lnTo>
                    <a:pt x="3365110" y="58567"/>
                  </a:lnTo>
                  <a:lnTo>
                    <a:pt x="3328292" y="61914"/>
                  </a:lnTo>
                  <a:lnTo>
                    <a:pt x="3334986" y="66934"/>
                  </a:lnTo>
                  <a:lnTo>
                    <a:pt x="3373478" y="60241"/>
                  </a:lnTo>
                  <a:lnTo>
                    <a:pt x="3370131" y="66934"/>
                  </a:lnTo>
                  <a:lnTo>
                    <a:pt x="3350048" y="68608"/>
                  </a:lnTo>
                  <a:lnTo>
                    <a:pt x="3336660" y="80321"/>
                  </a:lnTo>
                  <a:lnTo>
                    <a:pt x="3346701" y="78648"/>
                  </a:lnTo>
                  <a:lnTo>
                    <a:pt x="3334986" y="87015"/>
                  </a:lnTo>
                  <a:lnTo>
                    <a:pt x="3308209" y="92034"/>
                  </a:lnTo>
                  <a:lnTo>
                    <a:pt x="3294820" y="110441"/>
                  </a:lnTo>
                  <a:lnTo>
                    <a:pt x="3299841" y="113787"/>
                  </a:lnTo>
                  <a:lnTo>
                    <a:pt x="3308209" y="108768"/>
                  </a:lnTo>
                  <a:lnTo>
                    <a:pt x="3343354" y="113787"/>
                  </a:lnTo>
                  <a:lnTo>
                    <a:pt x="3309883" y="113787"/>
                  </a:lnTo>
                  <a:lnTo>
                    <a:pt x="3323271" y="120481"/>
                  </a:lnTo>
                  <a:lnTo>
                    <a:pt x="3350048" y="120481"/>
                  </a:lnTo>
                  <a:lnTo>
                    <a:pt x="3353395" y="132195"/>
                  </a:lnTo>
                  <a:lnTo>
                    <a:pt x="3303188" y="132195"/>
                  </a:lnTo>
                  <a:lnTo>
                    <a:pt x="3274737" y="133868"/>
                  </a:lnTo>
                  <a:lnTo>
                    <a:pt x="3284779" y="142235"/>
                  </a:lnTo>
                  <a:lnTo>
                    <a:pt x="3289800" y="142235"/>
                  </a:lnTo>
                  <a:lnTo>
                    <a:pt x="3303188" y="147254"/>
                  </a:lnTo>
                  <a:lnTo>
                    <a:pt x="3323271" y="148928"/>
                  </a:lnTo>
                  <a:lnTo>
                    <a:pt x="3286452" y="152275"/>
                  </a:lnTo>
                  <a:lnTo>
                    <a:pt x="3318250" y="152275"/>
                  </a:lnTo>
                  <a:lnTo>
                    <a:pt x="3319924" y="169008"/>
                  </a:lnTo>
                  <a:lnTo>
                    <a:pt x="3278085" y="158967"/>
                  </a:lnTo>
                  <a:lnTo>
                    <a:pt x="3276411" y="162315"/>
                  </a:lnTo>
                  <a:lnTo>
                    <a:pt x="3296494" y="169008"/>
                  </a:lnTo>
                  <a:lnTo>
                    <a:pt x="3276411" y="172355"/>
                  </a:lnTo>
                  <a:lnTo>
                    <a:pt x="3294820" y="172355"/>
                  </a:lnTo>
                  <a:lnTo>
                    <a:pt x="3298168" y="180721"/>
                  </a:lnTo>
                  <a:lnTo>
                    <a:pt x="3318250" y="180721"/>
                  </a:lnTo>
                  <a:lnTo>
                    <a:pt x="3323271" y="189088"/>
                  </a:lnTo>
                  <a:lnTo>
                    <a:pt x="3274737" y="184068"/>
                  </a:lnTo>
                  <a:lnTo>
                    <a:pt x="3264696" y="192435"/>
                  </a:lnTo>
                  <a:lnTo>
                    <a:pt x="3269717" y="202474"/>
                  </a:lnTo>
                  <a:lnTo>
                    <a:pt x="3273064" y="200801"/>
                  </a:lnTo>
                  <a:lnTo>
                    <a:pt x="3298168" y="200801"/>
                  </a:lnTo>
                  <a:lnTo>
                    <a:pt x="3296494" y="207495"/>
                  </a:lnTo>
                  <a:lnTo>
                    <a:pt x="3268043" y="214189"/>
                  </a:lnTo>
                  <a:lnTo>
                    <a:pt x="3232898" y="207495"/>
                  </a:lnTo>
                  <a:lnTo>
                    <a:pt x="3254655" y="209168"/>
                  </a:lnTo>
                  <a:lnTo>
                    <a:pt x="3239592" y="204148"/>
                  </a:lnTo>
                  <a:lnTo>
                    <a:pt x="3222857" y="207495"/>
                  </a:lnTo>
                  <a:lnTo>
                    <a:pt x="3207795" y="202474"/>
                  </a:lnTo>
                  <a:lnTo>
                    <a:pt x="3212815" y="207495"/>
                  </a:lnTo>
                  <a:lnTo>
                    <a:pt x="3202774" y="212515"/>
                  </a:lnTo>
                  <a:lnTo>
                    <a:pt x="3174323" y="210841"/>
                  </a:lnTo>
                  <a:lnTo>
                    <a:pt x="3177670" y="214189"/>
                  </a:lnTo>
                  <a:lnTo>
                    <a:pt x="3165955" y="219208"/>
                  </a:lnTo>
                  <a:lnTo>
                    <a:pt x="3165955" y="222554"/>
                  </a:lnTo>
                  <a:lnTo>
                    <a:pt x="3167629" y="219208"/>
                  </a:lnTo>
                  <a:lnTo>
                    <a:pt x="3207795" y="220881"/>
                  </a:lnTo>
                  <a:lnTo>
                    <a:pt x="3169302" y="227575"/>
                  </a:lnTo>
                  <a:lnTo>
                    <a:pt x="3174323" y="229248"/>
                  </a:lnTo>
                  <a:lnTo>
                    <a:pt x="3186038" y="229248"/>
                  </a:lnTo>
                  <a:lnTo>
                    <a:pt x="3212815" y="230921"/>
                  </a:lnTo>
                  <a:lnTo>
                    <a:pt x="3196080" y="234268"/>
                  </a:lnTo>
                  <a:lnTo>
                    <a:pt x="3196080" y="240961"/>
                  </a:lnTo>
                  <a:lnTo>
                    <a:pt x="3202774" y="237615"/>
                  </a:lnTo>
                  <a:lnTo>
                    <a:pt x="3246287" y="247655"/>
                  </a:lnTo>
                  <a:lnTo>
                    <a:pt x="3239592" y="252675"/>
                  </a:lnTo>
                  <a:lnTo>
                    <a:pt x="3244613" y="254348"/>
                  </a:lnTo>
                  <a:lnTo>
                    <a:pt x="3252981" y="254348"/>
                  </a:lnTo>
                  <a:lnTo>
                    <a:pt x="3246287" y="261042"/>
                  </a:lnTo>
                  <a:lnTo>
                    <a:pt x="3258002" y="259368"/>
                  </a:lnTo>
                  <a:lnTo>
                    <a:pt x="3256328" y="271082"/>
                  </a:lnTo>
                  <a:lnTo>
                    <a:pt x="3256328" y="281122"/>
                  </a:lnTo>
                  <a:lnTo>
                    <a:pt x="3246287" y="282795"/>
                  </a:lnTo>
                  <a:lnTo>
                    <a:pt x="3244613" y="274428"/>
                  </a:lnTo>
                  <a:lnTo>
                    <a:pt x="3239592" y="281122"/>
                  </a:lnTo>
                  <a:lnTo>
                    <a:pt x="3224530" y="284468"/>
                  </a:lnTo>
                  <a:lnTo>
                    <a:pt x="3212815" y="269409"/>
                  </a:lnTo>
                  <a:lnTo>
                    <a:pt x="3186182" y="260088"/>
                  </a:lnTo>
                  <a:lnTo>
                    <a:pt x="3186038" y="259368"/>
                  </a:lnTo>
                  <a:lnTo>
                    <a:pt x="3184364" y="259368"/>
                  </a:lnTo>
                  <a:lnTo>
                    <a:pt x="3184092" y="259357"/>
                  </a:lnTo>
                  <a:lnTo>
                    <a:pt x="3179344" y="257695"/>
                  </a:lnTo>
                  <a:lnTo>
                    <a:pt x="3142525" y="244308"/>
                  </a:lnTo>
                  <a:lnTo>
                    <a:pt x="3157587" y="252675"/>
                  </a:lnTo>
                  <a:lnTo>
                    <a:pt x="3145872" y="257695"/>
                  </a:lnTo>
                  <a:lnTo>
                    <a:pt x="3184092" y="259357"/>
                  </a:lnTo>
                  <a:lnTo>
                    <a:pt x="3186182" y="260088"/>
                  </a:lnTo>
                  <a:lnTo>
                    <a:pt x="3187712" y="267735"/>
                  </a:lnTo>
                  <a:lnTo>
                    <a:pt x="3144199" y="269409"/>
                  </a:lnTo>
                  <a:lnTo>
                    <a:pt x="3142525" y="271082"/>
                  </a:lnTo>
                  <a:lnTo>
                    <a:pt x="3142525" y="272755"/>
                  </a:lnTo>
                  <a:lnTo>
                    <a:pt x="3117422" y="282795"/>
                  </a:lnTo>
                  <a:lnTo>
                    <a:pt x="3165955" y="282795"/>
                  </a:lnTo>
                  <a:lnTo>
                    <a:pt x="3132484" y="291162"/>
                  </a:lnTo>
                  <a:lnTo>
                    <a:pt x="3134157" y="294508"/>
                  </a:lnTo>
                  <a:lnTo>
                    <a:pt x="3182691" y="287816"/>
                  </a:lnTo>
                  <a:lnTo>
                    <a:pt x="3239592" y="292835"/>
                  </a:lnTo>
                  <a:lnTo>
                    <a:pt x="3226204" y="297855"/>
                  </a:lnTo>
                  <a:lnTo>
                    <a:pt x="3214489" y="302875"/>
                  </a:lnTo>
                  <a:lnTo>
                    <a:pt x="3206121" y="307895"/>
                  </a:lnTo>
                  <a:lnTo>
                    <a:pt x="3189385" y="314588"/>
                  </a:lnTo>
                  <a:lnTo>
                    <a:pt x="3175997" y="321282"/>
                  </a:lnTo>
                  <a:lnTo>
                    <a:pt x="3134157" y="331322"/>
                  </a:lnTo>
                  <a:lnTo>
                    <a:pt x="3092318" y="341362"/>
                  </a:lnTo>
                  <a:lnTo>
                    <a:pt x="3085624" y="339688"/>
                  </a:lnTo>
                  <a:lnTo>
                    <a:pt x="3075582" y="341362"/>
                  </a:lnTo>
                  <a:lnTo>
                    <a:pt x="3063867" y="344709"/>
                  </a:lnTo>
                  <a:lnTo>
                    <a:pt x="3042111" y="332996"/>
                  </a:lnTo>
                  <a:lnTo>
                    <a:pt x="3037090" y="341362"/>
                  </a:lnTo>
                  <a:lnTo>
                    <a:pt x="3037090" y="349728"/>
                  </a:lnTo>
                  <a:lnTo>
                    <a:pt x="3006966" y="363115"/>
                  </a:lnTo>
                  <a:lnTo>
                    <a:pt x="2988556" y="379849"/>
                  </a:lnTo>
                  <a:lnTo>
                    <a:pt x="2985209" y="383195"/>
                  </a:lnTo>
                  <a:lnTo>
                    <a:pt x="2966800" y="389889"/>
                  </a:lnTo>
                  <a:lnTo>
                    <a:pt x="2958432" y="388216"/>
                  </a:lnTo>
                  <a:lnTo>
                    <a:pt x="2956758" y="393235"/>
                  </a:lnTo>
                  <a:lnTo>
                    <a:pt x="2926634" y="401602"/>
                  </a:lnTo>
                  <a:lnTo>
                    <a:pt x="2914919" y="399929"/>
                  </a:lnTo>
                  <a:lnTo>
                    <a:pt x="2926634" y="391562"/>
                  </a:lnTo>
                  <a:lnTo>
                    <a:pt x="2916593" y="389889"/>
                  </a:lnTo>
                  <a:lnTo>
                    <a:pt x="2903204" y="401602"/>
                  </a:lnTo>
                  <a:lnTo>
                    <a:pt x="2906551" y="403275"/>
                  </a:lnTo>
                  <a:lnTo>
                    <a:pt x="2884795" y="408296"/>
                  </a:lnTo>
                  <a:lnTo>
                    <a:pt x="2876427" y="409969"/>
                  </a:lnTo>
                  <a:lnTo>
                    <a:pt x="2863038" y="411642"/>
                  </a:lnTo>
                  <a:lnTo>
                    <a:pt x="2864712" y="420009"/>
                  </a:lnTo>
                  <a:lnTo>
                    <a:pt x="2844629" y="421682"/>
                  </a:lnTo>
                  <a:lnTo>
                    <a:pt x="2844629" y="438416"/>
                  </a:lnTo>
                  <a:lnTo>
                    <a:pt x="2824546" y="441762"/>
                  </a:lnTo>
                  <a:lnTo>
                    <a:pt x="2836261" y="445109"/>
                  </a:lnTo>
                  <a:lnTo>
                    <a:pt x="2841282" y="455149"/>
                  </a:lnTo>
                  <a:lnTo>
                    <a:pt x="2824546" y="455149"/>
                  </a:lnTo>
                  <a:lnTo>
                    <a:pt x="2832914" y="460169"/>
                  </a:lnTo>
                  <a:lnTo>
                    <a:pt x="2824546" y="463516"/>
                  </a:lnTo>
                  <a:lnTo>
                    <a:pt x="2817852" y="465189"/>
                  </a:lnTo>
                  <a:lnTo>
                    <a:pt x="2822872" y="468535"/>
                  </a:lnTo>
                  <a:lnTo>
                    <a:pt x="2816178" y="465189"/>
                  </a:lnTo>
                  <a:lnTo>
                    <a:pt x="2814505" y="471883"/>
                  </a:lnTo>
                  <a:lnTo>
                    <a:pt x="2806137" y="471883"/>
                  </a:lnTo>
                  <a:lnTo>
                    <a:pt x="2806137" y="475229"/>
                  </a:lnTo>
                  <a:lnTo>
                    <a:pt x="2811157" y="478576"/>
                  </a:lnTo>
                  <a:lnTo>
                    <a:pt x="2796095" y="480249"/>
                  </a:lnTo>
                  <a:lnTo>
                    <a:pt x="2781033" y="485269"/>
                  </a:lnTo>
                  <a:lnTo>
                    <a:pt x="2787727" y="493636"/>
                  </a:lnTo>
                  <a:lnTo>
                    <a:pt x="2784380" y="493636"/>
                  </a:lnTo>
                  <a:lnTo>
                    <a:pt x="2791075" y="502002"/>
                  </a:lnTo>
                  <a:lnTo>
                    <a:pt x="2787727" y="503676"/>
                  </a:lnTo>
                  <a:lnTo>
                    <a:pt x="2781033" y="512042"/>
                  </a:lnTo>
                  <a:lnTo>
                    <a:pt x="2782707" y="515389"/>
                  </a:lnTo>
                  <a:lnTo>
                    <a:pt x="2772665" y="518736"/>
                  </a:lnTo>
                  <a:lnTo>
                    <a:pt x="2776012" y="522082"/>
                  </a:lnTo>
                  <a:lnTo>
                    <a:pt x="2770992" y="523756"/>
                  </a:lnTo>
                  <a:lnTo>
                    <a:pt x="2770992" y="525430"/>
                  </a:lnTo>
                  <a:lnTo>
                    <a:pt x="2770992" y="530449"/>
                  </a:lnTo>
                  <a:lnTo>
                    <a:pt x="2757603" y="530449"/>
                  </a:lnTo>
                  <a:lnTo>
                    <a:pt x="2770992" y="533796"/>
                  </a:lnTo>
                  <a:lnTo>
                    <a:pt x="2757603" y="533796"/>
                  </a:lnTo>
                  <a:lnTo>
                    <a:pt x="2760950" y="535470"/>
                  </a:lnTo>
                  <a:lnTo>
                    <a:pt x="2757603" y="538816"/>
                  </a:lnTo>
                  <a:lnTo>
                    <a:pt x="2762624" y="542162"/>
                  </a:lnTo>
                  <a:lnTo>
                    <a:pt x="2757603" y="543836"/>
                  </a:lnTo>
                  <a:lnTo>
                    <a:pt x="2735847" y="542162"/>
                  </a:lnTo>
                  <a:lnTo>
                    <a:pt x="2750909" y="548856"/>
                  </a:lnTo>
                  <a:lnTo>
                    <a:pt x="2754256" y="552203"/>
                  </a:lnTo>
                  <a:lnTo>
                    <a:pt x="2752582" y="555549"/>
                  </a:lnTo>
                  <a:lnTo>
                    <a:pt x="2735847" y="550529"/>
                  </a:lnTo>
                  <a:lnTo>
                    <a:pt x="2717437" y="558896"/>
                  </a:lnTo>
                  <a:lnTo>
                    <a:pt x="2714090" y="553876"/>
                  </a:lnTo>
                  <a:lnTo>
                    <a:pt x="2725805" y="545509"/>
                  </a:lnTo>
                  <a:lnTo>
                    <a:pt x="2714090" y="552203"/>
                  </a:lnTo>
                  <a:lnTo>
                    <a:pt x="2722458" y="542162"/>
                  </a:lnTo>
                  <a:lnTo>
                    <a:pt x="2714090" y="543836"/>
                  </a:lnTo>
                  <a:lnTo>
                    <a:pt x="2715764" y="540489"/>
                  </a:lnTo>
                  <a:lnTo>
                    <a:pt x="2704049" y="542162"/>
                  </a:lnTo>
                  <a:lnTo>
                    <a:pt x="2712417" y="533796"/>
                  </a:lnTo>
                  <a:lnTo>
                    <a:pt x="2702375" y="535470"/>
                  </a:lnTo>
                  <a:lnTo>
                    <a:pt x="2715764" y="525430"/>
                  </a:lnTo>
                  <a:lnTo>
                    <a:pt x="2705722" y="530449"/>
                  </a:lnTo>
                  <a:lnTo>
                    <a:pt x="2705722" y="525430"/>
                  </a:lnTo>
                  <a:lnTo>
                    <a:pt x="2682292" y="533796"/>
                  </a:lnTo>
                  <a:lnTo>
                    <a:pt x="2667230" y="535470"/>
                  </a:lnTo>
                  <a:lnTo>
                    <a:pt x="2660536" y="533796"/>
                  </a:lnTo>
                  <a:lnTo>
                    <a:pt x="2660536" y="532122"/>
                  </a:lnTo>
                  <a:lnTo>
                    <a:pt x="2657189" y="532122"/>
                  </a:lnTo>
                  <a:lnTo>
                    <a:pt x="2662209" y="530449"/>
                  </a:lnTo>
                  <a:lnTo>
                    <a:pt x="2660536" y="523756"/>
                  </a:lnTo>
                  <a:lnTo>
                    <a:pt x="2650494" y="525430"/>
                  </a:lnTo>
                  <a:lnTo>
                    <a:pt x="2652168" y="520409"/>
                  </a:lnTo>
                  <a:lnTo>
                    <a:pt x="2650494" y="520409"/>
                  </a:lnTo>
                  <a:lnTo>
                    <a:pt x="2653842" y="515389"/>
                  </a:lnTo>
                  <a:lnTo>
                    <a:pt x="2643800" y="515389"/>
                  </a:lnTo>
                  <a:lnTo>
                    <a:pt x="2652168" y="513716"/>
                  </a:lnTo>
                  <a:lnTo>
                    <a:pt x="2647147" y="512042"/>
                  </a:lnTo>
                  <a:lnTo>
                    <a:pt x="2650494" y="505349"/>
                  </a:lnTo>
                  <a:lnTo>
                    <a:pt x="2643800" y="508696"/>
                  </a:lnTo>
                  <a:lnTo>
                    <a:pt x="2647147" y="502002"/>
                  </a:lnTo>
                  <a:lnTo>
                    <a:pt x="2637106" y="502002"/>
                  </a:lnTo>
                  <a:lnTo>
                    <a:pt x="2640453" y="498656"/>
                  </a:lnTo>
                  <a:lnTo>
                    <a:pt x="2630411" y="488616"/>
                  </a:lnTo>
                  <a:lnTo>
                    <a:pt x="2633759" y="483596"/>
                  </a:lnTo>
                  <a:lnTo>
                    <a:pt x="2640453" y="478576"/>
                  </a:lnTo>
                  <a:lnTo>
                    <a:pt x="2632085" y="480249"/>
                  </a:lnTo>
                  <a:lnTo>
                    <a:pt x="2633759" y="473556"/>
                  </a:lnTo>
                  <a:lnTo>
                    <a:pt x="2620370" y="470209"/>
                  </a:lnTo>
                  <a:lnTo>
                    <a:pt x="2632085" y="468535"/>
                  </a:lnTo>
                  <a:lnTo>
                    <a:pt x="2620370" y="465189"/>
                  </a:lnTo>
                  <a:lnTo>
                    <a:pt x="2622044" y="463516"/>
                  </a:lnTo>
                  <a:lnTo>
                    <a:pt x="2627064" y="460169"/>
                  </a:lnTo>
                  <a:lnTo>
                    <a:pt x="2617023" y="461843"/>
                  </a:lnTo>
                  <a:lnTo>
                    <a:pt x="2625391" y="453476"/>
                  </a:lnTo>
                  <a:lnTo>
                    <a:pt x="2615349" y="450129"/>
                  </a:lnTo>
                  <a:lnTo>
                    <a:pt x="2647147" y="443436"/>
                  </a:lnTo>
                  <a:lnTo>
                    <a:pt x="2642127" y="443436"/>
                  </a:lnTo>
                  <a:lnTo>
                    <a:pt x="2622044" y="445109"/>
                  </a:lnTo>
                  <a:lnTo>
                    <a:pt x="2645474" y="440089"/>
                  </a:lnTo>
                  <a:lnTo>
                    <a:pt x="2643800" y="433395"/>
                  </a:lnTo>
                  <a:lnTo>
                    <a:pt x="2657189" y="440089"/>
                  </a:lnTo>
                  <a:lnTo>
                    <a:pt x="2653842" y="428376"/>
                  </a:lnTo>
                  <a:lnTo>
                    <a:pt x="2645474" y="425029"/>
                  </a:lnTo>
                  <a:lnTo>
                    <a:pt x="2642127" y="418336"/>
                  </a:lnTo>
                  <a:lnTo>
                    <a:pt x="2637106" y="431722"/>
                  </a:lnTo>
                  <a:lnTo>
                    <a:pt x="2625391" y="438416"/>
                  </a:lnTo>
                  <a:lnTo>
                    <a:pt x="2610329" y="441762"/>
                  </a:lnTo>
                  <a:lnTo>
                    <a:pt x="2622044" y="428376"/>
                  </a:lnTo>
                  <a:lnTo>
                    <a:pt x="2632085" y="423355"/>
                  </a:lnTo>
                  <a:lnTo>
                    <a:pt x="2613676" y="425029"/>
                  </a:lnTo>
                  <a:lnTo>
                    <a:pt x="2615349" y="420009"/>
                  </a:lnTo>
                  <a:lnTo>
                    <a:pt x="2625391" y="411642"/>
                  </a:lnTo>
                  <a:lnTo>
                    <a:pt x="2652168" y="404949"/>
                  </a:lnTo>
                  <a:lnTo>
                    <a:pt x="2627064" y="409969"/>
                  </a:lnTo>
                  <a:lnTo>
                    <a:pt x="2613676" y="409969"/>
                  </a:lnTo>
                  <a:lnTo>
                    <a:pt x="2610329" y="408296"/>
                  </a:lnTo>
                  <a:lnTo>
                    <a:pt x="2606981" y="403275"/>
                  </a:lnTo>
                  <a:lnTo>
                    <a:pt x="2635432" y="394908"/>
                  </a:lnTo>
                  <a:lnTo>
                    <a:pt x="2603634" y="399929"/>
                  </a:lnTo>
                  <a:lnTo>
                    <a:pt x="2612002" y="398256"/>
                  </a:lnTo>
                  <a:lnTo>
                    <a:pt x="2603634" y="398256"/>
                  </a:lnTo>
                  <a:lnTo>
                    <a:pt x="2665557" y="374829"/>
                  </a:lnTo>
                  <a:lnTo>
                    <a:pt x="2675598" y="371482"/>
                  </a:lnTo>
                  <a:lnTo>
                    <a:pt x="2640453" y="381522"/>
                  </a:lnTo>
                  <a:lnTo>
                    <a:pt x="2603634" y="391562"/>
                  </a:lnTo>
                  <a:lnTo>
                    <a:pt x="2606981" y="384869"/>
                  </a:lnTo>
                  <a:lnTo>
                    <a:pt x="2625391" y="383195"/>
                  </a:lnTo>
                  <a:lnTo>
                    <a:pt x="2613676" y="379849"/>
                  </a:lnTo>
                  <a:lnTo>
                    <a:pt x="2620370" y="379849"/>
                  </a:lnTo>
                  <a:lnTo>
                    <a:pt x="2622044" y="378175"/>
                  </a:lnTo>
                  <a:lnTo>
                    <a:pt x="2632085" y="373155"/>
                  </a:lnTo>
                  <a:lnTo>
                    <a:pt x="2613676" y="371482"/>
                  </a:lnTo>
                  <a:lnTo>
                    <a:pt x="2606981" y="368135"/>
                  </a:lnTo>
                  <a:lnTo>
                    <a:pt x="2655515" y="364789"/>
                  </a:lnTo>
                  <a:lnTo>
                    <a:pt x="2667230" y="368135"/>
                  </a:lnTo>
                  <a:lnTo>
                    <a:pt x="2655515" y="363115"/>
                  </a:lnTo>
                  <a:lnTo>
                    <a:pt x="2610329" y="363115"/>
                  </a:lnTo>
                  <a:lnTo>
                    <a:pt x="2643800" y="353076"/>
                  </a:lnTo>
                  <a:lnTo>
                    <a:pt x="2680619" y="359768"/>
                  </a:lnTo>
                  <a:lnTo>
                    <a:pt x="2675598" y="354749"/>
                  </a:lnTo>
                  <a:lnTo>
                    <a:pt x="2683966" y="353076"/>
                  </a:lnTo>
                  <a:lnTo>
                    <a:pt x="2670577" y="353076"/>
                  </a:lnTo>
                  <a:lnTo>
                    <a:pt x="2680619" y="349728"/>
                  </a:lnTo>
                  <a:lnTo>
                    <a:pt x="2672251" y="349728"/>
                  </a:lnTo>
                  <a:lnTo>
                    <a:pt x="2662209" y="351403"/>
                  </a:lnTo>
                  <a:lnTo>
                    <a:pt x="2652092" y="349957"/>
                  </a:lnTo>
                  <a:lnTo>
                    <a:pt x="2653842" y="349728"/>
                  </a:lnTo>
                  <a:lnTo>
                    <a:pt x="2650494" y="349728"/>
                  </a:lnTo>
                  <a:lnTo>
                    <a:pt x="2652092" y="349957"/>
                  </a:lnTo>
                  <a:lnTo>
                    <a:pt x="2615349" y="354749"/>
                  </a:lnTo>
                  <a:lnTo>
                    <a:pt x="2630411" y="344709"/>
                  </a:lnTo>
                  <a:lnTo>
                    <a:pt x="2650494" y="348055"/>
                  </a:lnTo>
                  <a:lnTo>
                    <a:pt x="2633759" y="341362"/>
                  </a:lnTo>
                  <a:lnTo>
                    <a:pt x="2642127" y="341362"/>
                  </a:lnTo>
                  <a:lnTo>
                    <a:pt x="2682292" y="348055"/>
                  </a:lnTo>
                  <a:lnTo>
                    <a:pt x="2673924" y="341362"/>
                  </a:lnTo>
                  <a:lnTo>
                    <a:pt x="2682292" y="332996"/>
                  </a:lnTo>
                  <a:lnTo>
                    <a:pt x="2672251" y="338015"/>
                  </a:lnTo>
                  <a:lnTo>
                    <a:pt x="2642127" y="341362"/>
                  </a:lnTo>
                  <a:lnTo>
                    <a:pt x="2637106" y="338015"/>
                  </a:lnTo>
                  <a:lnTo>
                    <a:pt x="2687313" y="324629"/>
                  </a:lnTo>
                  <a:lnTo>
                    <a:pt x="2680619" y="322955"/>
                  </a:lnTo>
                  <a:lnTo>
                    <a:pt x="2690660" y="317935"/>
                  </a:lnTo>
                  <a:lnTo>
                    <a:pt x="2700702" y="321282"/>
                  </a:lnTo>
                  <a:lnTo>
                    <a:pt x="2700702" y="317935"/>
                  </a:lnTo>
                  <a:lnTo>
                    <a:pt x="2694007" y="314588"/>
                  </a:lnTo>
                  <a:lnTo>
                    <a:pt x="2690660" y="311242"/>
                  </a:lnTo>
                  <a:lnTo>
                    <a:pt x="2697354" y="307895"/>
                  </a:lnTo>
                  <a:lnTo>
                    <a:pt x="2695681" y="302875"/>
                  </a:lnTo>
                  <a:lnTo>
                    <a:pt x="2705722" y="297855"/>
                  </a:lnTo>
                  <a:lnTo>
                    <a:pt x="2642127" y="282795"/>
                  </a:lnTo>
                  <a:lnTo>
                    <a:pt x="2645474" y="274428"/>
                  </a:lnTo>
                  <a:lnTo>
                    <a:pt x="2705722" y="284468"/>
                  </a:lnTo>
                  <a:lnTo>
                    <a:pt x="2704049" y="281122"/>
                  </a:lnTo>
                  <a:lnTo>
                    <a:pt x="2704049" y="274428"/>
                  </a:lnTo>
                  <a:lnTo>
                    <a:pt x="2705722" y="274428"/>
                  </a:lnTo>
                  <a:lnTo>
                    <a:pt x="2692334" y="269409"/>
                  </a:lnTo>
                  <a:lnTo>
                    <a:pt x="2704049" y="271082"/>
                  </a:lnTo>
                  <a:lnTo>
                    <a:pt x="2690660" y="264388"/>
                  </a:lnTo>
                  <a:lnTo>
                    <a:pt x="2695681" y="262715"/>
                  </a:lnTo>
                  <a:lnTo>
                    <a:pt x="2685639" y="264388"/>
                  </a:lnTo>
                  <a:lnTo>
                    <a:pt x="2700702" y="259368"/>
                  </a:lnTo>
                  <a:lnTo>
                    <a:pt x="2682292" y="259368"/>
                  </a:lnTo>
                  <a:lnTo>
                    <a:pt x="2700702" y="254348"/>
                  </a:lnTo>
                  <a:lnTo>
                    <a:pt x="2682292" y="251002"/>
                  </a:lnTo>
                  <a:lnTo>
                    <a:pt x="2685639" y="247655"/>
                  </a:lnTo>
                  <a:lnTo>
                    <a:pt x="2673924" y="251002"/>
                  </a:lnTo>
                  <a:lnTo>
                    <a:pt x="2672251" y="237615"/>
                  </a:lnTo>
                  <a:lnTo>
                    <a:pt x="2660536" y="254348"/>
                  </a:lnTo>
                  <a:lnTo>
                    <a:pt x="2637106" y="261042"/>
                  </a:lnTo>
                  <a:lnTo>
                    <a:pt x="2627064" y="252675"/>
                  </a:lnTo>
                  <a:lnTo>
                    <a:pt x="2652168" y="244308"/>
                  </a:lnTo>
                  <a:lnTo>
                    <a:pt x="2640453" y="244308"/>
                  </a:lnTo>
                  <a:lnTo>
                    <a:pt x="2645474" y="237615"/>
                  </a:lnTo>
                  <a:lnTo>
                    <a:pt x="2655515" y="232594"/>
                  </a:lnTo>
                  <a:lnTo>
                    <a:pt x="2660536" y="220881"/>
                  </a:lnTo>
                  <a:lnTo>
                    <a:pt x="2653842" y="217535"/>
                  </a:lnTo>
                  <a:lnTo>
                    <a:pt x="2655515" y="210841"/>
                  </a:lnTo>
                  <a:lnTo>
                    <a:pt x="2653842" y="202474"/>
                  </a:lnTo>
                  <a:lnTo>
                    <a:pt x="2653842" y="192435"/>
                  </a:lnTo>
                  <a:lnTo>
                    <a:pt x="2640453" y="192435"/>
                  </a:lnTo>
                  <a:lnTo>
                    <a:pt x="2647147" y="189088"/>
                  </a:lnTo>
                  <a:lnTo>
                    <a:pt x="2653842" y="182395"/>
                  </a:lnTo>
                  <a:lnTo>
                    <a:pt x="2647147" y="177374"/>
                  </a:lnTo>
                  <a:lnTo>
                    <a:pt x="2630411" y="167334"/>
                  </a:lnTo>
                  <a:lnTo>
                    <a:pt x="2635432" y="158967"/>
                  </a:lnTo>
                  <a:lnTo>
                    <a:pt x="2556774" y="143908"/>
                  </a:lnTo>
                  <a:lnTo>
                    <a:pt x="2543386" y="143908"/>
                  </a:lnTo>
                  <a:lnTo>
                    <a:pt x="2513261" y="148928"/>
                  </a:lnTo>
                  <a:lnTo>
                    <a:pt x="2503220" y="148928"/>
                  </a:lnTo>
                  <a:lnTo>
                    <a:pt x="2491505" y="148928"/>
                  </a:lnTo>
                  <a:lnTo>
                    <a:pt x="2496526" y="152275"/>
                  </a:lnTo>
                  <a:lnTo>
                    <a:pt x="2453013" y="142235"/>
                  </a:lnTo>
                  <a:lnTo>
                    <a:pt x="2473096" y="137214"/>
                  </a:lnTo>
                  <a:lnTo>
                    <a:pt x="2454686" y="130521"/>
                  </a:lnTo>
                  <a:lnTo>
                    <a:pt x="2432930" y="128848"/>
                  </a:lnTo>
                  <a:lnTo>
                    <a:pt x="2491136" y="124253"/>
                  </a:lnTo>
                  <a:lnTo>
                    <a:pt x="2511588" y="127174"/>
                  </a:lnTo>
                  <a:lnTo>
                    <a:pt x="2496526" y="123828"/>
                  </a:lnTo>
                  <a:lnTo>
                    <a:pt x="2491136" y="124253"/>
                  </a:lnTo>
                  <a:lnTo>
                    <a:pt x="2476443" y="122154"/>
                  </a:lnTo>
                  <a:lnTo>
                    <a:pt x="2521629" y="122154"/>
                  </a:lnTo>
                  <a:lnTo>
                    <a:pt x="2526650" y="113787"/>
                  </a:lnTo>
                  <a:lnTo>
                    <a:pt x="2489831" y="118808"/>
                  </a:lnTo>
                  <a:lnTo>
                    <a:pt x="2463054" y="117134"/>
                  </a:lnTo>
                  <a:lnTo>
                    <a:pt x="2464728" y="113787"/>
                  </a:lnTo>
                  <a:lnTo>
                    <a:pt x="2471422" y="110441"/>
                  </a:lnTo>
                  <a:lnTo>
                    <a:pt x="2434603" y="107094"/>
                  </a:lnTo>
                  <a:lnTo>
                    <a:pt x="2434603" y="100401"/>
                  </a:lnTo>
                  <a:lnTo>
                    <a:pt x="2441298" y="97054"/>
                  </a:lnTo>
                  <a:lnTo>
                    <a:pt x="2509914" y="87015"/>
                  </a:lnTo>
                  <a:lnTo>
                    <a:pt x="2573510" y="78648"/>
                  </a:lnTo>
                  <a:lnTo>
                    <a:pt x="2591919" y="68608"/>
                  </a:lnTo>
                  <a:lnTo>
                    <a:pt x="2595266" y="61914"/>
                  </a:lnTo>
                  <a:lnTo>
                    <a:pt x="2610329" y="60241"/>
                  </a:lnTo>
                  <a:lnTo>
                    <a:pt x="2556774" y="58567"/>
                  </a:lnTo>
                  <a:lnTo>
                    <a:pt x="2640453" y="41834"/>
                  </a:lnTo>
                  <a:lnTo>
                    <a:pt x="2643800" y="46854"/>
                  </a:lnTo>
                  <a:lnTo>
                    <a:pt x="2647147" y="40160"/>
                  </a:lnTo>
                  <a:lnTo>
                    <a:pt x="2680619" y="40160"/>
                  </a:lnTo>
                  <a:lnTo>
                    <a:pt x="2685639" y="33467"/>
                  </a:lnTo>
                  <a:lnTo>
                    <a:pt x="2685639" y="30120"/>
                  </a:lnTo>
                  <a:lnTo>
                    <a:pt x="2725805" y="31794"/>
                  </a:lnTo>
                  <a:lnTo>
                    <a:pt x="2747562" y="36814"/>
                  </a:lnTo>
                  <a:lnTo>
                    <a:pt x="2722458" y="26774"/>
                  </a:lnTo>
                  <a:lnTo>
                    <a:pt x="2807810" y="21754"/>
                  </a:lnTo>
                  <a:lnTo>
                    <a:pt x="2802790" y="33467"/>
                  </a:lnTo>
                  <a:lnTo>
                    <a:pt x="2807810" y="33467"/>
                  </a:lnTo>
                  <a:lnTo>
                    <a:pt x="2826220" y="26774"/>
                  </a:lnTo>
                  <a:lnTo>
                    <a:pt x="2864712" y="31794"/>
                  </a:lnTo>
                  <a:lnTo>
                    <a:pt x="2864712" y="28447"/>
                  </a:lnTo>
                  <a:lnTo>
                    <a:pt x="2871406" y="18407"/>
                  </a:lnTo>
                  <a:lnTo>
                    <a:pt x="2958432" y="30120"/>
                  </a:lnTo>
                  <a:lnTo>
                    <a:pt x="2958432" y="26774"/>
                  </a:lnTo>
                  <a:lnTo>
                    <a:pt x="2963453" y="21754"/>
                  </a:lnTo>
                  <a:lnTo>
                    <a:pt x="2978515" y="21754"/>
                  </a:lnTo>
                  <a:lnTo>
                    <a:pt x="2958432" y="13388"/>
                  </a:lnTo>
                  <a:lnTo>
                    <a:pt x="3006966" y="16734"/>
                  </a:lnTo>
                  <a:lnTo>
                    <a:pt x="3006966" y="13388"/>
                  </a:lnTo>
                  <a:lnTo>
                    <a:pt x="3037090" y="18407"/>
                  </a:lnTo>
                  <a:lnTo>
                    <a:pt x="3005292" y="11714"/>
                  </a:lnTo>
                  <a:lnTo>
                    <a:pt x="2936676" y="8367"/>
                  </a:lnTo>
                  <a:lnTo>
                    <a:pt x="2975168" y="10040"/>
                  </a:lnTo>
                  <a:lnTo>
                    <a:pt x="2966800" y="6694"/>
                  </a:lnTo>
                  <a:lnTo>
                    <a:pt x="3018681" y="8367"/>
                  </a:lnTo>
                  <a:lnTo>
                    <a:pt x="3057173" y="10040"/>
                  </a:lnTo>
                  <a:lnTo>
                    <a:pt x="3062194" y="8367"/>
                  </a:lnTo>
                  <a:lnTo>
                    <a:pt x="3073909" y="6694"/>
                  </a:lnTo>
                  <a:lnTo>
                    <a:pt x="3063867" y="1674"/>
                  </a:lnTo>
                  <a:close/>
                </a:path>
              </a:pathLst>
            </a:custGeom>
            <a:solidFill>
              <a:schemeClr val="bg1">
                <a:lumMod val="75000"/>
                <a:alpha val="12000"/>
              </a:schemeClr>
            </a:solidFill>
            <a:ln w="3175" cmpd="sng">
              <a:solidFill>
                <a:schemeClr val="bg1">
                  <a:alpha val="76000"/>
                </a:schemeClr>
              </a:solidFill>
              <a:prstDash val="solid"/>
              <a:round/>
            </a:ln>
            <a:effectLst/>
          </p:spPr>
          <p:txBody>
            <a:bodyPr>
              <a:normAutofit/>
            </a:bodyPr>
            <a:lstStyle/>
            <a:p>
              <a:pPr eaLnBrk="1" fontAlgn="auto" hangingPunct="1">
                <a:spcBef>
                  <a:spcPts val="0"/>
                </a:spcBef>
                <a:spcAft>
                  <a:spcPts val="0"/>
                </a:spcAft>
                <a:defRPr/>
              </a:pPr>
              <a:endParaRPr lang="zh-CN" altLang="en-US" sz="2000">
                <a:solidFill>
                  <a:prstClr val="black"/>
                </a:solidFill>
                <a:latin typeface="+mn-lt"/>
                <a:ea typeface="+mn-ea"/>
                <a:cs typeface="+mn-ea"/>
                <a:sym typeface="+mn-lt"/>
              </a:endParaRPr>
            </a:p>
          </p:txBody>
        </p:sp>
        <p:grpSp>
          <p:nvGrpSpPr>
            <p:cNvPr id="7" name="íṥľïḋê"/>
            <p:cNvGrpSpPr/>
            <p:nvPr/>
          </p:nvGrpSpPr>
          <p:grpSpPr bwMode="auto">
            <a:xfrm>
              <a:off x="3821903" y="1752826"/>
              <a:ext cx="3891279" cy="4329390"/>
              <a:chOff x="34044" y="1572762"/>
              <a:chExt cx="4267445" cy="4747889"/>
            </a:xfrm>
          </p:grpSpPr>
          <p:grpSp>
            <p:nvGrpSpPr>
              <p:cNvPr id="22" name="îšḻïḓè"/>
              <p:cNvGrpSpPr/>
              <p:nvPr/>
            </p:nvGrpSpPr>
            <p:grpSpPr bwMode="auto">
              <a:xfrm>
                <a:off x="34044" y="1572762"/>
                <a:ext cx="4267445" cy="4747889"/>
                <a:chOff x="4084897" y="1944201"/>
                <a:chExt cx="3441334" cy="3828754"/>
              </a:xfrm>
            </p:grpSpPr>
            <p:sp>
              <p:nvSpPr>
                <p:cNvPr id="26" name="îṧḻiďé"/>
                <p:cNvSpPr/>
                <p:nvPr/>
              </p:nvSpPr>
              <p:spPr bwMode="auto">
                <a:xfrm>
                  <a:off x="5555341" y="2902418"/>
                  <a:ext cx="1970890" cy="2870537"/>
                </a:xfrm>
                <a:custGeom>
                  <a:avLst/>
                  <a:gdLst>
                    <a:gd name="T0" fmla="*/ 764 w 804"/>
                    <a:gd name="T1" fmla="*/ 744 h 964"/>
                    <a:gd name="T2" fmla="*/ 584 w 804"/>
                    <a:gd name="T3" fmla="*/ 924 h 964"/>
                    <a:gd name="T4" fmla="*/ 0 w 804"/>
                    <a:gd name="T5" fmla="*/ 924 h 964"/>
                    <a:gd name="T6" fmla="*/ 0 w 804"/>
                    <a:gd name="T7" fmla="*/ 964 h 964"/>
                    <a:gd name="T8" fmla="*/ 584 w 804"/>
                    <a:gd name="T9" fmla="*/ 964 h 964"/>
                    <a:gd name="T10" fmla="*/ 804 w 804"/>
                    <a:gd name="T11" fmla="*/ 744 h 964"/>
                    <a:gd name="T12" fmla="*/ 804 w 804"/>
                    <a:gd name="T13" fmla="*/ 0 h 964"/>
                    <a:gd name="T14" fmla="*/ 764 w 804"/>
                    <a:gd name="T15" fmla="*/ 0 h 964"/>
                    <a:gd name="T16" fmla="*/ 764 w 804"/>
                    <a:gd name="T17" fmla="*/ 74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4" h="964">
                      <a:moveTo>
                        <a:pt x="764" y="744"/>
                      </a:moveTo>
                      <a:cubicBezTo>
                        <a:pt x="764" y="843"/>
                        <a:pt x="683" y="924"/>
                        <a:pt x="584" y="924"/>
                      </a:cubicBezTo>
                      <a:cubicBezTo>
                        <a:pt x="0" y="924"/>
                        <a:pt x="0" y="924"/>
                        <a:pt x="0" y="924"/>
                      </a:cubicBezTo>
                      <a:cubicBezTo>
                        <a:pt x="0" y="964"/>
                        <a:pt x="0" y="964"/>
                        <a:pt x="0" y="964"/>
                      </a:cubicBezTo>
                      <a:cubicBezTo>
                        <a:pt x="584" y="964"/>
                        <a:pt x="584" y="964"/>
                        <a:pt x="584" y="964"/>
                      </a:cubicBezTo>
                      <a:cubicBezTo>
                        <a:pt x="705" y="964"/>
                        <a:pt x="804" y="865"/>
                        <a:pt x="804" y="744"/>
                      </a:cubicBezTo>
                      <a:cubicBezTo>
                        <a:pt x="804" y="0"/>
                        <a:pt x="804" y="0"/>
                        <a:pt x="804" y="0"/>
                      </a:cubicBezTo>
                      <a:cubicBezTo>
                        <a:pt x="764" y="0"/>
                        <a:pt x="764" y="0"/>
                        <a:pt x="764" y="0"/>
                      </a:cubicBezTo>
                      <a:lnTo>
                        <a:pt x="764" y="744"/>
                      </a:lnTo>
                      <a:close/>
                    </a:path>
                  </a:pathLst>
                </a:custGeom>
                <a:solidFill>
                  <a:schemeClr val="tx1">
                    <a:lumMod val="20000"/>
                    <a:lumOff val="80000"/>
                  </a:schemeClr>
                </a:solidFill>
                <a:ln>
                  <a:noFill/>
                </a:ln>
              </p:spPr>
              <p:txBody>
                <a:bodyPr anchor="ctr">
                  <a:normAutofit/>
                </a:bodyPr>
                <a:lstStyle/>
                <a:p>
                  <a:pPr algn="ctr" eaLnBrk="1" fontAlgn="auto" hangingPunct="1">
                    <a:spcBef>
                      <a:spcPts val="0"/>
                    </a:spcBef>
                    <a:spcAft>
                      <a:spcPts val="0"/>
                    </a:spcAft>
                    <a:defRPr/>
                  </a:pPr>
                  <a:endParaRPr>
                    <a:solidFill>
                      <a:srgbClr val="000000"/>
                    </a:solidFill>
                    <a:latin typeface="+mn-lt"/>
                    <a:ea typeface="+mn-ea"/>
                    <a:cs typeface="+mn-ea"/>
                    <a:sym typeface="+mn-lt"/>
                  </a:endParaRPr>
                </a:p>
              </p:txBody>
            </p:sp>
            <p:sp>
              <p:nvSpPr>
                <p:cNvPr id="27" name="išļíďe"/>
                <p:cNvSpPr/>
                <p:nvPr/>
              </p:nvSpPr>
              <p:spPr bwMode="auto">
                <a:xfrm>
                  <a:off x="4084897" y="1944201"/>
                  <a:ext cx="1972295" cy="2826271"/>
                </a:xfrm>
                <a:custGeom>
                  <a:avLst/>
                  <a:gdLst>
                    <a:gd name="T0" fmla="*/ 40 w 804"/>
                    <a:gd name="T1" fmla="*/ 220 h 980"/>
                    <a:gd name="T2" fmla="*/ 220 w 804"/>
                    <a:gd name="T3" fmla="*/ 40 h 980"/>
                    <a:gd name="T4" fmla="*/ 804 w 804"/>
                    <a:gd name="T5" fmla="*/ 40 h 980"/>
                    <a:gd name="T6" fmla="*/ 804 w 804"/>
                    <a:gd name="T7" fmla="*/ 0 h 980"/>
                    <a:gd name="T8" fmla="*/ 220 w 804"/>
                    <a:gd name="T9" fmla="*/ 0 h 980"/>
                    <a:gd name="T10" fmla="*/ 0 w 804"/>
                    <a:gd name="T11" fmla="*/ 220 h 980"/>
                    <a:gd name="T12" fmla="*/ 0 w 804"/>
                    <a:gd name="T13" fmla="*/ 980 h 980"/>
                    <a:gd name="T14" fmla="*/ 40 w 804"/>
                    <a:gd name="T15" fmla="*/ 980 h 980"/>
                    <a:gd name="T16" fmla="*/ 40 w 804"/>
                    <a:gd name="T17" fmla="*/ 22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4" h="980">
                      <a:moveTo>
                        <a:pt x="40" y="220"/>
                      </a:moveTo>
                      <a:cubicBezTo>
                        <a:pt x="40" y="121"/>
                        <a:pt x="121" y="40"/>
                        <a:pt x="220" y="40"/>
                      </a:cubicBezTo>
                      <a:cubicBezTo>
                        <a:pt x="804" y="40"/>
                        <a:pt x="804" y="40"/>
                        <a:pt x="804" y="40"/>
                      </a:cubicBezTo>
                      <a:cubicBezTo>
                        <a:pt x="804" y="0"/>
                        <a:pt x="804" y="0"/>
                        <a:pt x="804" y="0"/>
                      </a:cubicBezTo>
                      <a:cubicBezTo>
                        <a:pt x="220" y="0"/>
                        <a:pt x="220" y="0"/>
                        <a:pt x="220" y="0"/>
                      </a:cubicBezTo>
                      <a:cubicBezTo>
                        <a:pt x="99" y="0"/>
                        <a:pt x="0" y="99"/>
                        <a:pt x="0" y="220"/>
                      </a:cubicBezTo>
                      <a:cubicBezTo>
                        <a:pt x="0" y="980"/>
                        <a:pt x="0" y="980"/>
                        <a:pt x="0" y="980"/>
                      </a:cubicBezTo>
                      <a:cubicBezTo>
                        <a:pt x="40" y="980"/>
                        <a:pt x="40" y="980"/>
                        <a:pt x="40" y="980"/>
                      </a:cubicBezTo>
                      <a:lnTo>
                        <a:pt x="40" y="220"/>
                      </a:lnTo>
                      <a:close/>
                    </a:path>
                  </a:pathLst>
                </a:custGeom>
                <a:solidFill>
                  <a:schemeClr val="tx1">
                    <a:lumMod val="20000"/>
                    <a:lumOff val="80000"/>
                  </a:schemeClr>
                </a:solidFill>
                <a:ln>
                  <a:noFill/>
                </a:ln>
              </p:spPr>
              <p:txBody>
                <a:bodyPr anchor="ctr">
                  <a:normAutofit/>
                </a:bodyPr>
                <a:lstStyle/>
                <a:p>
                  <a:pPr algn="ctr" eaLnBrk="1" fontAlgn="auto" hangingPunct="1">
                    <a:spcBef>
                      <a:spcPts val="0"/>
                    </a:spcBef>
                    <a:spcAft>
                      <a:spcPts val="0"/>
                    </a:spcAft>
                    <a:defRPr/>
                  </a:pPr>
                  <a:endParaRPr>
                    <a:solidFill>
                      <a:srgbClr val="000000"/>
                    </a:solidFill>
                    <a:latin typeface="+mn-lt"/>
                    <a:ea typeface="+mn-ea"/>
                    <a:cs typeface="+mn-ea"/>
                    <a:sym typeface="+mn-lt"/>
                  </a:endParaRPr>
                </a:p>
              </p:txBody>
            </p:sp>
            <p:sp>
              <p:nvSpPr>
                <p:cNvPr id="28" name="ïṥliḑê"/>
                <p:cNvSpPr txBox="1"/>
                <p:nvPr/>
              </p:nvSpPr>
              <p:spPr>
                <a:xfrm flipH="1" flipV="1">
                  <a:off x="6759386" y="1944201"/>
                  <a:ext cx="766845" cy="623062"/>
                </a:xfrm>
                <a:prstGeom prst="rect">
                  <a:avLst/>
                </a:prstGeom>
                <a:noFill/>
              </p:spPr>
              <p:txBody>
                <a:bodyPr>
                  <a:prstTxWarp prst="textPlain">
                    <a:avLst/>
                  </a:prstTxWarp>
                  <a:normAutofit/>
                </a:bodyPr>
                <a:lstStyle/>
                <a:p>
                  <a:pPr eaLnBrk="1" fontAlgn="auto" hangingPunct="1">
                    <a:spcBef>
                      <a:spcPts val="0"/>
                    </a:spcBef>
                    <a:spcAft>
                      <a:spcPts val="0"/>
                    </a:spcAft>
                    <a:defRPr/>
                  </a:pPr>
                  <a:r>
                    <a:rPr lang="en-US" altLang="zh-CN" dirty="0">
                      <a:solidFill>
                        <a:schemeClr val="tx1">
                          <a:lumMod val="50000"/>
                          <a:lumOff val="50000"/>
                        </a:schemeClr>
                      </a:solidFill>
                      <a:latin typeface="+mn-lt"/>
                      <a:ea typeface="+mn-ea"/>
                      <a:cs typeface="+mn-ea"/>
                      <a:sym typeface="+mn-lt"/>
                    </a:rPr>
                    <a:t>“</a:t>
                  </a:r>
                  <a:endParaRPr lang="en-US" altLang="zh-CN" dirty="0">
                    <a:solidFill>
                      <a:schemeClr val="tx1">
                        <a:lumMod val="50000"/>
                        <a:lumOff val="50000"/>
                      </a:schemeClr>
                    </a:solidFill>
                    <a:latin typeface="+mn-lt"/>
                    <a:ea typeface="+mn-ea"/>
                    <a:cs typeface="+mn-ea"/>
                    <a:sym typeface="+mn-lt"/>
                  </a:endParaRPr>
                </a:p>
              </p:txBody>
            </p:sp>
            <p:sp>
              <p:nvSpPr>
                <p:cNvPr id="29" name="íSļíḓè"/>
                <p:cNvSpPr txBox="1"/>
                <p:nvPr/>
              </p:nvSpPr>
              <p:spPr>
                <a:xfrm>
                  <a:off x="4084897" y="5149893"/>
                  <a:ext cx="766845" cy="623062"/>
                </a:xfrm>
                <a:prstGeom prst="rect">
                  <a:avLst/>
                </a:prstGeom>
                <a:noFill/>
              </p:spPr>
              <p:txBody>
                <a:bodyPr>
                  <a:prstTxWarp prst="textPlain">
                    <a:avLst/>
                  </a:prstTxWarp>
                  <a:normAutofit/>
                </a:bodyPr>
                <a:lstStyle/>
                <a:p>
                  <a:pPr eaLnBrk="1" fontAlgn="auto" hangingPunct="1">
                    <a:spcBef>
                      <a:spcPts val="0"/>
                    </a:spcBef>
                    <a:spcAft>
                      <a:spcPts val="0"/>
                    </a:spcAft>
                    <a:defRPr/>
                  </a:pPr>
                  <a:r>
                    <a:rPr lang="en-US" altLang="zh-CN" dirty="0">
                      <a:solidFill>
                        <a:schemeClr val="tx1">
                          <a:lumMod val="50000"/>
                          <a:lumOff val="50000"/>
                        </a:schemeClr>
                      </a:solidFill>
                      <a:latin typeface="+mn-lt"/>
                      <a:ea typeface="+mn-ea"/>
                      <a:cs typeface="+mn-ea"/>
                      <a:sym typeface="+mn-lt"/>
                    </a:rPr>
                    <a:t>“</a:t>
                  </a:r>
                  <a:endParaRPr lang="en-US" altLang="zh-CN" dirty="0">
                    <a:solidFill>
                      <a:schemeClr val="tx1">
                        <a:lumMod val="50000"/>
                        <a:lumOff val="50000"/>
                      </a:schemeClr>
                    </a:solidFill>
                    <a:latin typeface="+mn-lt"/>
                    <a:ea typeface="+mn-ea"/>
                    <a:cs typeface="+mn-ea"/>
                    <a:sym typeface="+mn-lt"/>
                  </a:endParaRPr>
                </a:p>
              </p:txBody>
            </p:sp>
          </p:grpSp>
          <p:grpSp>
            <p:nvGrpSpPr>
              <p:cNvPr id="23" name="islíďè"/>
              <p:cNvGrpSpPr/>
              <p:nvPr/>
            </p:nvGrpSpPr>
            <p:grpSpPr bwMode="auto">
              <a:xfrm>
                <a:off x="330335" y="1888299"/>
                <a:ext cx="3832118" cy="1517669"/>
                <a:chOff x="167310" y="2866984"/>
                <a:chExt cx="2891426" cy="1517669"/>
              </a:xfrm>
            </p:grpSpPr>
            <p:sp>
              <p:nvSpPr>
                <p:cNvPr id="24" name="işľíḋe"/>
                <p:cNvSpPr txBox="1"/>
                <p:nvPr/>
              </p:nvSpPr>
              <p:spPr>
                <a:xfrm>
                  <a:off x="167310" y="3527397"/>
                  <a:ext cx="2891426" cy="857256"/>
                </a:xfrm>
                <a:prstGeom prst="rect">
                  <a:avLst/>
                </a:prstGeom>
                <a:noFill/>
              </p:spPr>
              <p:txBody>
                <a:bodyPr>
                  <a:noAutofit/>
                </a:bodyPr>
                <a:lstStyle/>
                <a:p>
                  <a:pPr algn="ctr">
                    <a:lnSpc>
                      <a:spcPct val="150000"/>
                    </a:lnSpc>
                    <a:defRPr/>
                  </a:pPr>
                  <a:r>
                    <a:rPr lang="zh-CN" altLang="en-US" sz="1400" b="1" dirty="0">
                      <a:solidFill>
                        <a:srgbClr val="0070C0"/>
                      </a:solidFill>
                      <a:latin typeface="+mn-ea"/>
                      <a:cs typeface="+mn-ea"/>
                      <a:sym typeface="+mn-lt"/>
                    </a:rPr>
                    <a:t>人民银行联合银保监会、财政部、发展改革委、工业和信息化部共同印发</a:t>
                  </a:r>
                  <a:endParaRPr lang="en-US" altLang="zh-CN" sz="1400" b="1" dirty="0">
                    <a:solidFill>
                      <a:srgbClr val="0070C0"/>
                    </a:solidFill>
                    <a:latin typeface="+mn-ea"/>
                    <a:cs typeface="+mn-ea"/>
                    <a:sym typeface="+mn-lt"/>
                  </a:endParaRPr>
                </a:p>
              </p:txBody>
            </p:sp>
            <p:sp>
              <p:nvSpPr>
                <p:cNvPr id="25" name="í$ļíḋé"/>
                <p:cNvSpPr txBox="1"/>
                <p:nvPr/>
              </p:nvSpPr>
              <p:spPr>
                <a:xfrm>
                  <a:off x="390863" y="2866984"/>
                  <a:ext cx="2444320" cy="471785"/>
                </a:xfrm>
                <a:prstGeom prst="rect">
                  <a:avLst/>
                </a:prstGeom>
                <a:noFill/>
              </p:spPr>
              <p:txBody>
                <a:bodyPr anchor="ctr">
                  <a:noAutofit/>
                </a:bodyPr>
                <a:lstStyle/>
                <a:p>
                  <a:pPr algn="ctr" eaLnBrk="1" fontAlgn="auto" hangingPunct="1">
                    <a:spcAft>
                      <a:spcPts val="0"/>
                    </a:spcAft>
                    <a:defRPr/>
                  </a:pPr>
                  <a:r>
                    <a:rPr lang="en-US" altLang="zh-CN" sz="2000" b="1" i="1" dirty="0">
                      <a:solidFill>
                        <a:srgbClr val="000000"/>
                      </a:solidFill>
                      <a:latin typeface="+mn-lt"/>
                      <a:ea typeface="+mn-ea"/>
                      <a:cs typeface="+mn-ea"/>
                      <a:sym typeface="+mn-lt"/>
                    </a:rPr>
                    <a:t>2020.6.1</a:t>
                  </a:r>
                  <a:endParaRPr lang="en-US" altLang="zh-CN" sz="2000" b="1" i="1" dirty="0">
                    <a:solidFill>
                      <a:srgbClr val="000000"/>
                    </a:solidFill>
                    <a:latin typeface="+mn-lt"/>
                    <a:ea typeface="+mn-ea"/>
                    <a:cs typeface="+mn-ea"/>
                    <a:sym typeface="+mn-lt"/>
                  </a:endParaRPr>
                </a:p>
              </p:txBody>
            </p:sp>
          </p:grpSp>
        </p:grpSp>
        <p:grpSp>
          <p:nvGrpSpPr>
            <p:cNvPr id="8" name="íslíḓe"/>
            <p:cNvGrpSpPr/>
            <p:nvPr/>
          </p:nvGrpSpPr>
          <p:grpSpPr bwMode="auto">
            <a:xfrm>
              <a:off x="336447" y="1766232"/>
              <a:ext cx="3286789" cy="2379145"/>
              <a:chOff x="336447" y="1377443"/>
              <a:chExt cx="3286789" cy="2379145"/>
            </a:xfrm>
          </p:grpSpPr>
          <p:sp>
            <p:nvSpPr>
              <p:cNvPr id="18" name="iṣliḋe"/>
              <p:cNvSpPr/>
              <p:nvPr/>
            </p:nvSpPr>
            <p:spPr bwMode="auto">
              <a:xfrm>
                <a:off x="2903317" y="2039260"/>
                <a:ext cx="719919" cy="719979"/>
              </a:xfrm>
              <a:prstGeom prst="ellipse">
                <a:avLst/>
              </a:prstGeom>
              <a:blipFill>
                <a:blip r:embed="rId2"/>
                <a:stretch>
                  <a:fillRect l="-39410" r="-38368"/>
                </a:stretch>
              </a:blipFill>
              <a:ln w="7620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eaLnBrk="1" fontAlgn="auto" hangingPunct="1">
                  <a:spcBef>
                    <a:spcPts val="0"/>
                  </a:spcBef>
                  <a:spcAft>
                    <a:spcPts val="0"/>
                  </a:spcAft>
                  <a:defRPr/>
                </a:pPr>
                <a:endParaRPr>
                  <a:cs typeface="+mn-ea"/>
                  <a:sym typeface="+mn-lt"/>
                </a:endParaRPr>
              </a:p>
            </p:txBody>
          </p:sp>
          <p:grpSp>
            <p:nvGrpSpPr>
              <p:cNvPr id="19" name="îṣ1íḓe"/>
              <p:cNvGrpSpPr/>
              <p:nvPr/>
            </p:nvGrpSpPr>
            <p:grpSpPr bwMode="auto">
              <a:xfrm>
                <a:off x="336447" y="1377443"/>
                <a:ext cx="3031427" cy="2379145"/>
                <a:chOff x="4044989" y="4309140"/>
                <a:chExt cx="4110178" cy="2379145"/>
              </a:xfrm>
            </p:grpSpPr>
            <p:sp>
              <p:nvSpPr>
                <p:cNvPr id="20" name="íṩľîḑe"/>
                <p:cNvSpPr txBox="1"/>
                <p:nvPr/>
              </p:nvSpPr>
              <p:spPr>
                <a:xfrm>
                  <a:off x="4044989" y="5068899"/>
                  <a:ext cx="3404998" cy="1619386"/>
                </a:xfrm>
                <a:prstGeom prst="rect">
                  <a:avLst/>
                </a:prstGeom>
                <a:noFill/>
              </p:spPr>
              <p:txBody>
                <a:bodyP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auto">
                    <a:lnSpc>
                      <a:spcPct val="140000"/>
                    </a:lnSpc>
                    <a:spcBef>
                      <a:spcPts val="0"/>
                    </a:spcBef>
                    <a:spcAft>
                      <a:spcPts val="0"/>
                    </a:spcAft>
                    <a:defRPr/>
                  </a:pPr>
                  <a:r>
                    <a:rPr lang="en-US" altLang="zh-CN" sz="1600" dirty="0">
                      <a:solidFill>
                        <a:schemeClr val="dk1">
                          <a:lumMod val="100000"/>
                        </a:schemeClr>
                      </a:solidFill>
                      <a:cs typeface="+mn-ea"/>
                      <a:sym typeface="+mn-lt"/>
                    </a:rPr>
                    <a:t>2020</a:t>
                  </a:r>
                  <a:r>
                    <a:rPr lang="zh-CN" altLang="en-US" sz="1600" dirty="0">
                      <a:solidFill>
                        <a:schemeClr val="dk1">
                          <a:lumMod val="100000"/>
                        </a:schemeClr>
                      </a:solidFill>
                      <a:cs typeface="+mn-ea"/>
                      <a:sym typeface="+mn-lt"/>
                    </a:rPr>
                    <a:t>年底前到期的普惠小微贷款本金，存续的普惠小微贷款应付利息，可以申请延期还本付息。</a:t>
                  </a:r>
                  <a:endParaRPr lang="en-US" altLang="zh-CN" sz="1600" dirty="0">
                    <a:solidFill>
                      <a:schemeClr val="dk1">
                        <a:lumMod val="100000"/>
                      </a:schemeClr>
                    </a:solidFill>
                    <a:cs typeface="+mn-ea"/>
                    <a:sym typeface="+mn-lt"/>
                  </a:endParaRPr>
                </a:p>
              </p:txBody>
            </p:sp>
            <p:sp>
              <p:nvSpPr>
                <p:cNvPr id="21" name="íṩ1iḑe"/>
                <p:cNvSpPr txBox="1"/>
                <p:nvPr/>
              </p:nvSpPr>
              <p:spPr>
                <a:xfrm>
                  <a:off x="4044990" y="4309140"/>
                  <a:ext cx="4110177" cy="575841"/>
                </a:xfrm>
                <a:prstGeom prst="rect">
                  <a:avLst/>
                </a:prstGeom>
                <a:noFill/>
              </p:spPr>
              <p:txBody>
                <a:bodyPr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auto">
                    <a:spcBef>
                      <a:spcPts val="0"/>
                    </a:spcBef>
                    <a:spcAft>
                      <a:spcPts val="0"/>
                    </a:spcAft>
                    <a:defRPr/>
                  </a:pPr>
                  <a:r>
                    <a:rPr lang="zh-CN" altLang="en-US" sz="1600" b="1" dirty="0">
                      <a:solidFill>
                        <a:srgbClr val="C00000"/>
                      </a:solidFill>
                      <a:cs typeface="+mn-ea"/>
                      <a:sym typeface="+mn-lt"/>
                    </a:rPr>
                    <a:t>哪些企业可以申请延期还本付息？</a:t>
                  </a:r>
                  <a:endParaRPr lang="zh-CN" altLang="en-US" sz="1600" b="1" dirty="0">
                    <a:solidFill>
                      <a:srgbClr val="C00000"/>
                    </a:solidFill>
                    <a:cs typeface="+mn-ea"/>
                    <a:sym typeface="+mn-lt"/>
                  </a:endParaRPr>
                </a:p>
              </p:txBody>
            </p:sp>
          </p:grpSp>
        </p:grpSp>
        <p:grpSp>
          <p:nvGrpSpPr>
            <p:cNvPr id="9" name="iŝḷidê"/>
            <p:cNvGrpSpPr/>
            <p:nvPr/>
          </p:nvGrpSpPr>
          <p:grpSpPr bwMode="auto">
            <a:xfrm>
              <a:off x="336447" y="4635152"/>
              <a:ext cx="3286790" cy="919801"/>
              <a:chOff x="336447" y="2547653"/>
              <a:chExt cx="3286790" cy="919801"/>
            </a:xfrm>
          </p:grpSpPr>
          <p:sp>
            <p:nvSpPr>
              <p:cNvPr id="16" name="ïṡ1ídê"/>
              <p:cNvSpPr/>
              <p:nvPr/>
            </p:nvSpPr>
            <p:spPr bwMode="auto">
              <a:xfrm>
                <a:off x="2903318" y="2547653"/>
                <a:ext cx="719919" cy="719979"/>
              </a:xfrm>
              <a:prstGeom prst="ellipse">
                <a:avLst/>
              </a:prstGeom>
              <a:blipFill>
                <a:blip r:embed="rId3"/>
                <a:stretch>
                  <a:fillRect l="-25335" r="-24665"/>
                </a:stretch>
              </a:blipFill>
              <a:ln w="7620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eaLnBrk="1" fontAlgn="auto" hangingPunct="1">
                  <a:spcBef>
                    <a:spcPts val="0"/>
                  </a:spcBef>
                  <a:spcAft>
                    <a:spcPts val="0"/>
                  </a:spcAft>
                  <a:defRPr/>
                </a:pPr>
                <a:endParaRPr>
                  <a:cs typeface="+mn-ea"/>
                  <a:sym typeface="+mn-lt"/>
                </a:endParaRPr>
              </a:p>
            </p:txBody>
          </p:sp>
          <p:sp>
            <p:nvSpPr>
              <p:cNvPr id="17" name="îṣlîďê"/>
              <p:cNvSpPr txBox="1"/>
              <p:nvPr/>
            </p:nvSpPr>
            <p:spPr>
              <a:xfrm>
                <a:off x="336447" y="2892522"/>
                <a:ext cx="2491486" cy="574932"/>
              </a:xfrm>
              <a:prstGeom prst="rect">
                <a:avLst/>
              </a:prstGeom>
              <a:noFill/>
            </p:spPr>
            <p:txBody>
              <a:bodyPr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auto">
                  <a:spcBef>
                    <a:spcPts val="0"/>
                  </a:spcBef>
                  <a:spcAft>
                    <a:spcPts val="0"/>
                  </a:spcAft>
                  <a:defRPr/>
                </a:pPr>
                <a:r>
                  <a:rPr lang="zh-CN" altLang="en-US" sz="1600" b="1" dirty="0">
                    <a:solidFill>
                      <a:srgbClr val="C00000"/>
                    </a:solidFill>
                    <a:latin typeface="+mn-ea"/>
                    <a:cs typeface="+mn-ea"/>
                    <a:sym typeface="+mn-lt"/>
                  </a:rPr>
                  <a:t>最长可延至</a:t>
                </a:r>
                <a:r>
                  <a:rPr lang="en-US" altLang="zh-CN" sz="1600" b="1" dirty="0">
                    <a:solidFill>
                      <a:srgbClr val="C00000"/>
                    </a:solidFill>
                    <a:latin typeface="+mn-ea"/>
                    <a:cs typeface="+mn-ea"/>
                    <a:sym typeface="+mn-lt"/>
                  </a:rPr>
                  <a:t>2021</a:t>
                </a:r>
                <a:r>
                  <a:rPr lang="zh-CN" altLang="en-US" sz="1600" b="1" dirty="0">
                    <a:solidFill>
                      <a:srgbClr val="C00000"/>
                    </a:solidFill>
                    <a:latin typeface="+mn-ea"/>
                    <a:cs typeface="+mn-ea"/>
                    <a:sym typeface="+mn-lt"/>
                  </a:rPr>
                  <a:t>年</a:t>
                </a:r>
                <a:r>
                  <a:rPr lang="en-US" altLang="zh-CN" sz="1600" b="1" dirty="0">
                    <a:solidFill>
                      <a:srgbClr val="C00000"/>
                    </a:solidFill>
                    <a:latin typeface="+mn-ea"/>
                    <a:cs typeface="+mn-ea"/>
                    <a:sym typeface="+mn-lt"/>
                  </a:rPr>
                  <a:t>3</a:t>
                </a:r>
                <a:r>
                  <a:rPr lang="zh-CN" altLang="en-US" sz="1600" b="1" dirty="0">
                    <a:solidFill>
                      <a:srgbClr val="C00000"/>
                    </a:solidFill>
                    <a:latin typeface="+mn-ea"/>
                    <a:cs typeface="+mn-ea"/>
                    <a:sym typeface="+mn-lt"/>
                  </a:rPr>
                  <a:t>月</a:t>
                </a:r>
                <a:r>
                  <a:rPr lang="en-US" altLang="zh-CN" sz="1600" b="1" dirty="0">
                    <a:solidFill>
                      <a:srgbClr val="C00000"/>
                    </a:solidFill>
                    <a:latin typeface="+mn-ea"/>
                    <a:cs typeface="+mn-ea"/>
                    <a:sym typeface="+mn-lt"/>
                  </a:rPr>
                  <a:t>31</a:t>
                </a:r>
                <a:r>
                  <a:rPr lang="zh-CN" altLang="en-US" sz="1600" b="1" dirty="0">
                    <a:solidFill>
                      <a:srgbClr val="C00000"/>
                    </a:solidFill>
                    <a:latin typeface="+mn-ea"/>
                    <a:cs typeface="+mn-ea"/>
                    <a:sym typeface="+mn-lt"/>
                  </a:rPr>
                  <a:t>日，并免收罚息。</a:t>
                </a:r>
                <a:endParaRPr lang="zh-CN" altLang="en-US" sz="1600" b="1" dirty="0">
                  <a:solidFill>
                    <a:srgbClr val="C00000"/>
                  </a:solidFill>
                  <a:latin typeface="+mn-ea"/>
                  <a:cs typeface="+mn-ea"/>
                  <a:sym typeface="+mn-lt"/>
                </a:endParaRPr>
              </a:p>
            </p:txBody>
          </p:sp>
        </p:grpSp>
        <p:sp>
          <p:nvSpPr>
            <p:cNvPr id="10" name="îsḷíďè"/>
            <p:cNvSpPr/>
            <p:nvPr/>
          </p:nvSpPr>
          <p:spPr bwMode="auto">
            <a:xfrm>
              <a:off x="7935300" y="4635152"/>
              <a:ext cx="719919" cy="719979"/>
            </a:xfrm>
            <a:prstGeom prst="ellipse">
              <a:avLst/>
            </a:prstGeom>
            <a:blipFill>
              <a:blip r:embed="rId4"/>
              <a:stretch>
                <a:fillRect l="-25335" r="-24665"/>
              </a:stretch>
            </a:blipFill>
            <a:ln w="7620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eaLnBrk="1" fontAlgn="auto" hangingPunct="1">
                <a:spcBef>
                  <a:spcPts val="0"/>
                </a:spcBef>
                <a:spcAft>
                  <a:spcPts val="0"/>
                </a:spcAft>
                <a:defRPr/>
              </a:pPr>
              <a:endParaRPr>
                <a:cs typeface="+mn-ea"/>
                <a:sym typeface="+mn-lt"/>
              </a:endParaRPr>
            </a:p>
          </p:txBody>
        </p:sp>
        <p:sp>
          <p:nvSpPr>
            <p:cNvPr id="11" name="ïṡļíḍê"/>
            <p:cNvSpPr txBox="1"/>
            <p:nvPr/>
          </p:nvSpPr>
          <p:spPr>
            <a:xfrm>
              <a:off x="8857849" y="4734736"/>
              <a:ext cx="3005754" cy="991482"/>
            </a:xfrm>
            <a:prstGeom prst="rect">
              <a:avLst/>
            </a:prstGeom>
            <a:noFill/>
          </p:spPr>
          <p:txBody>
            <a:bodyPr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auto">
                <a:spcBef>
                  <a:spcPts val="0"/>
                </a:spcBef>
                <a:spcAft>
                  <a:spcPts val="0"/>
                </a:spcAft>
                <a:defRPr/>
              </a:pPr>
              <a:r>
                <a:rPr lang="zh-CN" altLang="en-US" sz="1600" b="1" dirty="0">
                  <a:solidFill>
                    <a:srgbClr val="C00000"/>
                  </a:solidFill>
                  <a:latin typeface="+mn-ea"/>
                  <a:cs typeface="+mn-ea"/>
                  <a:sym typeface="+mn-lt"/>
                </a:rPr>
                <a:t>联系发放贷款的银行网点或贷经办客户经理提出申请，协商确定</a:t>
              </a:r>
              <a:endParaRPr lang="en-US" altLang="zh-CN" sz="1600" b="1" dirty="0">
                <a:solidFill>
                  <a:srgbClr val="C00000"/>
                </a:solidFill>
                <a:latin typeface="+mn-ea"/>
                <a:cs typeface="+mn-ea"/>
                <a:sym typeface="+mn-lt"/>
              </a:endParaRPr>
            </a:p>
          </p:txBody>
        </p:sp>
        <p:sp>
          <p:nvSpPr>
            <p:cNvPr id="12" name="îŝļíďè"/>
            <p:cNvSpPr/>
            <p:nvPr/>
          </p:nvSpPr>
          <p:spPr bwMode="auto">
            <a:xfrm>
              <a:off x="7935300" y="2427493"/>
              <a:ext cx="719919" cy="719979"/>
            </a:xfrm>
            <a:prstGeom prst="ellipse">
              <a:avLst/>
            </a:prstGeom>
            <a:blipFill>
              <a:blip r:embed="rId5"/>
              <a:stretch>
                <a:fillRect/>
              </a:stretch>
            </a:blipFill>
            <a:ln w="7620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eaLnBrk="1" fontAlgn="auto" hangingPunct="1">
                <a:spcBef>
                  <a:spcPts val="0"/>
                </a:spcBef>
                <a:spcAft>
                  <a:spcPts val="0"/>
                </a:spcAft>
                <a:defRPr/>
              </a:pPr>
              <a:endParaRPr>
                <a:cs typeface="+mn-ea"/>
                <a:sym typeface="+mn-lt"/>
              </a:endParaRPr>
            </a:p>
          </p:txBody>
        </p:sp>
        <p:grpSp>
          <p:nvGrpSpPr>
            <p:cNvPr id="13" name="ïṩḻíďè"/>
            <p:cNvGrpSpPr/>
            <p:nvPr/>
          </p:nvGrpSpPr>
          <p:grpSpPr bwMode="auto">
            <a:xfrm>
              <a:off x="8857851" y="1869012"/>
              <a:ext cx="3005752" cy="2775997"/>
              <a:chOff x="4086866" y="4411920"/>
              <a:chExt cx="4075366" cy="2775997"/>
            </a:xfrm>
          </p:grpSpPr>
          <p:sp>
            <p:nvSpPr>
              <p:cNvPr id="14" name="îṧļîdê"/>
              <p:cNvSpPr txBox="1"/>
              <p:nvPr/>
            </p:nvSpPr>
            <p:spPr>
              <a:xfrm>
                <a:off x="4086866" y="5144323"/>
                <a:ext cx="4075366" cy="2043594"/>
              </a:xfrm>
              <a:prstGeom prst="rect">
                <a:avLst/>
              </a:prstGeom>
              <a:noFill/>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auto">
                  <a:lnSpc>
                    <a:spcPct val="140000"/>
                  </a:lnSpc>
                  <a:spcBef>
                    <a:spcPts val="0"/>
                  </a:spcBef>
                  <a:spcAft>
                    <a:spcPts val="0"/>
                  </a:spcAft>
                  <a:defRPr/>
                </a:pPr>
                <a:r>
                  <a:rPr lang="en-US" altLang="zh-CN" sz="1600" dirty="0">
                    <a:solidFill>
                      <a:schemeClr val="dk1">
                        <a:lumMod val="100000"/>
                      </a:schemeClr>
                    </a:solidFill>
                    <a:latin typeface="+mn-ea"/>
                    <a:cs typeface="+mn-ea"/>
                    <a:sym typeface="+mn-lt"/>
                  </a:rPr>
                  <a:t>1.</a:t>
                </a:r>
                <a:r>
                  <a:rPr lang="zh-CN" altLang="en-US" sz="1600" dirty="0">
                    <a:solidFill>
                      <a:schemeClr val="dk1">
                        <a:lumMod val="100000"/>
                      </a:schemeClr>
                    </a:solidFill>
                    <a:latin typeface="+mn-ea"/>
                    <a:cs typeface="+mn-ea"/>
                    <a:sym typeface="+mn-lt"/>
                  </a:rPr>
                  <a:t>根据商业原则保持有效担保安排（担保延期）或替代担保；</a:t>
                </a:r>
                <a:endParaRPr lang="en-US" altLang="zh-CN" sz="1600" dirty="0">
                  <a:solidFill>
                    <a:schemeClr val="dk1">
                      <a:lumMod val="100000"/>
                    </a:schemeClr>
                  </a:solidFill>
                  <a:latin typeface="+mn-ea"/>
                  <a:cs typeface="+mn-ea"/>
                  <a:sym typeface="+mn-lt"/>
                </a:endParaRPr>
              </a:p>
              <a:p>
                <a:pPr fontAlgn="auto">
                  <a:lnSpc>
                    <a:spcPct val="140000"/>
                  </a:lnSpc>
                  <a:spcBef>
                    <a:spcPts val="0"/>
                  </a:spcBef>
                  <a:spcAft>
                    <a:spcPts val="0"/>
                  </a:spcAft>
                  <a:defRPr/>
                </a:pPr>
                <a:r>
                  <a:rPr lang="en-US" altLang="zh-CN" sz="1600" dirty="0">
                    <a:solidFill>
                      <a:schemeClr val="dk1">
                        <a:lumMod val="100000"/>
                      </a:schemeClr>
                    </a:solidFill>
                    <a:latin typeface="+mn-ea"/>
                    <a:cs typeface="+mn-ea"/>
                    <a:sym typeface="+mn-lt"/>
                  </a:rPr>
                  <a:t>2.</a:t>
                </a:r>
                <a:r>
                  <a:rPr lang="zh-CN" altLang="en-US" sz="1600" dirty="0">
                    <a:solidFill>
                      <a:schemeClr val="dk1">
                        <a:lumMod val="100000"/>
                      </a:schemeClr>
                    </a:solidFill>
                    <a:latin typeface="+mn-ea"/>
                    <a:cs typeface="+mn-ea"/>
                    <a:sym typeface="+mn-lt"/>
                  </a:rPr>
                  <a:t>承诺保持就业岗位基本稳定；</a:t>
                </a:r>
                <a:endParaRPr lang="en-US" altLang="zh-CN" sz="1600" dirty="0">
                  <a:solidFill>
                    <a:schemeClr val="dk1">
                      <a:lumMod val="100000"/>
                    </a:schemeClr>
                  </a:solidFill>
                  <a:latin typeface="+mn-ea"/>
                  <a:cs typeface="+mn-ea"/>
                  <a:sym typeface="+mn-lt"/>
                </a:endParaRPr>
              </a:p>
              <a:p>
                <a:pPr fontAlgn="auto">
                  <a:lnSpc>
                    <a:spcPct val="140000"/>
                  </a:lnSpc>
                  <a:spcBef>
                    <a:spcPts val="0"/>
                  </a:spcBef>
                  <a:spcAft>
                    <a:spcPts val="0"/>
                  </a:spcAft>
                  <a:defRPr/>
                </a:pPr>
                <a:r>
                  <a:rPr lang="en-US" altLang="zh-CN" sz="1600" dirty="0">
                    <a:solidFill>
                      <a:schemeClr val="dk1">
                        <a:lumMod val="100000"/>
                      </a:schemeClr>
                    </a:solidFill>
                    <a:latin typeface="+mn-ea"/>
                    <a:cs typeface="+mn-ea"/>
                    <a:sym typeface="+mn-lt"/>
                  </a:rPr>
                  <a:t>3.</a:t>
                </a:r>
                <a:r>
                  <a:rPr lang="zh-CN" altLang="en-US" sz="1600" dirty="0">
                    <a:solidFill>
                      <a:schemeClr val="dk1">
                        <a:lumMod val="100000"/>
                      </a:schemeClr>
                    </a:solidFill>
                    <a:latin typeface="+mn-ea"/>
                    <a:cs typeface="+mn-ea"/>
                    <a:sym typeface="+mn-lt"/>
                  </a:rPr>
                  <a:t>承诺贷款资金用于生产经营。</a:t>
                </a:r>
                <a:endParaRPr lang="en-US" altLang="zh-CN" sz="1600" dirty="0">
                  <a:solidFill>
                    <a:schemeClr val="dk1">
                      <a:lumMod val="100000"/>
                    </a:schemeClr>
                  </a:solidFill>
                  <a:latin typeface="+mn-ea"/>
                  <a:cs typeface="+mn-ea"/>
                  <a:sym typeface="+mn-lt"/>
                </a:endParaRPr>
              </a:p>
              <a:p>
                <a:pPr fontAlgn="auto">
                  <a:lnSpc>
                    <a:spcPct val="140000"/>
                  </a:lnSpc>
                  <a:spcBef>
                    <a:spcPts val="0"/>
                  </a:spcBef>
                  <a:spcAft>
                    <a:spcPts val="0"/>
                  </a:spcAft>
                  <a:defRPr/>
                </a:pPr>
                <a:endParaRPr lang="en-US" altLang="zh-CN" sz="1600" dirty="0">
                  <a:solidFill>
                    <a:schemeClr val="dk1">
                      <a:lumMod val="100000"/>
                    </a:schemeClr>
                  </a:solidFill>
                  <a:latin typeface="+mn-ea"/>
                  <a:cs typeface="+mn-ea"/>
                  <a:sym typeface="+mn-lt"/>
                </a:endParaRPr>
              </a:p>
            </p:txBody>
          </p:sp>
          <p:sp>
            <p:nvSpPr>
              <p:cNvPr id="15" name="ïṧļiḑè"/>
              <p:cNvSpPr txBox="1"/>
              <p:nvPr/>
            </p:nvSpPr>
            <p:spPr>
              <a:xfrm>
                <a:off x="4086866" y="4411920"/>
                <a:ext cx="3493845" cy="473060"/>
              </a:xfrm>
              <a:prstGeom prst="rect">
                <a:avLst/>
              </a:prstGeom>
              <a:noFill/>
            </p:spPr>
            <p:txBody>
              <a:bodyPr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auto">
                  <a:spcBef>
                    <a:spcPts val="0"/>
                  </a:spcBef>
                  <a:spcAft>
                    <a:spcPts val="0"/>
                  </a:spcAft>
                  <a:defRPr/>
                </a:pPr>
                <a:r>
                  <a:rPr lang="zh-CN" altLang="en-US" sz="1600" b="1" dirty="0">
                    <a:solidFill>
                      <a:srgbClr val="C00000"/>
                    </a:solidFill>
                    <a:latin typeface="+mn-lt"/>
                    <a:ea typeface="+mn-ea"/>
                    <a:cs typeface="+mn-ea"/>
                    <a:sym typeface="+mn-lt"/>
                  </a:rPr>
                  <a:t>申请延期要满足什么条件？</a:t>
                </a:r>
                <a:endParaRPr lang="zh-CN" altLang="en-US" sz="1600" b="1" dirty="0">
                  <a:solidFill>
                    <a:srgbClr val="C00000"/>
                  </a:solidFill>
                  <a:latin typeface="+mn-lt"/>
                  <a:ea typeface="+mn-ea"/>
                  <a:cs typeface="+mn-ea"/>
                  <a:sym typeface="+mn-lt"/>
                </a:endParaRPr>
              </a:p>
            </p:txBody>
          </p:sp>
        </p:grpSp>
      </p:grpSp>
      <p:sp>
        <p:nvSpPr>
          <p:cNvPr id="30" name="işľíḋe"/>
          <p:cNvSpPr txBox="1"/>
          <p:nvPr/>
        </p:nvSpPr>
        <p:spPr bwMode="auto">
          <a:xfrm>
            <a:off x="4091942" y="3664710"/>
            <a:ext cx="3494717" cy="1573994"/>
          </a:xfrm>
          <a:prstGeom prst="rect">
            <a:avLst/>
          </a:prstGeom>
          <a:noFill/>
        </p:spPr>
        <p:txBody>
          <a:bodyPr>
            <a:noAutofit/>
          </a:bodyPr>
          <a:lstStyle/>
          <a:p>
            <a:pPr marL="285750" indent="-285750">
              <a:lnSpc>
                <a:spcPct val="150000"/>
              </a:lnSpc>
              <a:buFont typeface="Wingdings" panose="05000000000000000000" pitchFamily="2" charset="2"/>
              <a:buChar char="p"/>
              <a:defRPr/>
            </a:pPr>
            <a:r>
              <a:rPr lang="en-US" altLang="zh-CN" sz="1600" b="1" dirty="0">
                <a:solidFill>
                  <a:srgbClr val="002060"/>
                </a:solidFill>
                <a:latin typeface="+mn-ea"/>
                <a:cs typeface="+mn-ea"/>
                <a:sym typeface="+mn-lt"/>
              </a:rPr>
              <a:t>《</a:t>
            </a:r>
            <a:r>
              <a:rPr lang="zh-CN" altLang="en-US" sz="1600" b="1" dirty="0">
                <a:solidFill>
                  <a:srgbClr val="002060"/>
                </a:solidFill>
                <a:latin typeface="+mn-ea"/>
                <a:cs typeface="+mn-ea"/>
                <a:sym typeface="+mn-lt"/>
              </a:rPr>
              <a:t>关于进一步对中小微企业贷款实施阶段性延期还本的通知</a:t>
            </a:r>
            <a:r>
              <a:rPr lang="en-US" altLang="zh-CN" sz="1600" b="1" dirty="0">
                <a:solidFill>
                  <a:srgbClr val="002060"/>
                </a:solidFill>
                <a:latin typeface="+mn-ea"/>
                <a:cs typeface="+mn-ea"/>
                <a:sym typeface="+mn-lt"/>
              </a:rPr>
              <a:t>》</a:t>
            </a:r>
            <a:endParaRPr lang="en-US" altLang="zh-CN" sz="1600" b="1" dirty="0">
              <a:solidFill>
                <a:srgbClr val="002060"/>
              </a:solidFill>
              <a:latin typeface="+mn-ea"/>
              <a:cs typeface="+mn-ea"/>
              <a:sym typeface="+mn-lt"/>
            </a:endParaRPr>
          </a:p>
          <a:p>
            <a:pPr marL="285750" indent="-285750">
              <a:lnSpc>
                <a:spcPct val="150000"/>
              </a:lnSpc>
              <a:buFont typeface="Wingdings" panose="05000000000000000000" pitchFamily="2" charset="2"/>
              <a:buChar char="p"/>
              <a:defRPr/>
            </a:pPr>
            <a:r>
              <a:rPr lang="en-US" altLang="zh-CN" sz="1600" b="1" dirty="0">
                <a:solidFill>
                  <a:srgbClr val="002060"/>
                </a:solidFill>
                <a:latin typeface="+mn-ea"/>
                <a:cs typeface="+mn-ea"/>
                <a:sym typeface="+mn-lt"/>
              </a:rPr>
              <a:t>《</a:t>
            </a:r>
            <a:r>
              <a:rPr lang="zh-CN" altLang="en-US" sz="1600" b="1" dirty="0">
                <a:solidFill>
                  <a:srgbClr val="002060"/>
                </a:solidFill>
                <a:latin typeface="+mn-ea"/>
                <a:cs typeface="+mn-ea"/>
                <a:sym typeface="+mn-lt"/>
              </a:rPr>
              <a:t>关于加大小微企业信用贷款支持力度的通知</a:t>
            </a:r>
            <a:r>
              <a:rPr lang="en-US" altLang="zh-CN" sz="1600" b="1" dirty="0">
                <a:solidFill>
                  <a:srgbClr val="002060"/>
                </a:solidFill>
                <a:latin typeface="+mn-ea"/>
                <a:cs typeface="+mn-ea"/>
                <a:sym typeface="+mn-lt"/>
              </a:rPr>
              <a:t>》</a:t>
            </a:r>
            <a:endParaRPr lang="en-US" altLang="zh-CN" sz="1400" b="1" dirty="0">
              <a:solidFill>
                <a:srgbClr val="002060"/>
              </a:solidFill>
              <a:latin typeface="+mn-ea"/>
              <a:cs typeface="+mn-ea"/>
              <a:sym typeface="+mn-lt"/>
            </a:endParaRPr>
          </a:p>
        </p:txBody>
      </p:sp>
      <p:sp>
        <p:nvSpPr>
          <p:cNvPr id="3" name="矩形 2"/>
          <p:cNvSpPr/>
          <p:nvPr/>
        </p:nvSpPr>
        <p:spPr>
          <a:xfrm>
            <a:off x="335890" y="4028885"/>
            <a:ext cx="2513999" cy="540661"/>
          </a:xfrm>
          <a:prstGeom prst="rect">
            <a:avLst/>
          </a:prstGeom>
        </p:spPr>
        <p:txBody>
          <a:bodyPr wrap="square">
            <a:spAutoFit/>
          </a:bodyPr>
          <a:lstStyle/>
          <a:p>
            <a:pPr fontAlgn="auto">
              <a:lnSpc>
                <a:spcPct val="140000"/>
              </a:lnSpc>
              <a:spcBef>
                <a:spcPts val="0"/>
              </a:spcBef>
              <a:spcAft>
                <a:spcPts val="0"/>
              </a:spcAft>
              <a:defRPr/>
            </a:pPr>
            <a:r>
              <a:rPr lang="zh-CN" altLang="en-US" sz="1100" b="1" dirty="0">
                <a:latin typeface="+mn-ea"/>
                <a:cs typeface="+mn-ea"/>
                <a:sym typeface="+mn-lt"/>
              </a:rPr>
              <a:t>（单户</a:t>
            </a:r>
            <a:r>
              <a:rPr lang="en-US" altLang="zh-CN" sz="1100" b="1" dirty="0">
                <a:latin typeface="+mn-ea"/>
                <a:cs typeface="+mn-ea"/>
                <a:sym typeface="+mn-lt"/>
              </a:rPr>
              <a:t>1000</a:t>
            </a:r>
            <a:r>
              <a:rPr lang="zh-CN" altLang="en-US" sz="1100" b="1" dirty="0">
                <a:latin typeface="+mn-ea"/>
                <a:cs typeface="+mn-ea"/>
                <a:sym typeface="+mn-lt"/>
              </a:rPr>
              <a:t>万元及以下小微企业贷款，个体工商户和小微企业主经营性贷款）</a:t>
            </a:r>
            <a:endParaRPr lang="zh-CN" altLang="en-US" sz="1100" b="1" dirty="0">
              <a:latin typeface="+mn-ea"/>
              <a:cs typeface="+mn-ea"/>
              <a:sym typeface="+mn-lt"/>
            </a:endParaRPr>
          </a:p>
        </p:txBody>
      </p:sp>
    </p:spTree>
  </p:cSld>
  <p:clrMapOvr>
    <a:masterClrMapping/>
  </p:clrMapOvr>
</p:sld>
</file>

<file path=ppt/tags/tag1.xml><?xml version="1.0" encoding="utf-8"?>
<p:tagLst xmlns:p="http://schemas.openxmlformats.org/presentationml/2006/main">
  <p:tag name="ISLIDE.VECTOR" val="c7cd9fd3-95be-4895-a18c-01ed58a21124"/>
</p:tagLst>
</file>

<file path=ppt/tags/tag10.xml><?xml version="1.0" encoding="utf-8"?>
<p:tagLst xmlns:p="http://schemas.openxmlformats.org/presentationml/2006/main">
  <p:tag name="ISLIDE.DIAGRAM" val="271887"/>
</p:tagLst>
</file>

<file path=ppt/tags/tag11.xml><?xml version="1.0" encoding="utf-8"?>
<p:tagLst xmlns:p="http://schemas.openxmlformats.org/presentationml/2006/main">
  <p:tag name="PA" val="v3.0.1"/>
</p:tagLst>
</file>

<file path=ppt/tags/tag12.xml><?xml version="1.0" encoding="utf-8"?>
<p:tagLst xmlns:p="http://schemas.openxmlformats.org/presentationml/2006/main">
  <p:tag name="PA" val="v3.0.1"/>
</p:tagLst>
</file>

<file path=ppt/tags/tag13.xml><?xml version="1.0" encoding="utf-8"?>
<p:tagLst xmlns:p="http://schemas.openxmlformats.org/presentationml/2006/main">
  <p:tag name="PA" val="v3.0.1"/>
</p:tagLst>
</file>

<file path=ppt/tags/tag14.xml><?xml version="1.0" encoding="utf-8"?>
<p:tagLst xmlns:p="http://schemas.openxmlformats.org/presentationml/2006/main">
  <p:tag name="PA" val="v3.0.1"/>
</p:tagLst>
</file>

<file path=ppt/tags/tag15.xml><?xml version="1.0" encoding="utf-8"?>
<p:tagLst xmlns:p="http://schemas.openxmlformats.org/presentationml/2006/main">
  <p:tag name="PA" val="v3.0.1"/>
</p:tagLst>
</file>

<file path=ppt/tags/tag16.xml><?xml version="1.0" encoding="utf-8"?>
<p:tagLst xmlns:p="http://schemas.openxmlformats.org/presentationml/2006/main">
  <p:tag name="PA" val="v3.0.1"/>
</p:tagLst>
</file>

<file path=ppt/tags/tag17.xml><?xml version="1.0" encoding="utf-8"?>
<p:tagLst xmlns:p="http://schemas.openxmlformats.org/presentationml/2006/main">
  <p:tag name="PA" val="v3.0.1"/>
</p:tagLst>
</file>

<file path=ppt/tags/tag18.xml><?xml version="1.0" encoding="utf-8"?>
<p:tagLst xmlns:p="http://schemas.openxmlformats.org/presentationml/2006/main">
  <p:tag name="PA" val="v3.0.1"/>
</p:tagLst>
</file>

<file path=ppt/tags/tag19.xml><?xml version="1.0" encoding="utf-8"?>
<p:tagLst xmlns:p="http://schemas.openxmlformats.org/presentationml/2006/main">
  <p:tag name="PA" val="v3.0.1"/>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PA" val="v3.0.1"/>
</p:tagLst>
</file>

<file path=ppt/tags/tag21.xml><?xml version="1.0" encoding="utf-8"?>
<p:tagLst xmlns:p="http://schemas.openxmlformats.org/presentationml/2006/main">
  <p:tag name="PA" val="v3.0.1"/>
</p:tagLst>
</file>

<file path=ppt/tags/tag22.xml><?xml version="1.0" encoding="utf-8"?>
<p:tagLst xmlns:p="http://schemas.openxmlformats.org/presentationml/2006/main">
  <p:tag name="PA" val="v3.0.1"/>
</p:tagLst>
</file>

<file path=ppt/tags/tag23.xml><?xml version="1.0" encoding="utf-8"?>
<p:tagLst xmlns:p="http://schemas.openxmlformats.org/presentationml/2006/main">
  <p:tag name="PA" val="v3.0.1"/>
</p:tagLst>
</file>

<file path=ppt/tags/tag24.xml><?xml version="1.0" encoding="utf-8"?>
<p:tagLst xmlns:p="http://schemas.openxmlformats.org/presentationml/2006/main">
  <p:tag name="PA" val="v3.0.1"/>
</p:tagLst>
</file>

<file path=ppt/tags/tag25.xml><?xml version="1.0" encoding="utf-8"?>
<p:tagLst xmlns:p="http://schemas.openxmlformats.org/presentationml/2006/main">
  <p:tag name="PA" val="v3.0.1"/>
</p:tagLst>
</file>

<file path=ppt/tags/tag26.xml><?xml version="1.0" encoding="utf-8"?>
<p:tagLst xmlns:p="http://schemas.openxmlformats.org/presentationml/2006/main">
  <p:tag name="PA" val="v3.0.1"/>
</p:tagLst>
</file>

<file path=ppt/tags/tag27.xml><?xml version="1.0" encoding="utf-8"?>
<p:tagLst xmlns:p="http://schemas.openxmlformats.org/presentationml/2006/main">
  <p:tag name="PA" val="v3.0.1"/>
</p:tagLst>
</file>

<file path=ppt/tags/tag28.xml><?xml version="1.0" encoding="utf-8"?>
<p:tagLst xmlns:p="http://schemas.openxmlformats.org/presentationml/2006/main">
  <p:tag name="PA" val="v3.0.1"/>
</p:tagLst>
</file>

<file path=ppt/tags/tag29.xml><?xml version="1.0" encoding="utf-8"?>
<p:tagLst xmlns:p="http://schemas.openxmlformats.org/presentationml/2006/main">
  <p:tag name="ISLIDE.DIAGRAM" val="264763"/>
</p:tagLst>
</file>

<file path=ppt/tags/tag3.xml><?xml version="1.0" encoding="utf-8"?>
<p:tagLst xmlns:p="http://schemas.openxmlformats.org/presentationml/2006/main">
  <p:tag name="THINKCELLSHAPEDONOTDELETE" val="tA6S0wzOvQ8a50SA42PUNRg"/>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1Smkff3fSzGMOuItfjj3Fw"/>
</p:tagLst>
</file>

<file path=ppt/tags/tag32.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Lst>
</file>

<file path=ppt/tags/tag4.xml><?xml version="1.0" encoding="utf-8"?>
<p:tagLst xmlns:p="http://schemas.openxmlformats.org/presentationml/2006/main">
  <p:tag name="ISLIDE.DIAGRAM" val="272003"/>
</p:tagLst>
</file>

<file path=ppt/tags/tag5.xml><?xml version="1.0" encoding="utf-8"?>
<p:tagLst xmlns:p="http://schemas.openxmlformats.org/presentationml/2006/main">
  <p:tag name="ISLIDE.VECTOR" val="2c050e9f-c9f5-4ad8-b0d9-3aa0f730f387"/>
</p:tagLst>
</file>

<file path=ppt/tags/tag6.xml><?xml version="1.0" encoding="utf-8"?>
<p:tagLst xmlns:p="http://schemas.openxmlformats.org/presentationml/2006/main">
  <p:tag name="ISLIDE.DIAGRAM" val="241197"/>
</p:tagLst>
</file>

<file path=ppt/tags/tag7.xml><?xml version="1.0" encoding="utf-8"?>
<p:tagLst xmlns:p="http://schemas.openxmlformats.org/presentationml/2006/main">
  <p:tag name="ISLIDE.DIAGRAM" val="259857"/>
</p:tagLst>
</file>

<file path=ppt/tags/tag8.xml><?xml version="1.0" encoding="utf-8"?>
<p:tagLst xmlns:p="http://schemas.openxmlformats.org/presentationml/2006/main">
  <p:tag name="ISLIDE.DIAGRAM" val="241211"/>
</p:tagLst>
</file>

<file path=ppt/tags/tag9.xml><?xml version="1.0" encoding="utf-8"?>
<p:tagLst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2788</Words>
  <Application>WPS 演示</Application>
  <PresentationFormat>宽屏</PresentationFormat>
  <Paragraphs>370</Paragraphs>
  <Slides>19</Slides>
  <Notes>14</Notes>
  <HiddenSlides>0</HiddenSlides>
  <MMClips>0</MMClips>
  <ScaleCrop>false</ScaleCrop>
  <HeadingPairs>
    <vt:vector size="8" baseType="variant">
      <vt:variant>
        <vt:lpstr>已用的字体</vt:lpstr>
      </vt:variant>
      <vt:variant>
        <vt:i4>18</vt:i4>
      </vt:variant>
      <vt:variant>
        <vt:lpstr>主题</vt:lpstr>
      </vt:variant>
      <vt:variant>
        <vt:i4>1</vt:i4>
      </vt:variant>
      <vt:variant>
        <vt:lpstr>嵌入 OLE 服务器</vt:lpstr>
      </vt:variant>
      <vt:variant>
        <vt:i4>2</vt:i4>
      </vt:variant>
      <vt:variant>
        <vt:lpstr>幻灯片标题</vt:lpstr>
      </vt:variant>
      <vt:variant>
        <vt:i4>19</vt:i4>
      </vt:variant>
    </vt:vector>
  </HeadingPairs>
  <TitlesOfParts>
    <vt:vector size="40" baseType="lpstr">
      <vt:lpstr>Arial</vt:lpstr>
      <vt:lpstr>宋体</vt:lpstr>
      <vt:lpstr>Wingdings</vt:lpstr>
      <vt:lpstr>微软雅黑</vt:lpstr>
      <vt:lpstr>Impact</vt:lpstr>
      <vt:lpstr>Calibri</vt:lpstr>
      <vt:lpstr>MS PGothic</vt:lpstr>
      <vt:lpstr>Arial Unicode MS</vt:lpstr>
      <vt:lpstr>Open Sans</vt:lpstr>
      <vt:lpstr>Segoe Print</vt:lpstr>
      <vt:lpstr>仿宋_GB2312</vt:lpstr>
      <vt:lpstr>仿宋</vt:lpstr>
      <vt:lpstr>Neris Thin</vt:lpstr>
      <vt:lpstr>Roboto light</vt:lpstr>
      <vt:lpstr>Roboto medium</vt:lpstr>
      <vt:lpstr>Clear Sans</vt:lpstr>
      <vt:lpstr>Yu Gothic UI</vt:lpstr>
      <vt:lpstr>黑体</vt:lpstr>
      <vt:lpstr>主题5</vt:lpstr>
      <vt:lpstr>TCLayout.ActiveDocument.1</vt:lpstr>
      <vt:lpstr>TCLayout.ActiveDocument.1</vt:lpstr>
      <vt:lpstr>珠海农商银行惠企政策 及金融产品介绍</vt:lpstr>
      <vt:lpstr>珠海农商银行简介</vt:lpstr>
      <vt:lpstr>发展历程</vt:lpstr>
      <vt:lpstr>业务优势</vt:lpstr>
      <vt:lpstr>我们注重</vt:lpstr>
      <vt:lpstr>普惠金融</vt:lpstr>
      <vt:lpstr>全面满足企业疫情防控金融需求</vt:lpstr>
      <vt:lpstr>全力做好受困企业金融服务</vt:lpstr>
      <vt:lpstr>普惠小微企业延期支持工具及信用贷款支持计划</vt:lpstr>
      <vt:lpstr>“金摇篮”企业贷款产品</vt:lpstr>
      <vt:lpstr>“四位一体”融资平台</vt:lpstr>
      <vt:lpstr>税信通贷款业务</vt:lpstr>
      <vt:lpstr>PowerPoint 演示文稿</vt:lpstr>
      <vt:lpstr>PowerPoint 演示文稿</vt:lpstr>
      <vt:lpstr>PowerPoint 演示文稿</vt:lpstr>
      <vt:lpstr>PowerPoint 演示文稿</vt:lpstr>
      <vt:lpstr>PowerPoint 演示文稿</vt:lpstr>
      <vt:lpstr>联系我们</vt:lpstr>
      <vt:lpstr>- 感谢聆听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草莓牛妞妞</cp:lastModifiedBy>
  <cp:revision>2</cp:revision>
  <dcterms:created xsi:type="dcterms:W3CDTF">2020-05-22T02:44:00Z</dcterms:created>
  <dcterms:modified xsi:type="dcterms:W3CDTF">2020-07-10T07: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